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heme/theme7.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notesSlides/notesSlide8.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2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4" r:id="rId2"/>
    <p:sldMasterId id="2147483709" r:id="rId3"/>
    <p:sldMasterId id="2147483724" r:id="rId4"/>
    <p:sldMasterId id="2147483737" r:id="rId5"/>
    <p:sldMasterId id="2147483751" r:id="rId6"/>
  </p:sldMasterIdLst>
  <p:notesMasterIdLst>
    <p:notesMasterId r:id="rId48"/>
  </p:notesMasterIdLst>
  <p:sldIdLst>
    <p:sldId id="297" r:id="rId7"/>
    <p:sldId id="272" r:id="rId8"/>
    <p:sldId id="273" r:id="rId9"/>
    <p:sldId id="274" r:id="rId10"/>
    <p:sldId id="275" r:id="rId11"/>
    <p:sldId id="276" r:id="rId12"/>
    <p:sldId id="277" r:id="rId13"/>
    <p:sldId id="284" r:id="rId14"/>
    <p:sldId id="285" r:id="rId15"/>
    <p:sldId id="286" r:id="rId16"/>
    <p:sldId id="287" r:id="rId17"/>
    <p:sldId id="288" r:id="rId18"/>
    <p:sldId id="289" r:id="rId19"/>
    <p:sldId id="290" r:id="rId20"/>
    <p:sldId id="291" r:id="rId21"/>
    <p:sldId id="292" r:id="rId22"/>
    <p:sldId id="293" r:id="rId23"/>
    <p:sldId id="294" r:id="rId24"/>
    <p:sldId id="295" r:id="rId25"/>
    <p:sldId id="296" r:id="rId26"/>
    <p:sldId id="280" r:id="rId27"/>
    <p:sldId id="281" r:id="rId28"/>
    <p:sldId id="282" r:id="rId29"/>
    <p:sldId id="307" r:id="rId30"/>
    <p:sldId id="298" r:id="rId31"/>
    <p:sldId id="299" r:id="rId32"/>
    <p:sldId id="300" r:id="rId33"/>
    <p:sldId id="301" r:id="rId34"/>
    <p:sldId id="263" r:id="rId35"/>
    <p:sldId id="264" r:id="rId36"/>
    <p:sldId id="265" r:id="rId37"/>
    <p:sldId id="266" r:id="rId38"/>
    <p:sldId id="267" r:id="rId39"/>
    <p:sldId id="268" r:id="rId40"/>
    <p:sldId id="269" r:id="rId41"/>
    <p:sldId id="270" r:id="rId42"/>
    <p:sldId id="271" r:id="rId43"/>
    <p:sldId id="304" r:id="rId44"/>
    <p:sldId id="308" r:id="rId45"/>
    <p:sldId id="309" r:id="rId46"/>
    <p:sldId id="310" r:id="rId47"/>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420" autoAdjust="0"/>
    <p:restoredTop sz="88605" autoAdjust="0"/>
  </p:normalViewPr>
  <p:slideViewPr>
    <p:cSldViewPr snapToGrid="0">
      <p:cViewPr varScale="1">
        <p:scale>
          <a:sx n="115" d="100"/>
          <a:sy n="115" d="100"/>
        </p:scale>
        <p:origin x="462" y="108"/>
      </p:cViewPr>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notesMaster" Target="notesMasters/notesMaster1.xml"/><Relationship Id="rId8" Type="http://schemas.openxmlformats.org/officeDocument/2006/relationships/slide" Target="slides/slide2.xml"/><Relationship Id="rId51"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_____Microsoft_Excel.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_____Microsoft_Excel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package" Target="../embeddings/_____Microsoft_Excel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_____Microsoft_Excel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29397907972301E-2"/>
          <c:y val="0.24759060699333088"/>
          <c:w val="0.95116811925019018"/>
          <c:h val="0.67161692364967007"/>
        </c:manualLayout>
      </c:layout>
      <c:barChart>
        <c:barDir val="col"/>
        <c:grouping val="clustered"/>
        <c:varyColors val="0"/>
        <c:ser>
          <c:idx val="0"/>
          <c:order val="0"/>
          <c:tx>
            <c:strRef>
              <c:f>Лист1!$B$1</c:f>
              <c:strCache>
                <c:ptCount val="1"/>
                <c:pt idx="0">
                  <c:v>Ряд 1</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Лист1!$A$2:$A$8</c:f>
              <c:numCache>
                <c:formatCode>General</c:formatCode>
                <c:ptCount val="7"/>
              </c:numCache>
            </c:numRef>
          </c:cat>
          <c:val>
            <c:numRef>
              <c:f>Лист1!$B$2:$B$8</c:f>
              <c:numCache>
                <c:formatCode>General</c:formatCode>
                <c:ptCount val="7"/>
                <c:pt idx="0">
                  <c:v>2</c:v>
                </c:pt>
                <c:pt idx="1">
                  <c:v>0</c:v>
                </c:pt>
                <c:pt idx="2">
                  <c:v>1</c:v>
                </c:pt>
                <c:pt idx="3">
                  <c:v>9</c:v>
                </c:pt>
                <c:pt idx="4">
                  <c:v>6</c:v>
                </c:pt>
                <c:pt idx="5">
                  <c:v>0</c:v>
                </c:pt>
                <c:pt idx="6">
                  <c:v>0</c:v>
                </c:pt>
              </c:numCache>
            </c:numRef>
          </c:val>
          <c:extLst>
            <c:ext xmlns:c16="http://schemas.microsoft.com/office/drawing/2014/chart" uri="{C3380CC4-5D6E-409C-BE32-E72D297353CC}">
              <c16:uniqueId val="{00000000-C0BA-4DD4-A967-30774ECADC80}"/>
            </c:ext>
          </c:extLst>
        </c:ser>
        <c:ser>
          <c:idx val="1"/>
          <c:order val="1"/>
          <c:tx>
            <c:strRef>
              <c:f>Лист1!$C$1</c:f>
              <c:strCache>
                <c:ptCount val="1"/>
                <c:pt idx="0">
                  <c:v>Ряд 2</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Лист1!$A$2:$A$8</c:f>
              <c:numCache>
                <c:formatCode>General</c:formatCode>
                <c:ptCount val="7"/>
              </c:numCache>
            </c:numRef>
          </c:cat>
          <c:val>
            <c:numRef>
              <c:f>Лист1!$C$2:$C$8</c:f>
              <c:numCache>
                <c:formatCode>General</c:formatCode>
                <c:ptCount val="7"/>
                <c:pt idx="0">
                  <c:v>0</c:v>
                </c:pt>
                <c:pt idx="1">
                  <c:v>2</c:v>
                </c:pt>
                <c:pt idx="2">
                  <c:v>1</c:v>
                </c:pt>
                <c:pt idx="3">
                  <c:v>8</c:v>
                </c:pt>
                <c:pt idx="4">
                  <c:v>10</c:v>
                </c:pt>
                <c:pt idx="5">
                  <c:v>1</c:v>
                </c:pt>
                <c:pt idx="6">
                  <c:v>0</c:v>
                </c:pt>
              </c:numCache>
            </c:numRef>
          </c:val>
          <c:extLst>
            <c:ext xmlns:c16="http://schemas.microsoft.com/office/drawing/2014/chart" uri="{C3380CC4-5D6E-409C-BE32-E72D297353CC}">
              <c16:uniqueId val="{00000001-C0BA-4DD4-A967-30774ECADC80}"/>
            </c:ext>
          </c:extLst>
        </c:ser>
        <c:ser>
          <c:idx val="2"/>
          <c:order val="2"/>
          <c:tx>
            <c:strRef>
              <c:f>Лист1!$D$1</c:f>
              <c:strCache>
                <c:ptCount val="1"/>
                <c:pt idx="0">
                  <c:v>Столбец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Лист1!$A$2:$A$8</c:f>
              <c:numCache>
                <c:formatCode>General</c:formatCode>
                <c:ptCount val="7"/>
              </c:numCache>
            </c:numRef>
          </c:cat>
          <c:val>
            <c:numRef>
              <c:f>Лист1!$D$2:$D$8</c:f>
              <c:numCache>
                <c:formatCode>General</c:formatCode>
                <c:ptCount val="7"/>
              </c:numCache>
            </c:numRef>
          </c:val>
          <c:extLst>
            <c:ext xmlns:c16="http://schemas.microsoft.com/office/drawing/2014/chart" uri="{C3380CC4-5D6E-409C-BE32-E72D297353CC}">
              <c16:uniqueId val="{00000002-C0BA-4DD4-A967-30774ECADC80}"/>
            </c:ext>
          </c:extLst>
        </c:ser>
        <c:dLbls>
          <c:dLblPos val="outEnd"/>
          <c:showLegendKey val="0"/>
          <c:showVal val="1"/>
          <c:showCatName val="0"/>
          <c:showSerName val="0"/>
          <c:showPercent val="0"/>
          <c:showBubbleSize val="0"/>
        </c:dLbls>
        <c:gapWidth val="199"/>
        <c:axId val="441575096"/>
        <c:axId val="441575752"/>
      </c:barChart>
      <c:catAx>
        <c:axId val="4415750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tx1">
                    <a:lumMod val="65000"/>
                    <a:lumOff val="35000"/>
                  </a:schemeClr>
                </a:solidFill>
                <a:latin typeface="+mn-lt"/>
                <a:ea typeface="+mn-ea"/>
                <a:cs typeface="+mn-cs"/>
              </a:defRPr>
            </a:pPr>
            <a:endParaRPr lang="ru-RU"/>
          </a:p>
        </c:txPr>
        <c:crossAx val="441575752"/>
        <c:crosses val="autoZero"/>
        <c:auto val="1"/>
        <c:lblAlgn val="ctr"/>
        <c:lblOffset val="100"/>
        <c:noMultiLvlLbl val="0"/>
      </c:catAx>
      <c:valAx>
        <c:axId val="44157575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4415750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29397907972301E-2"/>
          <c:y val="0.24759060699333088"/>
          <c:w val="0.95116811925019018"/>
          <c:h val="0.67161692364967007"/>
        </c:manualLayout>
      </c:layout>
      <c:barChart>
        <c:barDir val="col"/>
        <c:grouping val="clustered"/>
        <c:varyColors val="0"/>
        <c:ser>
          <c:idx val="0"/>
          <c:order val="0"/>
          <c:tx>
            <c:strRef>
              <c:f>Лист1!$B$1</c:f>
              <c:strCache>
                <c:ptCount val="1"/>
                <c:pt idx="0">
                  <c:v>Ряд 1</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Лист1!$A$2:$A$8</c:f>
              <c:numCache>
                <c:formatCode>General</c:formatCode>
                <c:ptCount val="7"/>
              </c:numCache>
            </c:numRef>
          </c:cat>
          <c:val>
            <c:numRef>
              <c:f>Лист1!$B$2:$B$8</c:f>
              <c:numCache>
                <c:formatCode>General</c:formatCode>
                <c:ptCount val="7"/>
                <c:pt idx="0">
                  <c:v>0</c:v>
                </c:pt>
                <c:pt idx="1">
                  <c:v>0</c:v>
                </c:pt>
                <c:pt idx="2">
                  <c:v>2</c:v>
                </c:pt>
                <c:pt idx="3">
                  <c:v>0</c:v>
                </c:pt>
                <c:pt idx="4">
                  <c:v>4</c:v>
                </c:pt>
                <c:pt idx="5">
                  <c:v>0</c:v>
                </c:pt>
                <c:pt idx="6">
                  <c:v>0</c:v>
                </c:pt>
              </c:numCache>
            </c:numRef>
          </c:val>
          <c:extLst>
            <c:ext xmlns:c16="http://schemas.microsoft.com/office/drawing/2014/chart" uri="{C3380CC4-5D6E-409C-BE32-E72D297353CC}">
              <c16:uniqueId val="{00000000-377E-408C-AC34-F75FD29B54BD}"/>
            </c:ext>
          </c:extLst>
        </c:ser>
        <c:ser>
          <c:idx val="1"/>
          <c:order val="1"/>
          <c:tx>
            <c:strRef>
              <c:f>Лист1!$C$1</c:f>
              <c:strCache>
                <c:ptCount val="1"/>
                <c:pt idx="0">
                  <c:v>Ряд 2</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Лист1!$A$2:$A$8</c:f>
              <c:numCache>
                <c:formatCode>General</c:formatCode>
                <c:ptCount val="7"/>
              </c:numCache>
            </c:numRef>
          </c:cat>
          <c:val>
            <c:numRef>
              <c:f>Лист1!$C$2:$C$8</c:f>
              <c:numCache>
                <c:formatCode>General</c:formatCode>
                <c:ptCount val="7"/>
                <c:pt idx="0">
                  <c:v>0</c:v>
                </c:pt>
                <c:pt idx="1">
                  <c:v>0</c:v>
                </c:pt>
                <c:pt idx="2">
                  <c:v>0</c:v>
                </c:pt>
                <c:pt idx="3">
                  <c:v>0</c:v>
                </c:pt>
                <c:pt idx="4">
                  <c:v>2</c:v>
                </c:pt>
                <c:pt idx="5">
                  <c:v>0</c:v>
                </c:pt>
                <c:pt idx="6">
                  <c:v>0</c:v>
                </c:pt>
              </c:numCache>
            </c:numRef>
          </c:val>
          <c:extLst>
            <c:ext xmlns:c16="http://schemas.microsoft.com/office/drawing/2014/chart" uri="{C3380CC4-5D6E-409C-BE32-E72D297353CC}">
              <c16:uniqueId val="{00000001-377E-408C-AC34-F75FD29B54BD}"/>
            </c:ext>
          </c:extLst>
        </c:ser>
        <c:ser>
          <c:idx val="2"/>
          <c:order val="2"/>
          <c:tx>
            <c:strRef>
              <c:f>Лист1!$D$1</c:f>
              <c:strCache>
                <c:ptCount val="1"/>
                <c:pt idx="0">
                  <c:v>Столбец1</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Лист1!$A$2:$A$8</c:f>
              <c:numCache>
                <c:formatCode>General</c:formatCode>
                <c:ptCount val="7"/>
              </c:numCache>
            </c:numRef>
          </c:cat>
          <c:val>
            <c:numRef>
              <c:f>Лист1!$D$2:$D$8</c:f>
              <c:numCache>
                <c:formatCode>General</c:formatCode>
                <c:ptCount val="7"/>
              </c:numCache>
            </c:numRef>
          </c:val>
          <c:extLst>
            <c:ext xmlns:c16="http://schemas.microsoft.com/office/drawing/2014/chart" uri="{C3380CC4-5D6E-409C-BE32-E72D297353CC}">
              <c16:uniqueId val="{00000002-377E-408C-AC34-F75FD29B54BD}"/>
            </c:ext>
          </c:extLst>
        </c:ser>
        <c:dLbls>
          <c:dLblPos val="outEnd"/>
          <c:showLegendKey val="0"/>
          <c:showVal val="1"/>
          <c:showCatName val="0"/>
          <c:showSerName val="0"/>
          <c:showPercent val="0"/>
          <c:showBubbleSize val="0"/>
        </c:dLbls>
        <c:gapWidth val="199"/>
        <c:axId val="441575096"/>
        <c:axId val="441575752"/>
      </c:barChart>
      <c:catAx>
        <c:axId val="4415750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tx1">
                    <a:lumMod val="65000"/>
                    <a:lumOff val="35000"/>
                  </a:schemeClr>
                </a:solidFill>
                <a:latin typeface="+mn-lt"/>
                <a:ea typeface="+mn-ea"/>
                <a:cs typeface="+mn-cs"/>
              </a:defRPr>
            </a:pPr>
            <a:endParaRPr lang="ru-RU"/>
          </a:p>
        </c:txPr>
        <c:crossAx val="441575752"/>
        <c:crosses val="autoZero"/>
        <c:auto val="1"/>
        <c:lblAlgn val="ctr"/>
        <c:lblOffset val="100"/>
        <c:noMultiLvlLbl val="0"/>
      </c:catAx>
      <c:valAx>
        <c:axId val="44157575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441575096"/>
        <c:crosses val="autoZero"/>
        <c:crossBetween val="between"/>
      </c:valAx>
      <c:spPr>
        <a:noFill/>
        <a:ln w="25400">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r>
              <a:rPr lang="ru-RU" sz="1000" b="0" dirty="0" smtClean="0">
                <a:solidFill>
                  <a:schemeClr val="tx1"/>
                </a:solidFill>
                <a:latin typeface="Verdana" panose="020B0604030504040204" pitchFamily="34" charset="0"/>
                <a:ea typeface="Verdana" panose="020B0604030504040204" pitchFamily="34" charset="0"/>
              </a:rPr>
              <a:t>Общее</a:t>
            </a:r>
            <a:endParaRPr lang="ru-RU" sz="1000" b="0" dirty="0">
              <a:solidFill>
                <a:schemeClr val="tx1"/>
              </a:solidFill>
              <a:latin typeface="Verdana" panose="020B0604030504040204" pitchFamily="34" charset="0"/>
              <a:ea typeface="Verdana" panose="020B0604030504040204" pitchFamily="34" charset="0"/>
            </a:endParaRPr>
          </a:p>
        </c:rich>
      </c:tx>
      <c:layout>
        <c:manualLayout>
          <c:xMode val="edge"/>
          <c:yMode val="edge"/>
          <c:x val="0.4476191841642575"/>
          <c:y val="2.5291025986273269E-4"/>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endParaRPr lang="ru-RU"/>
        </a:p>
      </c:txPr>
    </c:title>
    <c:autoTitleDeleted val="0"/>
    <c:plotArea>
      <c:layout/>
      <c:pieChart>
        <c:varyColors val="1"/>
        <c:ser>
          <c:idx val="0"/>
          <c:order val="0"/>
          <c:tx>
            <c:strRef>
              <c:f>Лист1!$B$1</c:f>
              <c:strCache>
                <c:ptCount val="1"/>
                <c:pt idx="0">
                  <c:v>Опасные действия/ситуации</c:v>
                </c:pt>
              </c:strCache>
            </c:strRef>
          </c:tx>
          <c:dPt>
            <c:idx val="0"/>
            <c:bubble3D val="0"/>
            <c:spPr>
              <a:solidFill>
                <a:schemeClr val="accent3">
                  <a:lumMod val="40000"/>
                  <a:lumOff val="60000"/>
                </a:schemeClr>
              </a:solidFill>
              <a:ln w="19050">
                <a:solidFill>
                  <a:schemeClr val="lt1"/>
                </a:solidFill>
              </a:ln>
              <a:effectLst/>
            </c:spPr>
            <c:extLst>
              <c:ext xmlns:c16="http://schemas.microsoft.com/office/drawing/2014/chart" uri="{C3380CC4-5D6E-409C-BE32-E72D297353CC}">
                <c16:uniqueId val="{00000001-37C6-4D54-B312-C3AF657637F0}"/>
              </c:ext>
            </c:extLst>
          </c:dPt>
          <c:dPt>
            <c:idx val="1"/>
            <c:bubble3D val="0"/>
            <c:spPr>
              <a:solidFill>
                <a:srgbClr val="F4F0AA"/>
              </a:solidFill>
              <a:ln w="19050">
                <a:solidFill>
                  <a:schemeClr val="lt1"/>
                </a:solidFill>
              </a:ln>
              <a:effectLst/>
            </c:spPr>
            <c:extLst>
              <c:ext xmlns:c16="http://schemas.microsoft.com/office/drawing/2014/chart" uri="{C3380CC4-5D6E-409C-BE32-E72D297353CC}">
                <c16:uniqueId val="{00000002-37C6-4D54-B312-C3AF657637F0}"/>
              </c:ext>
            </c:extLst>
          </c:dPt>
          <c:dPt>
            <c:idx val="2"/>
            <c:bubble3D val="0"/>
            <c:spPr>
              <a:solidFill>
                <a:schemeClr val="accent2">
                  <a:lumMod val="40000"/>
                  <a:lumOff val="60000"/>
                </a:schemeClr>
              </a:solidFill>
              <a:ln w="19050">
                <a:solidFill>
                  <a:schemeClr val="lt1"/>
                </a:solidFill>
              </a:ln>
              <a:effectLst/>
            </c:spPr>
            <c:extLst>
              <c:ext xmlns:c16="http://schemas.microsoft.com/office/drawing/2014/chart" uri="{C3380CC4-5D6E-409C-BE32-E72D297353CC}">
                <c16:uniqueId val="{00000000-66B1-471D-B886-5852E8B3AE6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4</c:f>
              <c:strCache>
                <c:ptCount val="3"/>
                <c:pt idx="0">
                  <c:v>Допустимый</c:v>
                </c:pt>
                <c:pt idx="1">
                  <c:v>Умеренный</c:v>
                </c:pt>
                <c:pt idx="2">
                  <c:v>Высокий</c:v>
                </c:pt>
              </c:strCache>
            </c:strRef>
          </c:cat>
          <c:val>
            <c:numRef>
              <c:f>Лист1!$B$2:$B$4</c:f>
              <c:numCache>
                <c:formatCode>General</c:formatCode>
                <c:ptCount val="3"/>
                <c:pt idx="0">
                  <c:v>147</c:v>
                </c:pt>
                <c:pt idx="1">
                  <c:v>139</c:v>
                </c:pt>
                <c:pt idx="2">
                  <c:v>186</c:v>
                </c:pt>
              </c:numCache>
            </c:numRef>
          </c:val>
          <c:extLst>
            <c:ext xmlns:c16="http://schemas.microsoft.com/office/drawing/2014/chart" uri="{C3380CC4-5D6E-409C-BE32-E72D297353CC}">
              <c16:uniqueId val="{00000000-37C6-4D54-B312-C3AF657637F0}"/>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3.3286449129866148E-2"/>
          <c:y val="0.8862653858007784"/>
          <c:w val="0.90879234460769232"/>
          <c:h val="0.1100495252334299"/>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ru-RU"/>
        </a:p>
      </c:txPr>
    </c:legend>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r>
              <a:rPr lang="ru-RU" sz="1000" b="0" dirty="0" smtClean="0">
                <a:solidFill>
                  <a:srgbClr val="C00000"/>
                </a:solidFill>
                <a:latin typeface="Verdana" panose="020B0604030504040204" pitchFamily="34" charset="0"/>
                <a:ea typeface="Verdana" panose="020B0604030504040204" pitchFamily="34" charset="0"/>
              </a:rPr>
              <a:t>Средства</a:t>
            </a:r>
            <a:r>
              <a:rPr lang="ru-RU" sz="1000" b="0" baseline="0" dirty="0" smtClean="0">
                <a:solidFill>
                  <a:srgbClr val="C00000"/>
                </a:solidFill>
                <a:latin typeface="Verdana" panose="020B0604030504040204" pitchFamily="34" charset="0"/>
                <a:ea typeface="Verdana" panose="020B0604030504040204" pitchFamily="34" charset="0"/>
              </a:rPr>
              <a:t> </a:t>
            </a:r>
            <a:r>
              <a:rPr lang="ru-RU" sz="1000" b="0" baseline="0" dirty="0" err="1" smtClean="0">
                <a:solidFill>
                  <a:srgbClr val="C00000"/>
                </a:solidFill>
                <a:latin typeface="Verdana" panose="020B0604030504040204" pitchFamily="34" charset="0"/>
                <a:ea typeface="Verdana" panose="020B0604030504040204" pitchFamily="34" charset="0"/>
              </a:rPr>
              <a:t>подмащивания</a:t>
            </a:r>
            <a:r>
              <a:rPr lang="ru-RU" sz="1000" b="0" baseline="0" dirty="0" smtClean="0">
                <a:solidFill>
                  <a:srgbClr val="C00000"/>
                </a:solidFill>
                <a:latin typeface="Verdana" panose="020B0604030504040204" pitchFamily="34" charset="0"/>
                <a:ea typeface="Verdana" panose="020B0604030504040204" pitchFamily="34" charset="0"/>
              </a:rPr>
              <a:t>/Страховка</a:t>
            </a:r>
            <a:endParaRPr lang="ru-RU" sz="1000" b="0" dirty="0">
              <a:solidFill>
                <a:srgbClr val="C00000"/>
              </a:solidFill>
              <a:latin typeface="Verdana" panose="020B0604030504040204" pitchFamily="34" charset="0"/>
              <a:ea typeface="Verdana" panose="020B0604030504040204" pitchFamily="34" charset="0"/>
            </a:endParaRPr>
          </a:p>
        </c:rich>
      </c:tx>
      <c:layout>
        <c:manualLayout>
          <c:xMode val="edge"/>
          <c:yMode val="edge"/>
          <c:x val="0.22097161537991405"/>
          <c:y val="2.0816589600369329E-3"/>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endParaRPr lang="ru-RU"/>
        </a:p>
      </c:txPr>
    </c:title>
    <c:autoTitleDeleted val="0"/>
    <c:plotArea>
      <c:layout>
        <c:manualLayout>
          <c:layoutTarget val="inner"/>
          <c:xMode val="edge"/>
          <c:yMode val="edge"/>
          <c:x val="0.13026161308479994"/>
          <c:y val="8.3917862897013321E-2"/>
          <c:w val="0.65647249944759123"/>
          <c:h val="0.77371901155327016"/>
        </c:manualLayout>
      </c:layout>
      <c:pieChart>
        <c:varyColors val="1"/>
        <c:ser>
          <c:idx val="0"/>
          <c:order val="0"/>
          <c:tx>
            <c:strRef>
              <c:f>Лист1!$B$1</c:f>
              <c:strCache>
                <c:ptCount val="1"/>
                <c:pt idx="0">
                  <c:v>Опасные действия/ситуации</c:v>
                </c:pt>
              </c:strCache>
            </c:strRef>
          </c:tx>
          <c:dPt>
            <c:idx val="0"/>
            <c:bubble3D val="0"/>
            <c:spPr>
              <a:solidFill>
                <a:schemeClr val="accent3">
                  <a:lumMod val="40000"/>
                  <a:lumOff val="60000"/>
                </a:schemeClr>
              </a:solidFill>
              <a:ln w="19050">
                <a:solidFill>
                  <a:schemeClr val="lt1"/>
                </a:solidFill>
              </a:ln>
              <a:effectLst/>
            </c:spPr>
            <c:extLst>
              <c:ext xmlns:c16="http://schemas.microsoft.com/office/drawing/2014/chart" uri="{C3380CC4-5D6E-409C-BE32-E72D297353CC}">
                <c16:uniqueId val="{00000001-5071-46F1-A56C-0D950B48A732}"/>
              </c:ext>
            </c:extLst>
          </c:dPt>
          <c:dPt>
            <c:idx val="1"/>
            <c:bubble3D val="0"/>
            <c:spPr>
              <a:solidFill>
                <a:srgbClr val="F4F0AA"/>
              </a:solidFill>
              <a:ln w="19050">
                <a:solidFill>
                  <a:schemeClr val="lt1"/>
                </a:solidFill>
              </a:ln>
              <a:effectLst/>
            </c:spPr>
            <c:extLst>
              <c:ext xmlns:c16="http://schemas.microsoft.com/office/drawing/2014/chart" uri="{C3380CC4-5D6E-409C-BE32-E72D297353CC}">
                <c16:uniqueId val="{00000003-5071-46F1-A56C-0D950B48A732}"/>
              </c:ext>
            </c:extLst>
          </c:dPt>
          <c:dPt>
            <c:idx val="2"/>
            <c:bubble3D val="0"/>
            <c:spPr>
              <a:solidFill>
                <a:schemeClr val="accent2">
                  <a:lumMod val="40000"/>
                  <a:lumOff val="60000"/>
                </a:schemeClr>
              </a:solidFill>
              <a:ln w="19050">
                <a:solidFill>
                  <a:schemeClr val="lt1"/>
                </a:solidFill>
              </a:ln>
              <a:effectLst/>
            </c:spPr>
            <c:extLst>
              <c:ext xmlns:c16="http://schemas.microsoft.com/office/drawing/2014/chart" uri="{C3380CC4-5D6E-409C-BE32-E72D297353CC}">
                <c16:uniqueId val="{00000000-69C1-4C5E-98E6-09CB075D428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ru-RU"/>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Лист1!$A$2:$A$4</c:f>
              <c:strCache>
                <c:ptCount val="3"/>
                <c:pt idx="0">
                  <c:v>Допустимый</c:v>
                </c:pt>
                <c:pt idx="1">
                  <c:v>Умеренный</c:v>
                </c:pt>
                <c:pt idx="2">
                  <c:v>Высокий</c:v>
                </c:pt>
              </c:strCache>
            </c:strRef>
          </c:cat>
          <c:val>
            <c:numRef>
              <c:f>Лист1!$B$2:$B$4</c:f>
              <c:numCache>
                <c:formatCode>General</c:formatCode>
                <c:ptCount val="3"/>
                <c:pt idx="0">
                  <c:v>18</c:v>
                </c:pt>
                <c:pt idx="1">
                  <c:v>48</c:v>
                </c:pt>
                <c:pt idx="2">
                  <c:v>92</c:v>
                </c:pt>
              </c:numCache>
            </c:numRef>
          </c:val>
          <c:extLst>
            <c:ext xmlns:c16="http://schemas.microsoft.com/office/drawing/2014/chart" uri="{C3380CC4-5D6E-409C-BE32-E72D297353CC}">
              <c16:uniqueId val="{00000004-5071-46F1-A56C-0D950B48A732}"/>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4.3575112415712255E-2"/>
          <c:y val="0.86511026244014744"/>
          <c:w val="0.88435387836921453"/>
          <c:h val="0.11557741568236801"/>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ru-RU"/>
        </a:p>
      </c:txPr>
    </c:legend>
    <c:plotVisOnly val="1"/>
    <c:dispBlanksAs val="gap"/>
    <c:showDLblsOverMax val="0"/>
  </c:chart>
  <c:spPr>
    <a:noFill/>
    <a:ln w="3175">
      <a:noFill/>
    </a:ln>
    <a:effectLst/>
  </c:spPr>
  <c:txPr>
    <a:bodyPr/>
    <a:lstStyle/>
    <a:p>
      <a:pPr>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2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1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2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23027</cdr:x>
      <cdr:y>0.54708</cdr:y>
    </cdr:from>
    <cdr:to>
      <cdr:x>0.23027</cdr:x>
      <cdr:y>0.67684</cdr:y>
    </cdr:to>
    <cdr:cxnSp macro="">
      <cdr:nvCxnSpPr>
        <cdr:cNvPr id="9" name="Прямая со стрелкой 8"/>
        <cdr:cNvCxnSpPr/>
      </cdr:nvCxnSpPr>
      <cdr:spPr>
        <a:xfrm xmlns:a="http://schemas.openxmlformats.org/drawingml/2006/main">
          <a:off x="2488599" y="910828"/>
          <a:ext cx="0" cy="216024"/>
        </a:xfrm>
        <a:prstGeom xmlns:a="http://schemas.openxmlformats.org/drawingml/2006/main" prst="straightConnector1">
          <a:avLst/>
        </a:prstGeom>
        <a:ln xmlns:a="http://schemas.openxmlformats.org/drawingml/2006/main">
          <a:solidFill>
            <a:schemeClr val="tx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2361</cdr:x>
      <cdr:y>0.54518</cdr:y>
    </cdr:from>
    <cdr:to>
      <cdr:x>0.23027</cdr:x>
      <cdr:y>0.54518</cdr:y>
    </cdr:to>
    <cdr:cxnSp macro="">
      <cdr:nvCxnSpPr>
        <cdr:cNvPr id="13" name="Прямая соединительная линия 12"/>
        <cdr:cNvCxnSpPr/>
      </cdr:nvCxnSpPr>
      <cdr:spPr>
        <a:xfrm xmlns:a="http://schemas.openxmlformats.org/drawingml/2006/main" flipH="1">
          <a:off x="2416591" y="907657"/>
          <a:ext cx="72008" cy="0"/>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0362</cdr:x>
      <cdr:y>0.47323</cdr:y>
    </cdr:from>
    <cdr:to>
      <cdr:x>0.22361</cdr:x>
      <cdr:y>0.57389</cdr:y>
    </cdr:to>
    <cdr:sp macro="" textlink="">
      <cdr:nvSpPr>
        <cdr:cNvPr id="14" name="TextBox 13"/>
        <cdr:cNvSpPr txBox="1"/>
      </cdr:nvSpPr>
      <cdr:spPr>
        <a:xfrm xmlns:a="http://schemas.openxmlformats.org/drawingml/2006/main">
          <a:off x="2200566" y="787871"/>
          <a:ext cx="216024" cy="16758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00" dirty="0" smtClean="0">
              <a:solidFill>
                <a:srgbClr val="C00000"/>
              </a:solidFill>
            </a:rPr>
            <a:t>+2</a:t>
          </a:r>
          <a:endParaRPr lang="ru-RU" sz="900" dirty="0">
            <a:solidFill>
              <a:srgbClr val="C00000"/>
            </a:solidFill>
          </a:endParaRPr>
        </a:p>
      </cdr:txBody>
    </cdr:sp>
  </cdr:relSizeAnchor>
  <cdr:relSizeAnchor xmlns:cdr="http://schemas.openxmlformats.org/drawingml/2006/chartDrawing">
    <cdr:from>
      <cdr:x>0.64276</cdr:x>
      <cdr:y>0.25337</cdr:y>
    </cdr:from>
    <cdr:to>
      <cdr:x>0.64276</cdr:x>
      <cdr:y>0.3416</cdr:y>
    </cdr:to>
    <cdr:cxnSp macro="">
      <cdr:nvCxnSpPr>
        <cdr:cNvPr id="18" name="Прямая со стрелкой 17"/>
        <cdr:cNvCxnSpPr/>
      </cdr:nvCxnSpPr>
      <cdr:spPr>
        <a:xfrm xmlns:a="http://schemas.openxmlformats.org/drawingml/2006/main">
          <a:off x="6946347" y="421831"/>
          <a:ext cx="1" cy="146900"/>
        </a:xfrm>
        <a:prstGeom xmlns:a="http://schemas.openxmlformats.org/drawingml/2006/main" prst="straightConnector1">
          <a:avLst/>
        </a:prstGeom>
        <a:ln xmlns:a="http://schemas.openxmlformats.org/drawingml/2006/main">
          <a:solidFill>
            <a:schemeClr val="tx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1007</cdr:x>
      <cdr:y>0.24432</cdr:y>
    </cdr:from>
    <cdr:to>
      <cdr:x>0.62339</cdr:x>
      <cdr:y>0.24432</cdr:y>
    </cdr:to>
    <cdr:cxnSp macro="">
      <cdr:nvCxnSpPr>
        <cdr:cNvPr id="20" name="Прямая соединительная линия 19"/>
        <cdr:cNvCxnSpPr/>
      </cdr:nvCxnSpPr>
      <cdr:spPr>
        <a:xfrm xmlns:a="http://schemas.openxmlformats.org/drawingml/2006/main">
          <a:off x="6593055" y="406772"/>
          <a:ext cx="144016" cy="0"/>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1921</cdr:x>
      <cdr:y>0.17634</cdr:y>
    </cdr:from>
    <cdr:to>
      <cdr:x>0.64687</cdr:x>
      <cdr:y>0.28671</cdr:y>
    </cdr:to>
    <cdr:sp macro="" textlink="">
      <cdr:nvSpPr>
        <cdr:cNvPr id="23" name="TextBox 22"/>
        <cdr:cNvSpPr txBox="1"/>
      </cdr:nvSpPr>
      <cdr:spPr>
        <a:xfrm xmlns:a="http://schemas.openxmlformats.org/drawingml/2006/main">
          <a:off x="6691874" y="293593"/>
          <a:ext cx="298924" cy="18375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00" dirty="0" smtClean="0">
              <a:solidFill>
                <a:srgbClr val="C00000"/>
              </a:solidFill>
            </a:rPr>
            <a:t>+4</a:t>
          </a:r>
          <a:endParaRPr lang="ru-RU" sz="900" dirty="0">
            <a:solidFill>
              <a:srgbClr val="C00000"/>
            </a:solidFill>
          </a:endParaRPr>
        </a:p>
      </cdr:txBody>
    </cdr:sp>
  </cdr:relSizeAnchor>
  <cdr:relSizeAnchor xmlns:cdr="http://schemas.openxmlformats.org/drawingml/2006/chartDrawing">
    <cdr:from>
      <cdr:x>0.74881</cdr:x>
      <cdr:y>0.54518</cdr:y>
    </cdr:from>
    <cdr:to>
      <cdr:x>0.74881</cdr:x>
      <cdr:y>0.76334</cdr:y>
    </cdr:to>
    <cdr:cxnSp macro="">
      <cdr:nvCxnSpPr>
        <cdr:cNvPr id="25" name="Прямая соединительная линия 24"/>
        <cdr:cNvCxnSpPr/>
      </cdr:nvCxnSpPr>
      <cdr:spPr>
        <a:xfrm xmlns:a="http://schemas.openxmlformats.org/drawingml/2006/main" flipV="1">
          <a:off x="8092415" y="907656"/>
          <a:ext cx="0" cy="363212"/>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7664</cdr:x>
      <cdr:y>0.54518</cdr:y>
    </cdr:from>
    <cdr:to>
      <cdr:x>0.77664</cdr:x>
      <cdr:y>0.69845</cdr:y>
    </cdr:to>
    <cdr:cxnSp macro="">
      <cdr:nvCxnSpPr>
        <cdr:cNvPr id="27" name="Прямая со стрелкой 26"/>
        <cdr:cNvCxnSpPr/>
      </cdr:nvCxnSpPr>
      <cdr:spPr>
        <a:xfrm xmlns:a="http://schemas.openxmlformats.org/drawingml/2006/main">
          <a:off x="8393255" y="907666"/>
          <a:ext cx="0" cy="255177"/>
        </a:xfrm>
        <a:prstGeom xmlns:a="http://schemas.openxmlformats.org/drawingml/2006/main" prst="straightConnector1">
          <a:avLst/>
        </a:prstGeom>
        <a:ln xmlns:a="http://schemas.openxmlformats.org/drawingml/2006/main">
          <a:solidFill>
            <a:schemeClr val="tx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49</cdr:x>
      <cdr:y>0.54518</cdr:y>
    </cdr:from>
    <cdr:to>
      <cdr:x>0.75467</cdr:x>
      <cdr:y>0.54518</cdr:y>
    </cdr:to>
    <cdr:cxnSp macro="">
      <cdr:nvCxnSpPr>
        <cdr:cNvPr id="29" name="Прямая соединительная линия 28"/>
        <cdr:cNvCxnSpPr/>
      </cdr:nvCxnSpPr>
      <cdr:spPr>
        <a:xfrm xmlns:a="http://schemas.openxmlformats.org/drawingml/2006/main">
          <a:off x="8094522" y="907657"/>
          <a:ext cx="61276" cy="0"/>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6998</cdr:x>
      <cdr:y>0.54518</cdr:y>
    </cdr:from>
    <cdr:to>
      <cdr:x>0.77664</cdr:x>
      <cdr:y>0.54518</cdr:y>
    </cdr:to>
    <cdr:cxnSp macro="">
      <cdr:nvCxnSpPr>
        <cdr:cNvPr id="31" name="Прямая соединительная линия 30"/>
        <cdr:cNvCxnSpPr/>
      </cdr:nvCxnSpPr>
      <cdr:spPr>
        <a:xfrm xmlns:a="http://schemas.openxmlformats.org/drawingml/2006/main" flipH="1">
          <a:off x="8321247" y="907657"/>
          <a:ext cx="72008" cy="0"/>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49</cdr:x>
      <cdr:y>0.47323</cdr:y>
    </cdr:from>
    <cdr:to>
      <cdr:x>0.77173</cdr:x>
      <cdr:y>0.58001</cdr:y>
    </cdr:to>
    <cdr:sp macro="" textlink="">
      <cdr:nvSpPr>
        <cdr:cNvPr id="32" name="TextBox 31"/>
        <cdr:cNvSpPr txBox="1"/>
      </cdr:nvSpPr>
      <cdr:spPr>
        <a:xfrm xmlns:a="http://schemas.openxmlformats.org/drawingml/2006/main">
          <a:off x="8094522" y="787871"/>
          <a:ext cx="245645" cy="17777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00" dirty="0" smtClean="0">
              <a:solidFill>
                <a:srgbClr val="C00000"/>
              </a:solidFill>
            </a:rPr>
            <a:t>+1</a:t>
          </a:r>
          <a:endParaRPr lang="ru-RU" sz="900" dirty="0">
            <a:solidFill>
              <a:srgbClr val="C00000"/>
            </a:solidFill>
          </a:endParaRPr>
        </a:p>
      </cdr:txBody>
    </cdr:sp>
  </cdr:relSizeAnchor>
  <cdr:relSizeAnchor xmlns:cdr="http://schemas.openxmlformats.org/drawingml/2006/chartDrawing">
    <cdr:from>
      <cdr:x>0.49451</cdr:x>
      <cdr:y>0.22037</cdr:y>
    </cdr:from>
    <cdr:to>
      <cdr:x>0.53449</cdr:x>
      <cdr:y>0.31985</cdr:y>
    </cdr:to>
    <cdr:sp macro="" textlink="">
      <cdr:nvSpPr>
        <cdr:cNvPr id="2" name="TextBox 1"/>
        <cdr:cNvSpPr txBox="1"/>
      </cdr:nvSpPr>
      <cdr:spPr>
        <a:xfrm xmlns:a="http://schemas.openxmlformats.org/drawingml/2006/main">
          <a:off x="5344220" y="366888"/>
          <a:ext cx="432048" cy="16562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4893</cdr:x>
      <cdr:y>0.18222</cdr:y>
    </cdr:from>
    <cdr:to>
      <cdr:x>0.51871</cdr:x>
      <cdr:y>0.29287</cdr:y>
    </cdr:to>
    <cdr:sp macro="" textlink="">
      <cdr:nvSpPr>
        <cdr:cNvPr id="4" name="TextBox 3"/>
        <cdr:cNvSpPr txBox="1"/>
      </cdr:nvSpPr>
      <cdr:spPr>
        <a:xfrm xmlns:a="http://schemas.openxmlformats.org/drawingml/2006/main">
          <a:off x="5287965" y="303372"/>
          <a:ext cx="317792" cy="18421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00" dirty="0" smtClean="0">
              <a:solidFill>
                <a:srgbClr val="00B050"/>
              </a:solidFill>
            </a:rPr>
            <a:t>-1</a:t>
          </a:r>
          <a:endParaRPr lang="ru-RU" sz="900" dirty="0">
            <a:solidFill>
              <a:srgbClr val="00B050"/>
            </a:solidFill>
          </a:endParaRPr>
        </a:p>
      </cdr:txBody>
    </cdr:sp>
  </cdr:relSizeAnchor>
  <cdr:relSizeAnchor xmlns:cdr="http://schemas.openxmlformats.org/drawingml/2006/chartDrawing">
    <cdr:from>
      <cdr:x>0.07702</cdr:x>
      <cdr:y>0.51352</cdr:y>
    </cdr:from>
    <cdr:to>
      <cdr:x>0.10773</cdr:x>
      <cdr:y>0.68172</cdr:y>
    </cdr:to>
    <cdr:sp macro="" textlink="">
      <cdr:nvSpPr>
        <cdr:cNvPr id="11" name="TextBox 10"/>
        <cdr:cNvSpPr txBox="1"/>
      </cdr:nvSpPr>
      <cdr:spPr>
        <a:xfrm xmlns:a="http://schemas.openxmlformats.org/drawingml/2006/main">
          <a:off x="832415" y="854946"/>
          <a:ext cx="331862" cy="28004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00" dirty="0" smtClean="0">
              <a:solidFill>
                <a:srgbClr val="00B050"/>
              </a:solidFill>
            </a:rPr>
            <a:t>-2</a:t>
          </a:r>
          <a:endParaRPr lang="ru-RU" sz="900" dirty="0">
            <a:solidFill>
              <a:srgbClr val="00B050"/>
            </a:solidFill>
          </a:endParaRPr>
        </a:p>
      </cdr:txBody>
    </cdr:sp>
  </cdr:relSizeAnchor>
  <cdr:relSizeAnchor xmlns:cdr="http://schemas.openxmlformats.org/drawingml/2006/chartDrawing">
    <cdr:from>
      <cdr:x>0.0637</cdr:x>
      <cdr:y>0.59033</cdr:y>
    </cdr:from>
    <cdr:to>
      <cdr:x>0.08295</cdr:x>
      <cdr:y>0.59033</cdr:y>
    </cdr:to>
    <cdr:cxnSp macro="">
      <cdr:nvCxnSpPr>
        <cdr:cNvPr id="15" name="Прямая соединительная линия 14"/>
        <cdr:cNvCxnSpPr/>
      </cdr:nvCxnSpPr>
      <cdr:spPr>
        <a:xfrm xmlns:a="http://schemas.openxmlformats.org/drawingml/2006/main" flipH="1">
          <a:off x="688399" y="982836"/>
          <a:ext cx="208057" cy="0"/>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637</cdr:x>
      <cdr:y>0.59033</cdr:y>
    </cdr:from>
    <cdr:to>
      <cdr:x>0.0637</cdr:x>
      <cdr:y>0.69845</cdr:y>
    </cdr:to>
    <cdr:cxnSp macro="">
      <cdr:nvCxnSpPr>
        <cdr:cNvPr id="17" name="Прямая соединительная линия 16"/>
        <cdr:cNvCxnSpPr/>
      </cdr:nvCxnSpPr>
      <cdr:spPr>
        <a:xfrm xmlns:a="http://schemas.openxmlformats.org/drawingml/2006/main">
          <a:off x="688399" y="982836"/>
          <a:ext cx="0" cy="180007"/>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9701</cdr:x>
      <cdr:y>0.62276</cdr:y>
    </cdr:from>
    <cdr:to>
      <cdr:x>0.09701</cdr:x>
      <cdr:y>0.77414</cdr:y>
    </cdr:to>
    <cdr:cxnSp macro="">
      <cdr:nvCxnSpPr>
        <cdr:cNvPr id="21" name="Прямая со стрелкой 20"/>
        <cdr:cNvCxnSpPr/>
      </cdr:nvCxnSpPr>
      <cdr:spPr>
        <a:xfrm xmlns:a="http://schemas.openxmlformats.org/drawingml/2006/main">
          <a:off x="1048439" y="1036828"/>
          <a:ext cx="0" cy="252030"/>
        </a:xfrm>
        <a:prstGeom xmlns:a="http://schemas.openxmlformats.org/drawingml/2006/main" prst="straightConnector1">
          <a:avLst/>
        </a:prstGeom>
        <a:ln xmlns:a="http://schemas.openxmlformats.org/drawingml/2006/main">
          <a:solidFill>
            <a:schemeClr val="tx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0346</cdr:x>
      <cdr:y>0.30128</cdr:y>
    </cdr:from>
    <cdr:to>
      <cdr:x>0.50346</cdr:x>
      <cdr:y>0.40274</cdr:y>
    </cdr:to>
    <cdr:cxnSp macro="">
      <cdr:nvCxnSpPr>
        <cdr:cNvPr id="39" name="Прямая со стрелкой 38"/>
        <cdr:cNvCxnSpPr/>
      </cdr:nvCxnSpPr>
      <cdr:spPr>
        <a:xfrm xmlns:a="http://schemas.openxmlformats.org/drawingml/2006/main">
          <a:off x="5440927" y="501604"/>
          <a:ext cx="0" cy="168917"/>
        </a:xfrm>
        <a:prstGeom xmlns:a="http://schemas.openxmlformats.org/drawingml/2006/main" prst="straightConnector1">
          <a:avLst/>
        </a:prstGeom>
        <a:ln xmlns:a="http://schemas.openxmlformats.org/drawingml/2006/main">
          <a:solidFill>
            <a:schemeClr val="tx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7823</cdr:x>
      <cdr:y>0.24432</cdr:y>
    </cdr:from>
    <cdr:to>
      <cdr:x>0.47823</cdr:x>
      <cdr:y>0.35834</cdr:y>
    </cdr:to>
    <cdr:cxnSp macro="">
      <cdr:nvCxnSpPr>
        <cdr:cNvPr id="42" name="Прямая соединительная линия 41"/>
        <cdr:cNvCxnSpPr/>
      </cdr:nvCxnSpPr>
      <cdr:spPr>
        <a:xfrm xmlns:a="http://schemas.openxmlformats.org/drawingml/2006/main" flipV="1">
          <a:off x="5168267" y="406772"/>
          <a:ext cx="0" cy="189827"/>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63651</cdr:x>
      <cdr:y>0.34519</cdr:y>
    </cdr:from>
    <cdr:to>
      <cdr:x>0.63673</cdr:x>
      <cdr:y>0.47853</cdr:y>
    </cdr:to>
    <cdr:cxnSp macro="">
      <cdr:nvCxnSpPr>
        <cdr:cNvPr id="18" name="Прямая со стрелкой 17"/>
        <cdr:cNvCxnSpPr/>
      </cdr:nvCxnSpPr>
      <cdr:spPr>
        <a:xfrm xmlns:a="http://schemas.openxmlformats.org/drawingml/2006/main">
          <a:off x="7278815" y="608122"/>
          <a:ext cx="2473" cy="234900"/>
        </a:xfrm>
        <a:prstGeom xmlns:a="http://schemas.openxmlformats.org/drawingml/2006/main" prst="straightConnector1">
          <a:avLst/>
        </a:prstGeom>
        <a:ln xmlns:a="http://schemas.openxmlformats.org/drawingml/2006/main">
          <a:solidFill>
            <a:schemeClr val="tx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4091</cdr:x>
      <cdr:y>0.562</cdr:y>
    </cdr:from>
    <cdr:to>
      <cdr:x>0.35454</cdr:x>
      <cdr:y>0.56284</cdr:y>
    </cdr:to>
    <cdr:cxnSp macro="">
      <cdr:nvCxnSpPr>
        <cdr:cNvPr id="20" name="Прямая соединительная линия 19"/>
        <cdr:cNvCxnSpPr/>
      </cdr:nvCxnSpPr>
      <cdr:spPr>
        <a:xfrm xmlns:a="http://schemas.openxmlformats.org/drawingml/2006/main" flipV="1">
          <a:off x="3898479" y="990072"/>
          <a:ext cx="155865" cy="1480"/>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2532</cdr:x>
      <cdr:y>0.23482</cdr:y>
    </cdr:from>
    <cdr:to>
      <cdr:x>0.65298</cdr:x>
      <cdr:y>0.34519</cdr:y>
    </cdr:to>
    <cdr:sp macro="" textlink="">
      <cdr:nvSpPr>
        <cdr:cNvPr id="23" name="TextBox 22"/>
        <cdr:cNvSpPr txBox="1"/>
      </cdr:nvSpPr>
      <cdr:spPr>
        <a:xfrm xmlns:a="http://schemas.openxmlformats.org/drawingml/2006/main">
          <a:off x="7150778" y="413685"/>
          <a:ext cx="316305" cy="19443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00" dirty="0" smtClean="0">
              <a:solidFill>
                <a:srgbClr val="C00000"/>
              </a:solidFill>
            </a:rPr>
            <a:t>-2</a:t>
          </a:r>
          <a:endParaRPr lang="ru-RU" sz="900" dirty="0">
            <a:solidFill>
              <a:srgbClr val="C00000"/>
            </a:solidFill>
          </a:endParaRPr>
        </a:p>
      </cdr:txBody>
    </cdr:sp>
  </cdr:relSizeAnchor>
  <cdr:relSizeAnchor xmlns:cdr="http://schemas.openxmlformats.org/drawingml/2006/chartDrawing">
    <cdr:from>
      <cdr:x>0.49451</cdr:x>
      <cdr:y>0.22037</cdr:y>
    </cdr:from>
    <cdr:to>
      <cdr:x>0.53449</cdr:x>
      <cdr:y>0.31985</cdr:y>
    </cdr:to>
    <cdr:sp macro="" textlink="">
      <cdr:nvSpPr>
        <cdr:cNvPr id="2" name="TextBox 1"/>
        <cdr:cNvSpPr txBox="1"/>
      </cdr:nvSpPr>
      <cdr:spPr>
        <a:xfrm xmlns:a="http://schemas.openxmlformats.org/drawingml/2006/main">
          <a:off x="5344220" y="366888"/>
          <a:ext cx="432048" cy="16562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61368</cdr:x>
      <cdr:y>0.29408</cdr:y>
    </cdr:from>
    <cdr:to>
      <cdr:x>0.62893</cdr:x>
      <cdr:y>0.29589</cdr:y>
    </cdr:to>
    <cdr:cxnSp macro="">
      <cdr:nvCxnSpPr>
        <cdr:cNvPr id="24" name="Прямая соединительная линия 23"/>
        <cdr:cNvCxnSpPr/>
      </cdr:nvCxnSpPr>
      <cdr:spPr>
        <a:xfrm xmlns:a="http://schemas.openxmlformats.org/drawingml/2006/main">
          <a:off x="7017703" y="518071"/>
          <a:ext cx="174351" cy="3193"/>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6387</cdr:x>
      <cdr:y>0.60687</cdr:y>
    </cdr:from>
    <cdr:to>
      <cdr:x>0.36408</cdr:x>
      <cdr:y>0.74021</cdr:y>
    </cdr:to>
    <cdr:cxnSp macro="">
      <cdr:nvCxnSpPr>
        <cdr:cNvPr id="26" name="Прямая со стрелкой 25"/>
        <cdr:cNvCxnSpPr/>
      </cdr:nvCxnSpPr>
      <cdr:spPr>
        <a:xfrm xmlns:a="http://schemas.openxmlformats.org/drawingml/2006/main">
          <a:off x="4160965" y="1069109"/>
          <a:ext cx="2473" cy="234900"/>
        </a:xfrm>
        <a:prstGeom xmlns:a="http://schemas.openxmlformats.org/drawingml/2006/main" prst="straightConnector1">
          <a:avLst/>
        </a:prstGeom>
        <a:ln xmlns:a="http://schemas.openxmlformats.org/drawingml/2006/main">
          <a:solidFill>
            <a:schemeClr val="tx1"/>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5142</cdr:x>
      <cdr:y>0.50109</cdr:y>
    </cdr:from>
    <cdr:to>
      <cdr:x>0.37908</cdr:x>
      <cdr:y>0.61146</cdr:y>
    </cdr:to>
    <cdr:sp macro="" textlink="">
      <cdr:nvSpPr>
        <cdr:cNvPr id="28" name="TextBox 1"/>
        <cdr:cNvSpPr txBox="1"/>
      </cdr:nvSpPr>
      <cdr:spPr>
        <a:xfrm xmlns:a="http://schemas.openxmlformats.org/drawingml/2006/main">
          <a:off x="4018593" y="882765"/>
          <a:ext cx="316305" cy="194437"/>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ru-RU" sz="900" dirty="0" smtClean="0">
              <a:solidFill>
                <a:srgbClr val="C00000"/>
              </a:solidFill>
            </a:rPr>
            <a:t>-2</a:t>
          </a:r>
          <a:endParaRPr lang="ru-RU" sz="900" dirty="0">
            <a:solidFill>
              <a:srgbClr val="C00000"/>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4E5529-7183-49EE-9397-1C4BC5BFB991}" type="datetimeFigureOut">
              <a:rPr lang="ru-RU" smtClean="0"/>
              <a:t>12.07.2022</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9094A29-9246-4C80-8546-76A93C5E306E}" type="slidenum">
              <a:rPr lang="ru-RU" smtClean="0"/>
              <a:t>‹#›</a:t>
            </a:fld>
            <a:endParaRPr lang="ru-RU"/>
          </a:p>
        </p:txBody>
      </p:sp>
    </p:spTree>
    <p:extLst>
      <p:ext uri="{BB962C8B-B14F-4D97-AF65-F5344CB8AC3E}">
        <p14:creationId xmlns:p14="http://schemas.microsoft.com/office/powerpoint/2010/main" val="37509803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Возможно</a:t>
            </a:r>
            <a:r>
              <a:rPr lang="ru-RU" baseline="0" dirty="0" smtClean="0"/>
              <a:t> слайды от ДКС нужно переместить в начало - после работ на высоте (или перед ними)</a:t>
            </a:r>
            <a:endParaRPr lang="ru-RU" dirty="0"/>
          </a:p>
        </p:txBody>
      </p:sp>
      <p:sp>
        <p:nvSpPr>
          <p:cNvPr id="4" name="Номер слайда 3"/>
          <p:cNvSpPr>
            <a:spLocks noGrp="1"/>
          </p:cNvSpPr>
          <p:nvPr>
            <p:ph type="sldNum" sz="quarter" idx="10"/>
          </p:nvPr>
        </p:nvSpPr>
        <p:spPr/>
        <p:txBody>
          <a:bodyPr/>
          <a:lstStyle/>
          <a:p>
            <a:pPr marL="0" marR="0" lvl="0" indent="0" algn="r" defTabSz="1152144" rtl="0" eaLnBrk="1" fontAlgn="auto" latinLnBrk="0" hangingPunct="1">
              <a:lnSpc>
                <a:spcPct val="100000"/>
              </a:lnSpc>
              <a:spcBef>
                <a:spcPts val="0"/>
              </a:spcBef>
              <a:spcAft>
                <a:spcPts val="0"/>
              </a:spcAft>
              <a:buClrTx/>
              <a:buSzTx/>
              <a:buFontTx/>
              <a:buNone/>
              <a:tabLst/>
              <a:defRPr/>
            </a:pPr>
            <a:fld id="{F6AD7469-598B-4074-9061-13BEE3927704}"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52144" rtl="0" eaLnBrk="1" fontAlgn="auto" latinLnBrk="0" hangingPunct="1">
                <a:lnSpc>
                  <a:spcPct val="100000"/>
                </a:lnSpc>
                <a:spcBef>
                  <a:spcPts val="0"/>
                </a:spcBef>
                <a:spcAft>
                  <a:spcPts val="0"/>
                </a:spcAft>
                <a:buClrTx/>
                <a:buSzTx/>
                <a:buFontTx/>
                <a:buNone/>
                <a:tabLst/>
                <a:defRPr/>
              </a:pPr>
              <a:t>1</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629218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lang="ru-RU" dirty="0"/>
          </a:p>
        </p:txBody>
      </p:sp>
      <p:sp>
        <p:nvSpPr>
          <p:cNvPr id="4" name="Номер слайда 3"/>
          <p:cNvSpPr>
            <a:spLocks noGrp="1"/>
          </p:cNvSpPr>
          <p:nvPr>
            <p:ph type="sldNum" sz="quarter" idx="10"/>
          </p:nvPr>
        </p:nvSpPr>
        <p:spPr/>
        <p:txBody>
          <a:bodyPr/>
          <a:lstStyle/>
          <a:p>
            <a:pPr marL="0" marR="0" lvl="0" indent="0" algn="r" defTabSz="1152144" rtl="0" eaLnBrk="1" fontAlgn="auto" latinLnBrk="0" hangingPunct="1">
              <a:lnSpc>
                <a:spcPct val="100000"/>
              </a:lnSpc>
              <a:spcBef>
                <a:spcPts val="0"/>
              </a:spcBef>
              <a:spcAft>
                <a:spcPts val="0"/>
              </a:spcAft>
              <a:buClrTx/>
              <a:buSzTx/>
              <a:buFontTx/>
              <a:buNone/>
              <a:tabLst/>
              <a:defRPr/>
            </a:pPr>
            <a:fld id="{F6AD7469-598B-4074-9061-13BEE3927704}"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52144" rtl="0" eaLnBrk="1" fontAlgn="auto" latinLnBrk="0" hangingPunct="1">
                <a:lnSpc>
                  <a:spcPct val="100000"/>
                </a:lnSpc>
                <a:spcBef>
                  <a:spcPts val="0"/>
                </a:spcBef>
                <a:spcAft>
                  <a:spcPts val="0"/>
                </a:spcAft>
                <a:buClrTx/>
                <a:buSzTx/>
                <a:buFontTx/>
                <a:buNone/>
                <a:tabLst/>
                <a:defRPr/>
              </a:pPr>
              <a:t>10</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65518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fontScale="77500" lnSpcReduction="20000"/>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ru-RU" dirty="0" smtClean="0"/>
              <a:t>Документация:</a:t>
            </a:r>
            <a:r>
              <a:rPr lang="ru-RU" baseline="0" dirty="0" smtClean="0"/>
              <a:t> </a:t>
            </a:r>
            <a:r>
              <a:rPr lang="en-US" baseline="0" dirty="0" smtClean="0"/>
              <a:t/>
            </a:r>
            <a:br>
              <a:rPr lang="en-US" baseline="0" dirty="0" smtClean="0"/>
            </a:br>
            <a:r>
              <a:rPr lang="ru-RU" baseline="0" dirty="0" smtClean="0"/>
              <a:t>- </a:t>
            </a:r>
            <a:r>
              <a:rPr lang="ru-RU" b="1" i="1" baseline="0" dirty="0" smtClean="0"/>
              <a:t>На все используемые </a:t>
            </a:r>
            <a:r>
              <a:rPr lang="ru-RU" baseline="0" dirty="0" smtClean="0"/>
              <a:t>леса, подмости  должны иметься паспорта завода изготовителя. Все леса, вышки туры, подмости должны быть взяты на инвентарный учет.</a:t>
            </a:r>
            <a:br>
              <a:rPr lang="ru-RU" baseline="0" dirty="0" smtClean="0"/>
            </a:br>
            <a:r>
              <a:rPr lang="ru-RU" baseline="0" dirty="0" smtClean="0"/>
              <a:t>-  </a:t>
            </a:r>
            <a:r>
              <a:rPr lang="ru-RU" b="1" i="1" baseline="0" dirty="0" smtClean="0"/>
              <a:t>Результаты приемки </a:t>
            </a:r>
            <a:r>
              <a:rPr lang="ru-RU" baseline="0" dirty="0" smtClean="0"/>
              <a:t>и осмотров средств </a:t>
            </a:r>
            <a:r>
              <a:rPr lang="ru-RU" baseline="0" dirty="0" err="1" smtClean="0"/>
              <a:t>подмащивания</a:t>
            </a:r>
            <a:r>
              <a:rPr lang="ru-RU" baseline="0" dirty="0" smtClean="0"/>
              <a:t> записываются в журнале </a:t>
            </a:r>
            <a:r>
              <a:rPr lang="ru-RU" sz="1500" kern="1200" dirty="0" smtClean="0">
                <a:solidFill>
                  <a:schemeClr val="tx1"/>
                </a:solidFill>
                <a:effectLst/>
                <a:latin typeface="+mn-lt"/>
                <a:ea typeface="+mn-ea"/>
                <a:cs typeface="+mn-cs"/>
              </a:rPr>
              <a:t>приема и осмотра лесов и подмостей. </a:t>
            </a:r>
            <a:br>
              <a:rPr lang="ru-RU" sz="1500" kern="1200" dirty="0" smtClean="0">
                <a:solidFill>
                  <a:schemeClr val="tx1"/>
                </a:solidFill>
                <a:effectLst/>
                <a:latin typeface="+mn-lt"/>
                <a:ea typeface="+mn-ea"/>
                <a:cs typeface="+mn-cs"/>
              </a:rPr>
            </a:br>
            <a:r>
              <a:rPr lang="ru-RU" sz="1500" kern="1200" dirty="0" smtClean="0">
                <a:solidFill>
                  <a:schemeClr val="tx1"/>
                </a:solidFill>
                <a:effectLst/>
                <a:latin typeface="+mn-lt"/>
                <a:ea typeface="+mn-ea"/>
                <a:cs typeface="+mn-cs"/>
              </a:rPr>
              <a:t>Лицо, назначенное ответственным за организацию и безопасное проведение работ на высоте, осматривает леса не реже 1 раза в 10 рабочих смен</a:t>
            </a:r>
            <a:r>
              <a:rPr lang="ru-RU" sz="1500" kern="1200" baseline="0" dirty="0" smtClean="0">
                <a:solidFill>
                  <a:schemeClr val="tx1"/>
                </a:solidFill>
                <a:effectLst/>
                <a:latin typeface="+mn-lt"/>
                <a:ea typeface="+mn-ea"/>
                <a:cs typeface="+mn-cs"/>
              </a:rPr>
              <a:t> с записью в журнале.</a:t>
            </a:r>
            <a:endParaRPr lang="ru-RU" dirty="0" smtClean="0"/>
          </a:p>
          <a:p>
            <a:pPr marL="0" marR="0" lvl="0" indent="0" algn="l" defTabSz="914400" rtl="0" eaLnBrk="1" fontAlgn="auto" latinLnBrk="0" hangingPunct="1">
              <a:lnSpc>
                <a:spcPct val="107000"/>
              </a:lnSpc>
              <a:spcBef>
                <a:spcPts val="0"/>
              </a:spcBef>
              <a:spcAft>
                <a:spcPts val="800"/>
              </a:spcAft>
              <a:buClrTx/>
              <a:buSzTx/>
              <a:buFontTx/>
              <a:buNone/>
              <a:tabLst/>
              <a:defRPr/>
            </a:pPr>
            <a:r>
              <a:rPr lang="ru-RU" sz="1500" kern="1200" dirty="0" smtClean="0">
                <a:solidFill>
                  <a:schemeClr val="tx1"/>
                </a:solidFill>
                <a:effectLst/>
                <a:latin typeface="+mn-lt"/>
                <a:ea typeface="+mn-ea"/>
                <a:cs typeface="+mn-cs"/>
              </a:rPr>
              <a:t>Ответственный производитель работ осматривает леса перед началом работ каждой рабочей смены</a:t>
            </a:r>
            <a:r>
              <a:rPr lang="ru-RU" sz="1500" kern="1200" baseline="0" dirty="0" smtClean="0">
                <a:solidFill>
                  <a:schemeClr val="tx1"/>
                </a:solidFill>
                <a:effectLst/>
                <a:latin typeface="+mn-lt"/>
                <a:ea typeface="+mn-ea"/>
                <a:cs typeface="+mn-cs"/>
              </a:rPr>
              <a:t>. (будем говорить, что  у нас есть форма информационной бирки)</a:t>
            </a:r>
          </a:p>
          <a:p>
            <a:pPr marL="0" marR="0" lvl="0" indent="0" algn="l" defTabSz="914400" rtl="0" eaLnBrk="1" fontAlgn="auto" latinLnBrk="0" hangingPunct="1">
              <a:lnSpc>
                <a:spcPct val="107000"/>
              </a:lnSpc>
              <a:spcBef>
                <a:spcPts val="0"/>
              </a:spcBef>
              <a:spcAft>
                <a:spcPts val="800"/>
              </a:spcAft>
              <a:buClrTx/>
              <a:buSzTx/>
              <a:buFontTx/>
              <a:buNone/>
              <a:tabLst/>
              <a:defRPr/>
            </a:pPr>
            <a:r>
              <a:rPr lang="ru-RU" sz="1500" kern="1200" dirty="0" smtClean="0">
                <a:solidFill>
                  <a:schemeClr val="tx1"/>
                </a:solidFill>
                <a:effectLst/>
                <a:latin typeface="+mn-lt"/>
                <a:ea typeface="+mn-ea"/>
                <a:cs typeface="+mn-cs"/>
              </a:rPr>
              <a:t>- Леса высотой более 4 м от уровня земли, пола или площадки, на которой установлены стойки лесов, допускаются к эксплуатации после приемки комиссией с оформлением акта.</a:t>
            </a:r>
          </a:p>
          <a:p>
            <a:pPr marL="0" marR="0" lvl="0" indent="0" algn="l" defTabSz="914400" rtl="0" eaLnBrk="1" fontAlgn="auto" latinLnBrk="0" hangingPunct="1">
              <a:lnSpc>
                <a:spcPct val="107000"/>
              </a:lnSpc>
              <a:spcBef>
                <a:spcPts val="0"/>
              </a:spcBef>
              <a:spcAft>
                <a:spcPts val="800"/>
              </a:spcAft>
              <a:buClrTx/>
              <a:buSzTx/>
              <a:buFontTx/>
              <a:buNone/>
              <a:tabLst/>
              <a:defRPr/>
            </a:pPr>
            <a:r>
              <a:rPr lang="ru-RU" sz="1500" kern="1200" dirty="0" smtClean="0">
                <a:solidFill>
                  <a:schemeClr val="tx1"/>
                </a:solidFill>
                <a:effectLst/>
                <a:latin typeface="+mn-lt"/>
                <a:ea typeface="+mn-ea"/>
                <a:cs typeface="+mn-cs"/>
              </a:rPr>
              <a:t>- Сборка и разборка лесов производятся по наряду-допуску с соблюдением последовательности, предусмотренной ППР на высоте. Работники, участвующие в сборке и разборке лесов, должны пройти соответствующее обучение безопасным методам и приемам работ и должны быть проинструктированы о способах и последовательности производства работ и мерах безопасности</a:t>
            </a:r>
            <a:endParaRPr lang="ru-RU" dirty="0"/>
          </a:p>
        </p:txBody>
      </p:sp>
      <p:sp>
        <p:nvSpPr>
          <p:cNvPr id="4" name="Номер слайда 3"/>
          <p:cNvSpPr>
            <a:spLocks noGrp="1"/>
          </p:cNvSpPr>
          <p:nvPr>
            <p:ph type="sldNum" sz="quarter" idx="10"/>
          </p:nvPr>
        </p:nvSpPr>
        <p:spPr/>
        <p:txBody>
          <a:bodyPr/>
          <a:lstStyle/>
          <a:p>
            <a:pPr marL="0" marR="0" lvl="0" indent="0" algn="r" defTabSz="1152144" rtl="0" eaLnBrk="1" fontAlgn="auto" latinLnBrk="0" hangingPunct="1">
              <a:lnSpc>
                <a:spcPct val="100000"/>
              </a:lnSpc>
              <a:spcBef>
                <a:spcPts val="0"/>
              </a:spcBef>
              <a:spcAft>
                <a:spcPts val="0"/>
              </a:spcAft>
              <a:buClrTx/>
              <a:buSzTx/>
              <a:buFontTx/>
              <a:buNone/>
              <a:tabLst/>
              <a:defRPr/>
            </a:pPr>
            <a:fld id="{F6AD7469-598B-4074-9061-13BEE3927704}"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52144" rtl="0" eaLnBrk="1" fontAlgn="auto" latinLnBrk="0" hangingPunct="1">
                <a:lnSpc>
                  <a:spcPct val="100000"/>
                </a:lnSpc>
                <a:spcBef>
                  <a:spcPts val="0"/>
                </a:spcBef>
                <a:spcAft>
                  <a:spcPts val="0"/>
                </a:spcAft>
                <a:buClrTx/>
                <a:buSzTx/>
                <a:buFontTx/>
                <a:buNone/>
                <a:tabLst/>
                <a:defRPr/>
              </a:pPr>
              <a:t>11</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238299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ru-RU" dirty="0" smtClean="0"/>
              <a:t>- </a:t>
            </a:r>
            <a:r>
              <a:rPr lang="ru-RU" b="1" dirty="0" smtClean="0"/>
              <a:t>Площадка,</a:t>
            </a:r>
            <a:r>
              <a:rPr lang="ru-RU" dirty="0" smtClean="0"/>
              <a:t> на которую устанавливаются средства </a:t>
            </a:r>
            <a:r>
              <a:rPr lang="ru-RU" dirty="0" err="1" smtClean="0"/>
              <a:t>подмащивания</a:t>
            </a:r>
            <a:r>
              <a:rPr lang="ru-RU" dirty="0" smtClean="0"/>
              <a:t>, должна быть очищена от мусора, выровнена, утрамбована. Не допускается наборные подкладки (из нескольких разрозненных элементов.)</a:t>
            </a:r>
            <a:r>
              <a:rPr lang="ru-RU" baseline="0" dirty="0" smtClean="0"/>
              <a:t/>
            </a:r>
            <a:br>
              <a:rPr lang="ru-RU" baseline="0" dirty="0" smtClean="0"/>
            </a:br>
            <a:endParaRPr lang="ru-RU" dirty="0"/>
          </a:p>
        </p:txBody>
      </p:sp>
      <p:sp>
        <p:nvSpPr>
          <p:cNvPr id="4" name="Номер слайда 3"/>
          <p:cNvSpPr>
            <a:spLocks noGrp="1"/>
          </p:cNvSpPr>
          <p:nvPr>
            <p:ph type="sldNum" sz="quarter" idx="10"/>
          </p:nvPr>
        </p:nvSpPr>
        <p:spPr/>
        <p:txBody>
          <a:bodyPr/>
          <a:lstStyle/>
          <a:p>
            <a:pPr marL="0" marR="0" lvl="0" indent="0" algn="r" defTabSz="1152144" rtl="0" eaLnBrk="1" fontAlgn="auto" latinLnBrk="0" hangingPunct="1">
              <a:lnSpc>
                <a:spcPct val="100000"/>
              </a:lnSpc>
              <a:spcBef>
                <a:spcPts val="0"/>
              </a:spcBef>
              <a:spcAft>
                <a:spcPts val="0"/>
              </a:spcAft>
              <a:buClrTx/>
              <a:buSzTx/>
              <a:buFontTx/>
              <a:buNone/>
              <a:tabLst/>
              <a:defRPr/>
            </a:pPr>
            <a:fld id="{F6AD7469-598B-4074-9061-13BEE3927704}"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52144" rtl="0" eaLnBrk="1" fontAlgn="auto" latinLnBrk="0" hangingPunct="1">
                <a:lnSpc>
                  <a:spcPct val="100000"/>
                </a:lnSpc>
                <a:spcBef>
                  <a:spcPts val="0"/>
                </a:spcBef>
                <a:spcAft>
                  <a:spcPts val="0"/>
                </a:spcAft>
                <a:buClrTx/>
                <a:buSzTx/>
                <a:buFontTx/>
                <a:buNone/>
                <a:tabLst/>
                <a:defRPr/>
              </a:pPr>
              <a:t>12</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234793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ru-RU" dirty="0" smtClean="0"/>
              <a:t>-</a:t>
            </a:r>
            <a:r>
              <a:rPr lang="ru-RU" baseline="0" dirty="0" smtClean="0"/>
              <a:t> </a:t>
            </a:r>
            <a:r>
              <a:rPr lang="ru-RU" b="1" baseline="0" dirty="0" smtClean="0"/>
              <a:t>При установке лесов </a:t>
            </a:r>
            <a:r>
              <a:rPr lang="ru-RU" baseline="0" dirty="0" smtClean="0"/>
              <a:t>на грунте, под опоры (башмаки-домкраты) необходимо устанавливать подкладки толщиной не менее 40 мм. Подкладка должна проходить через 2-а башмака (домкрата)</a:t>
            </a:r>
            <a:endParaRPr lang="ru-RU" dirty="0"/>
          </a:p>
        </p:txBody>
      </p:sp>
      <p:sp>
        <p:nvSpPr>
          <p:cNvPr id="4" name="Номер слайда 3"/>
          <p:cNvSpPr>
            <a:spLocks noGrp="1"/>
          </p:cNvSpPr>
          <p:nvPr>
            <p:ph type="sldNum" sz="quarter" idx="10"/>
          </p:nvPr>
        </p:nvSpPr>
        <p:spPr/>
        <p:txBody>
          <a:bodyPr/>
          <a:lstStyle/>
          <a:p>
            <a:pPr marL="0" marR="0" lvl="0" indent="0" algn="r" defTabSz="1152144" rtl="0" eaLnBrk="1" fontAlgn="auto" latinLnBrk="0" hangingPunct="1">
              <a:lnSpc>
                <a:spcPct val="100000"/>
              </a:lnSpc>
              <a:spcBef>
                <a:spcPts val="0"/>
              </a:spcBef>
              <a:spcAft>
                <a:spcPts val="0"/>
              </a:spcAft>
              <a:buClrTx/>
              <a:buSzTx/>
              <a:buFontTx/>
              <a:buNone/>
              <a:tabLst/>
              <a:defRPr/>
            </a:pPr>
            <a:fld id="{F6AD7469-598B-4074-9061-13BEE3927704}"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52144" rtl="0" eaLnBrk="1" fontAlgn="auto" latinLnBrk="0" hangingPunct="1">
                <a:lnSpc>
                  <a:spcPct val="100000"/>
                </a:lnSpc>
                <a:spcBef>
                  <a:spcPts val="0"/>
                </a:spcBef>
                <a:spcAft>
                  <a:spcPts val="0"/>
                </a:spcAft>
                <a:buClrTx/>
                <a:buSzTx/>
                <a:buFontTx/>
                <a:buNone/>
                <a:tabLst/>
                <a:defRPr/>
              </a:pPr>
              <a:t>13</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077826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pPr marL="0" marR="0" lvl="0" indent="0" algn="l" defTabSz="1152144" rtl="0" eaLnBrk="1" fontAlgn="auto" latinLnBrk="0" hangingPunct="1">
              <a:lnSpc>
                <a:spcPct val="100000"/>
              </a:lnSpc>
              <a:spcBef>
                <a:spcPts val="0"/>
              </a:spcBef>
              <a:spcAft>
                <a:spcPts val="0"/>
              </a:spcAft>
              <a:buClrTx/>
              <a:buSzTx/>
              <a:buFontTx/>
              <a:buNone/>
              <a:tabLst/>
              <a:defRPr/>
            </a:pPr>
            <a:r>
              <a:rPr lang="ru-RU" baseline="0" dirty="0" smtClean="0"/>
              <a:t>- </a:t>
            </a:r>
            <a:r>
              <a:rPr lang="ru-RU" b="1" baseline="0" dirty="0" smtClean="0"/>
              <a:t>Собирать леса</a:t>
            </a:r>
            <a:r>
              <a:rPr lang="ru-RU" baseline="0" dirty="0" smtClean="0"/>
              <a:t>, вышку туру необходимо </a:t>
            </a:r>
            <a:r>
              <a:rPr lang="ru-RU" sz="1400" dirty="0" smtClean="0">
                <a:latin typeface="Verdana" panose="020B0604030504040204" pitchFamily="34" charset="0"/>
                <a:ea typeface="Verdana" panose="020B0604030504040204" pitchFamily="34" charset="0"/>
              </a:rPr>
              <a:t>в соответствии с паспортом завода изготовителя. (Наличие всех </a:t>
            </a:r>
            <a:r>
              <a:rPr lang="ru-RU" sz="1400" dirty="0" err="1" smtClean="0">
                <a:latin typeface="Verdana" panose="020B0604030504040204" pitchFamily="34" charset="0"/>
                <a:ea typeface="Verdana" panose="020B0604030504040204" pitchFamily="34" charset="0"/>
              </a:rPr>
              <a:t>доп.связей</a:t>
            </a:r>
            <a:r>
              <a:rPr lang="ru-RU" sz="1400" dirty="0" smtClean="0">
                <a:latin typeface="Verdana" panose="020B0604030504040204" pitchFamily="34" charset="0"/>
                <a:ea typeface="Verdana" panose="020B0604030504040204" pitchFamily="34" charset="0"/>
              </a:rPr>
              <a:t>,</a:t>
            </a:r>
            <a:r>
              <a:rPr lang="ru-RU" sz="1400" baseline="0" dirty="0" smtClean="0">
                <a:latin typeface="Verdana" panose="020B0604030504040204" pitchFamily="34" charset="0"/>
                <a:ea typeface="Verdana" panose="020B0604030504040204" pitchFamily="34" charset="0"/>
              </a:rPr>
              <a:t> инвентарные настилы во всю ширину прохода, </a:t>
            </a:r>
            <a:br>
              <a:rPr lang="ru-RU" sz="1400" baseline="0" dirty="0" smtClean="0">
                <a:latin typeface="Verdana" panose="020B0604030504040204" pitchFamily="34" charset="0"/>
                <a:ea typeface="Verdana" panose="020B0604030504040204" pitchFamily="34" charset="0"/>
              </a:rPr>
            </a:br>
            <a:endParaRPr lang="ru-RU" sz="1400" baseline="0" dirty="0" smtClean="0">
              <a:latin typeface="Verdana" panose="020B0604030504040204" pitchFamily="34" charset="0"/>
              <a:ea typeface="Verdana" panose="020B0604030504040204" pitchFamily="34" charset="0"/>
            </a:endParaRPr>
          </a:p>
        </p:txBody>
      </p:sp>
      <p:sp>
        <p:nvSpPr>
          <p:cNvPr id="4" name="Номер слайда 3"/>
          <p:cNvSpPr>
            <a:spLocks noGrp="1"/>
          </p:cNvSpPr>
          <p:nvPr>
            <p:ph type="sldNum" sz="quarter" idx="10"/>
          </p:nvPr>
        </p:nvSpPr>
        <p:spPr/>
        <p:txBody>
          <a:bodyPr/>
          <a:lstStyle/>
          <a:p>
            <a:pPr marL="0" marR="0" lvl="0" indent="0" algn="r" defTabSz="1152144" rtl="0" eaLnBrk="1" fontAlgn="auto" latinLnBrk="0" hangingPunct="1">
              <a:lnSpc>
                <a:spcPct val="100000"/>
              </a:lnSpc>
              <a:spcBef>
                <a:spcPts val="0"/>
              </a:spcBef>
              <a:spcAft>
                <a:spcPts val="0"/>
              </a:spcAft>
              <a:buClrTx/>
              <a:buSzTx/>
              <a:buFontTx/>
              <a:buNone/>
              <a:tabLst/>
              <a:defRPr/>
            </a:pPr>
            <a:fld id="{F6AD7469-598B-4074-9061-13BEE3927704}"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52144" rtl="0" eaLnBrk="1" fontAlgn="auto" latinLnBrk="0" hangingPunct="1">
                <a:lnSpc>
                  <a:spcPct val="100000"/>
                </a:lnSpc>
                <a:spcBef>
                  <a:spcPts val="0"/>
                </a:spcBef>
                <a:spcAft>
                  <a:spcPts val="0"/>
                </a:spcAft>
                <a:buClrTx/>
                <a:buSzTx/>
                <a:buFontTx/>
                <a:buNone/>
                <a:tabLst/>
                <a:defRPr/>
              </a:pPr>
              <a:t>14</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021311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lnSpcReduction="10000"/>
          </a:bodyPr>
          <a:lstStyle/>
          <a:p>
            <a:pPr marL="0" marR="0" lvl="0" indent="0" algn="l" defTabSz="1152144" rtl="0" eaLnBrk="1" fontAlgn="auto" latinLnBrk="0" hangingPunct="1">
              <a:lnSpc>
                <a:spcPct val="100000"/>
              </a:lnSpc>
              <a:spcBef>
                <a:spcPts val="0"/>
              </a:spcBef>
              <a:spcAft>
                <a:spcPts val="0"/>
              </a:spcAft>
              <a:buClrTx/>
              <a:buSzTx/>
              <a:buFontTx/>
              <a:buNone/>
              <a:tabLst/>
              <a:defRPr/>
            </a:pPr>
            <a:r>
              <a:rPr lang="ru-RU" dirty="0" smtClean="0"/>
              <a:t>На средствах </a:t>
            </a:r>
            <a:r>
              <a:rPr lang="ru-RU" dirty="0" err="1" smtClean="0"/>
              <a:t>подмащивания</a:t>
            </a:r>
            <a:r>
              <a:rPr lang="ru-RU" baseline="0" dirty="0" smtClean="0"/>
              <a:t> д</a:t>
            </a:r>
            <a:r>
              <a:rPr lang="ru-RU" dirty="0" smtClean="0"/>
              <a:t>олжны использоваться инвентарные настилы во</a:t>
            </a:r>
            <a:r>
              <a:rPr lang="ru-RU" baseline="0" dirty="0" smtClean="0"/>
              <a:t> всю ширину рабочей площадки (прохода)</a:t>
            </a:r>
            <a:r>
              <a:rPr lang="ru-RU" dirty="0" smtClean="0"/>
              <a:t>  </a:t>
            </a:r>
            <a:r>
              <a:rPr lang="ru-RU" sz="1600" baseline="0" dirty="0" smtClean="0">
                <a:latin typeface="Verdana" panose="020B0604030504040204" pitchFamily="34" charset="0"/>
                <a:ea typeface="Verdana" panose="020B0604030504040204" pitchFamily="34" charset="0"/>
              </a:rPr>
              <a:t>+ обязательна </a:t>
            </a:r>
            <a:r>
              <a:rPr lang="ru-RU" sz="1600" baseline="0" dirty="0" err="1" smtClean="0">
                <a:latin typeface="Verdana" panose="020B0604030504040204" pitchFamily="34" charset="0"/>
                <a:ea typeface="Verdana" panose="020B0604030504040204" pitchFamily="34" charset="0"/>
              </a:rPr>
              <a:t>отбортовка</a:t>
            </a:r>
            <a:r>
              <a:rPr lang="ru-RU" sz="1600" baseline="0" dirty="0" smtClean="0">
                <a:latin typeface="Verdana" panose="020B0604030504040204" pitchFamily="34" charset="0"/>
                <a:ea typeface="Verdana" panose="020B0604030504040204" pitchFamily="34" charset="0"/>
              </a:rPr>
              <a:t> по внешней стороне лесов высотой не менее 15см. </a:t>
            </a:r>
            <a:br>
              <a:rPr lang="ru-RU" sz="1600" baseline="0" dirty="0" smtClean="0">
                <a:latin typeface="Verdana" panose="020B0604030504040204" pitchFamily="34" charset="0"/>
                <a:ea typeface="Verdana" panose="020B0604030504040204" pitchFamily="34" charset="0"/>
              </a:rPr>
            </a:br>
            <a:r>
              <a:rPr lang="ru-RU" sz="1600" baseline="0" dirty="0" smtClean="0">
                <a:latin typeface="Verdana" panose="020B0604030504040204" pitchFamily="34" charset="0"/>
                <a:ea typeface="Verdana" panose="020B0604030504040204" pitchFamily="34" charset="0"/>
              </a:rPr>
              <a:t>А у вышек-тур это деформированные настилы по причине превышения максимальной нагрузки на  них во время проведения работ. </a:t>
            </a:r>
            <a:br>
              <a:rPr lang="ru-RU" sz="1600" baseline="0" dirty="0" smtClean="0">
                <a:latin typeface="Verdana" panose="020B0604030504040204" pitchFamily="34" charset="0"/>
                <a:ea typeface="Verdana" panose="020B0604030504040204" pitchFamily="34" charset="0"/>
              </a:rPr>
            </a:br>
            <a:r>
              <a:rPr lang="ru-RU" sz="1400" b="1" kern="1200" dirty="0" smtClean="0">
                <a:solidFill>
                  <a:schemeClr val="tx1"/>
                </a:solidFill>
                <a:effectLst/>
                <a:latin typeface="+mn-lt"/>
                <a:ea typeface="+mn-ea"/>
                <a:cs typeface="+mn-cs"/>
              </a:rPr>
              <a:t>- При организации массового прохода</a:t>
            </a:r>
            <a:r>
              <a:rPr lang="ru-RU" sz="1400" kern="1200" dirty="0" smtClean="0">
                <a:solidFill>
                  <a:schemeClr val="tx1"/>
                </a:solidFill>
                <a:effectLst/>
                <a:latin typeface="+mn-lt"/>
                <a:ea typeface="+mn-ea"/>
                <a:cs typeface="+mn-cs"/>
              </a:rPr>
              <a:t> в непосредственной близости от средств </a:t>
            </a:r>
            <a:r>
              <a:rPr lang="ru-RU" sz="1400" kern="1200" dirty="0" err="1" smtClean="0">
                <a:solidFill>
                  <a:schemeClr val="tx1"/>
                </a:solidFill>
                <a:effectLst/>
                <a:latin typeface="+mn-lt"/>
                <a:ea typeface="+mn-ea"/>
                <a:cs typeface="+mn-cs"/>
              </a:rPr>
              <a:t>подмащивания</a:t>
            </a:r>
            <a:r>
              <a:rPr lang="ru-RU" sz="1400" kern="1200" dirty="0" smtClean="0">
                <a:solidFill>
                  <a:schemeClr val="tx1"/>
                </a:solidFill>
                <a:effectLst/>
                <a:latin typeface="+mn-lt"/>
                <a:ea typeface="+mn-ea"/>
                <a:cs typeface="+mn-cs"/>
              </a:rPr>
              <a:t> места прохода людей оборудуются сплошным защитным навесом, а фасад лесов закрывается защитной сеткой с ячейкой размером не более 5 x 5 мм</a:t>
            </a:r>
          </a:p>
          <a:p>
            <a:r>
              <a:rPr lang="ru-RU" sz="1400" b="1" baseline="0" dirty="0" smtClean="0">
                <a:latin typeface="Verdana" panose="020B0604030504040204" pitchFamily="34" charset="0"/>
                <a:ea typeface="Verdana" panose="020B0604030504040204" pitchFamily="34" charset="0"/>
              </a:rPr>
              <a:t>- </a:t>
            </a:r>
            <a:r>
              <a:rPr lang="ru-RU" sz="1400" b="1" kern="1200" dirty="0" smtClean="0">
                <a:solidFill>
                  <a:schemeClr val="tx1"/>
                </a:solidFill>
                <a:effectLst/>
                <a:latin typeface="+mn-lt"/>
                <a:ea typeface="+mn-ea"/>
                <a:cs typeface="+mn-cs"/>
              </a:rPr>
              <a:t>Леса, расположенные</a:t>
            </a:r>
            <a:r>
              <a:rPr lang="ru-RU" sz="1400" kern="1200" dirty="0" smtClean="0">
                <a:solidFill>
                  <a:schemeClr val="tx1"/>
                </a:solidFill>
                <a:effectLst/>
                <a:latin typeface="+mn-lt"/>
                <a:ea typeface="+mn-ea"/>
                <a:cs typeface="+mn-cs"/>
              </a:rPr>
              <a:t> в местах проходов в здание, оборудуются защитными козырьками со сплошной боковой обшивкой для защиты от случайно упавших сверху предметов.</a:t>
            </a:r>
          </a:p>
          <a:p>
            <a:r>
              <a:rPr lang="ru-RU" sz="1400" kern="1200" dirty="0" smtClean="0">
                <a:solidFill>
                  <a:schemeClr val="tx1"/>
                </a:solidFill>
                <a:effectLst/>
                <a:latin typeface="+mn-lt"/>
                <a:ea typeface="+mn-ea"/>
                <a:cs typeface="+mn-cs"/>
              </a:rPr>
              <a:t>Защитные козырьки должны выступать за леса не менее чем на 1,5 м и иметь наклон в 20° в сторону лесов.</a:t>
            </a:r>
            <a:endParaRPr lang="ru-RU" sz="1600" baseline="0" dirty="0" smtClean="0">
              <a:solidFill>
                <a:schemeClr val="bg1"/>
              </a:solidFill>
              <a:latin typeface="Verdana" panose="020B0604030504040204" pitchFamily="34" charset="0"/>
              <a:ea typeface="Verdana" panose="020B060403050404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ru-RU" dirty="0"/>
          </a:p>
        </p:txBody>
      </p:sp>
      <p:sp>
        <p:nvSpPr>
          <p:cNvPr id="4" name="Номер слайда 3"/>
          <p:cNvSpPr>
            <a:spLocks noGrp="1"/>
          </p:cNvSpPr>
          <p:nvPr>
            <p:ph type="sldNum" sz="quarter" idx="10"/>
          </p:nvPr>
        </p:nvSpPr>
        <p:spPr/>
        <p:txBody>
          <a:bodyPr/>
          <a:lstStyle/>
          <a:p>
            <a:pPr marL="0" marR="0" lvl="0" indent="0" algn="r" defTabSz="1152144" rtl="0" eaLnBrk="1" fontAlgn="auto" latinLnBrk="0" hangingPunct="1">
              <a:lnSpc>
                <a:spcPct val="100000"/>
              </a:lnSpc>
              <a:spcBef>
                <a:spcPts val="0"/>
              </a:spcBef>
              <a:spcAft>
                <a:spcPts val="0"/>
              </a:spcAft>
              <a:buClrTx/>
              <a:buSzTx/>
              <a:buFontTx/>
              <a:buNone/>
              <a:tabLst/>
              <a:defRPr/>
            </a:pPr>
            <a:fld id="{F6AD7469-598B-4074-9061-13BEE3927704}"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52144" rtl="0" eaLnBrk="1" fontAlgn="auto" latinLnBrk="0" hangingPunct="1">
                <a:lnSpc>
                  <a:spcPct val="100000"/>
                </a:lnSpc>
                <a:spcBef>
                  <a:spcPts val="0"/>
                </a:spcBef>
                <a:spcAft>
                  <a:spcPts val="0"/>
                </a:spcAft>
                <a:buClrTx/>
                <a:buSzTx/>
                <a:buFontTx/>
                <a:buNone/>
                <a:tabLst/>
                <a:defRPr/>
              </a:pPr>
              <a:t>15</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713263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ru-RU" sz="1600" dirty="0" smtClean="0">
                <a:latin typeface="Verdana" panose="020B0604030504040204" pitchFamily="34" charset="0"/>
                <a:ea typeface="Verdana" panose="020B0604030504040204" pitchFamily="34" charset="0"/>
              </a:rPr>
              <a:t>Использование элементов лесов/средств </a:t>
            </a:r>
            <a:r>
              <a:rPr lang="ru-RU" sz="1600" dirty="0" err="1" smtClean="0">
                <a:latin typeface="Verdana" panose="020B0604030504040204" pitchFamily="34" charset="0"/>
                <a:ea typeface="Verdana" panose="020B0604030504040204" pitchFamily="34" charset="0"/>
              </a:rPr>
              <a:t>подмащивания</a:t>
            </a:r>
            <a:r>
              <a:rPr lang="ru-RU" sz="1600" dirty="0" smtClean="0">
                <a:latin typeface="Verdana" panose="020B0604030504040204" pitchFamily="34" charset="0"/>
                <a:ea typeface="Verdana" panose="020B0604030504040204" pitchFamily="34" charset="0"/>
              </a:rPr>
              <a:t> с дефектами  запрещено! </a:t>
            </a:r>
            <a:br>
              <a:rPr lang="ru-RU" sz="1600" dirty="0" smtClean="0">
                <a:latin typeface="Verdana" panose="020B0604030504040204" pitchFamily="34" charset="0"/>
                <a:ea typeface="Verdana" panose="020B0604030504040204" pitchFamily="34" charset="0"/>
              </a:rPr>
            </a:br>
            <a:r>
              <a:rPr lang="ru-RU" sz="1600" dirty="0" smtClean="0">
                <a:latin typeface="Verdana" panose="020B0604030504040204" pitchFamily="34" charset="0"/>
                <a:ea typeface="Verdana" panose="020B0604030504040204" pitchFamily="34" charset="0"/>
              </a:rPr>
              <a:t>В случае их обнаружения эти элементы необходимо удалить со строительной площадки!</a:t>
            </a:r>
          </a:p>
        </p:txBody>
      </p:sp>
      <p:sp>
        <p:nvSpPr>
          <p:cNvPr id="4" name="Номер слайда 3"/>
          <p:cNvSpPr>
            <a:spLocks noGrp="1"/>
          </p:cNvSpPr>
          <p:nvPr>
            <p:ph type="sldNum" sz="quarter" idx="10"/>
          </p:nvPr>
        </p:nvSpPr>
        <p:spPr/>
        <p:txBody>
          <a:bodyPr/>
          <a:lstStyle/>
          <a:p>
            <a:pPr marL="0" marR="0" lvl="0" indent="0" algn="r" defTabSz="1152144" rtl="0" eaLnBrk="1" fontAlgn="auto" latinLnBrk="0" hangingPunct="1">
              <a:lnSpc>
                <a:spcPct val="100000"/>
              </a:lnSpc>
              <a:spcBef>
                <a:spcPts val="0"/>
              </a:spcBef>
              <a:spcAft>
                <a:spcPts val="0"/>
              </a:spcAft>
              <a:buClrTx/>
              <a:buSzTx/>
              <a:buFontTx/>
              <a:buNone/>
              <a:tabLst/>
              <a:defRPr/>
            </a:pPr>
            <a:fld id="{F6AD7469-598B-4074-9061-13BEE3927704}"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52144" rtl="0" eaLnBrk="1" fontAlgn="auto" latinLnBrk="0" hangingPunct="1">
                <a:lnSpc>
                  <a:spcPct val="100000"/>
                </a:lnSpc>
                <a:spcBef>
                  <a:spcPts val="0"/>
                </a:spcBef>
                <a:spcAft>
                  <a:spcPts val="0"/>
                </a:spcAft>
                <a:buClrTx/>
                <a:buSzTx/>
                <a:buFontTx/>
                <a:buNone/>
                <a:tabLst/>
                <a:defRPr/>
              </a:pPr>
              <a:t>16</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316415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ru-RU" dirty="0" smtClean="0"/>
              <a:t>Ремонт поврежденных элементов, внесение</a:t>
            </a:r>
            <a:r>
              <a:rPr lang="ru-RU" baseline="0" dirty="0" smtClean="0"/>
              <a:t> изменений в конструкцию  лесов/подмостей запрещены.</a:t>
            </a:r>
            <a:br>
              <a:rPr lang="ru-RU" baseline="0" dirty="0" smtClean="0"/>
            </a:br>
            <a:endParaRPr lang="ru-RU" dirty="0"/>
          </a:p>
        </p:txBody>
      </p:sp>
      <p:sp>
        <p:nvSpPr>
          <p:cNvPr id="4" name="Номер слайда 3"/>
          <p:cNvSpPr>
            <a:spLocks noGrp="1"/>
          </p:cNvSpPr>
          <p:nvPr>
            <p:ph type="sldNum" sz="quarter" idx="10"/>
          </p:nvPr>
        </p:nvSpPr>
        <p:spPr/>
        <p:txBody>
          <a:bodyPr/>
          <a:lstStyle/>
          <a:p>
            <a:pPr marL="0" marR="0" lvl="0" indent="0" algn="r" defTabSz="1152144" rtl="0" eaLnBrk="1" fontAlgn="auto" latinLnBrk="0" hangingPunct="1">
              <a:lnSpc>
                <a:spcPct val="100000"/>
              </a:lnSpc>
              <a:spcBef>
                <a:spcPts val="0"/>
              </a:spcBef>
              <a:spcAft>
                <a:spcPts val="0"/>
              </a:spcAft>
              <a:buClrTx/>
              <a:buSzTx/>
              <a:buFontTx/>
              <a:buNone/>
              <a:tabLst/>
              <a:defRPr/>
            </a:pPr>
            <a:fld id="{F6AD7469-598B-4074-9061-13BEE3927704}"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52144" rtl="0" eaLnBrk="1" fontAlgn="auto" latinLnBrk="0" hangingPunct="1">
                <a:lnSpc>
                  <a:spcPct val="100000"/>
                </a:lnSpc>
                <a:spcBef>
                  <a:spcPts val="0"/>
                </a:spcBef>
                <a:spcAft>
                  <a:spcPts val="0"/>
                </a:spcAft>
                <a:buClrTx/>
                <a:buSzTx/>
                <a:buFontTx/>
                <a:buNone/>
                <a:tabLst/>
                <a:defRPr/>
              </a:pPr>
              <a:t>17</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008425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ru-RU" sz="1600" b="1" baseline="0" dirty="0" smtClean="0">
                <a:latin typeface="Verdana" panose="020B0604030504040204" pitchFamily="34" charset="0"/>
                <a:ea typeface="Verdana" panose="020B0604030504040204" pitchFamily="34" charset="0"/>
              </a:rPr>
              <a:t>Для обеспечения </a:t>
            </a:r>
            <a:r>
              <a:rPr lang="ru-RU" sz="1600" baseline="0" dirty="0" smtClean="0">
                <a:latin typeface="Verdana" panose="020B0604030504040204" pitchFamily="34" charset="0"/>
                <a:ea typeface="Verdana" panose="020B0604030504040204" pitchFamily="34" charset="0"/>
              </a:rPr>
              <a:t>устойчивости леса, вышки туры крепятся к зданию, сооружению в соответствии с проектной документацией</a:t>
            </a:r>
            <a:endParaRPr lang="ru-RU" dirty="0"/>
          </a:p>
        </p:txBody>
      </p:sp>
      <p:sp>
        <p:nvSpPr>
          <p:cNvPr id="4" name="Номер слайда 3"/>
          <p:cNvSpPr>
            <a:spLocks noGrp="1"/>
          </p:cNvSpPr>
          <p:nvPr>
            <p:ph type="sldNum" sz="quarter" idx="10"/>
          </p:nvPr>
        </p:nvSpPr>
        <p:spPr/>
        <p:txBody>
          <a:bodyPr/>
          <a:lstStyle/>
          <a:p>
            <a:pPr marL="0" marR="0" lvl="0" indent="0" algn="r" defTabSz="1152144" rtl="0" eaLnBrk="1" fontAlgn="auto" latinLnBrk="0" hangingPunct="1">
              <a:lnSpc>
                <a:spcPct val="100000"/>
              </a:lnSpc>
              <a:spcBef>
                <a:spcPts val="0"/>
              </a:spcBef>
              <a:spcAft>
                <a:spcPts val="0"/>
              </a:spcAft>
              <a:buClrTx/>
              <a:buSzTx/>
              <a:buFontTx/>
              <a:buNone/>
              <a:tabLst/>
              <a:defRPr/>
            </a:pPr>
            <a:fld id="{F6AD7469-598B-4074-9061-13BEE3927704}"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52144" rtl="0" eaLnBrk="1" fontAlgn="auto" latinLnBrk="0" hangingPunct="1">
                <a:lnSpc>
                  <a:spcPct val="100000"/>
                </a:lnSpc>
                <a:spcBef>
                  <a:spcPts val="0"/>
                </a:spcBef>
                <a:spcAft>
                  <a:spcPts val="0"/>
                </a:spcAft>
                <a:buClrTx/>
                <a:buSzTx/>
                <a:buFontTx/>
                <a:buNone/>
                <a:tabLst/>
                <a:defRPr/>
              </a:pPr>
              <a:t>18</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160378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fontScale="92500"/>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ru-RU" sz="1600" dirty="0" smtClean="0">
                <a:latin typeface="Verdana" panose="020B0604030504040204" pitchFamily="34" charset="0"/>
                <a:ea typeface="Verdana" panose="020B0604030504040204" pitchFamily="34" charset="0"/>
              </a:rPr>
              <a:t>Подъем и спуск на леса производиться по лестницам, с внутренней стороны секций. При подъеме на высоту более 5-ти метров</a:t>
            </a:r>
            <a:r>
              <a:rPr lang="ru-RU" sz="1600" baseline="0" dirty="0" smtClean="0">
                <a:latin typeface="Verdana" panose="020B0604030504040204" pitchFamily="34" charset="0"/>
                <a:ea typeface="Verdana" panose="020B0604030504040204" pitchFamily="34" charset="0"/>
              </a:rPr>
              <a:t> по лестнице располагающейся под углом более 75 градусов относительно  поверхности земли, сотруднику необходимо осуществлять </a:t>
            </a:r>
            <a:r>
              <a:rPr lang="ru-RU" sz="1600" baseline="0" dirty="0" err="1" smtClean="0">
                <a:latin typeface="Verdana" panose="020B0604030504040204" pitchFamily="34" charset="0"/>
                <a:ea typeface="Verdana" panose="020B0604030504040204" pitchFamily="34" charset="0"/>
              </a:rPr>
              <a:t>самостраховку</a:t>
            </a:r>
            <a:r>
              <a:rPr lang="ru-RU" sz="1600" baseline="0" dirty="0" smtClean="0">
                <a:latin typeface="Verdana" panose="020B0604030504040204" pitchFamily="34" charset="0"/>
                <a:ea typeface="Verdana" panose="020B0604030504040204" pitchFamily="34" charset="0"/>
              </a:rPr>
              <a:t> – т.е. применять </a:t>
            </a:r>
            <a:r>
              <a:rPr lang="ru-RU" sz="1600" baseline="0" dirty="0" err="1" smtClean="0">
                <a:latin typeface="Verdana" panose="020B0604030504040204" pitchFamily="34" charset="0"/>
                <a:ea typeface="Verdana" panose="020B0604030504040204" pitchFamily="34" charset="0"/>
              </a:rPr>
              <a:t>двухплечевой</a:t>
            </a:r>
            <a:r>
              <a:rPr lang="ru-RU" sz="1600" baseline="0" dirty="0" smtClean="0">
                <a:latin typeface="Verdana" panose="020B0604030504040204" pitchFamily="34" charset="0"/>
                <a:ea typeface="Verdana" panose="020B0604030504040204" pitchFamily="34" charset="0"/>
              </a:rPr>
              <a:t> строп.</a:t>
            </a:r>
            <a:r>
              <a:rPr lang="ru-RU" sz="1600" dirty="0" smtClean="0">
                <a:latin typeface="Verdana" panose="020B0604030504040204" pitchFamily="34" charset="0"/>
                <a:ea typeface="Verdana" panose="020B0604030504040204" pitchFamily="34" charset="0"/>
              </a:rPr>
              <a:t/>
            </a:r>
            <a:br>
              <a:rPr lang="ru-RU" sz="1600" dirty="0" smtClean="0">
                <a:latin typeface="Verdana" panose="020B0604030504040204" pitchFamily="34" charset="0"/>
                <a:ea typeface="Verdana" panose="020B0604030504040204" pitchFamily="34" charset="0"/>
              </a:rPr>
            </a:br>
            <a:r>
              <a:rPr lang="ru-RU" sz="1600" dirty="0" smtClean="0">
                <a:latin typeface="Verdana" panose="020B0604030504040204" pitchFamily="34" charset="0"/>
                <a:ea typeface="Verdana" panose="020B0604030504040204" pitchFamily="34" charset="0"/>
              </a:rPr>
              <a:t>Руки при подъеме,</a:t>
            </a:r>
            <a:r>
              <a:rPr lang="ru-RU" sz="1600" baseline="0" dirty="0" smtClean="0">
                <a:latin typeface="Verdana" panose="020B0604030504040204" pitchFamily="34" charset="0"/>
                <a:ea typeface="Verdana" panose="020B0604030504040204" pitchFamily="34" charset="0"/>
              </a:rPr>
              <a:t> спуске сотрудника </a:t>
            </a:r>
            <a:r>
              <a:rPr lang="ru-RU" sz="1600" dirty="0" smtClean="0">
                <a:latin typeface="Verdana" panose="020B0604030504040204" pitchFamily="34" charset="0"/>
                <a:ea typeface="Verdana" panose="020B0604030504040204" pitchFamily="34" charset="0"/>
              </a:rPr>
              <a:t>должны быть свободны.  </a:t>
            </a:r>
            <a:br>
              <a:rPr lang="ru-RU" sz="1600" dirty="0" smtClean="0">
                <a:latin typeface="Verdana" panose="020B0604030504040204" pitchFamily="34" charset="0"/>
                <a:ea typeface="Verdana" panose="020B0604030504040204" pitchFamily="34" charset="0"/>
              </a:rPr>
            </a:br>
            <a:r>
              <a:rPr lang="ru-RU" sz="1600" dirty="0" smtClean="0">
                <a:latin typeface="Verdana" panose="020B0604030504040204" pitchFamily="34" charset="0"/>
                <a:ea typeface="Verdana" panose="020B0604030504040204" pitchFamily="34" charset="0"/>
              </a:rPr>
              <a:t>Доставку</a:t>
            </a:r>
            <a:r>
              <a:rPr lang="ru-RU" sz="1600" baseline="0" dirty="0" smtClean="0">
                <a:latin typeface="Verdana" panose="020B0604030504040204" pitchFamily="34" charset="0"/>
                <a:ea typeface="Verdana" panose="020B0604030504040204" pitchFamily="34" charset="0"/>
              </a:rPr>
              <a:t> инструмента, материалов и оборудования на рабочую площадку средств </a:t>
            </a:r>
            <a:r>
              <a:rPr lang="ru-RU" sz="1600" baseline="0" dirty="0" err="1" smtClean="0">
                <a:latin typeface="Verdana" panose="020B0604030504040204" pitchFamily="34" charset="0"/>
                <a:ea typeface="Verdana" panose="020B0604030504040204" pitchFamily="34" charset="0"/>
              </a:rPr>
              <a:t>подмащивания</a:t>
            </a:r>
            <a:r>
              <a:rPr lang="ru-RU" sz="1600" baseline="0" dirty="0" smtClean="0">
                <a:latin typeface="Verdana" panose="020B0604030504040204" pitchFamily="34" charset="0"/>
                <a:ea typeface="Verdana" panose="020B0604030504040204" pitchFamily="34" charset="0"/>
              </a:rPr>
              <a:t> необходимо осуществлять с помощью  веревки и сумки (Подбрасывание запрещено)</a:t>
            </a:r>
            <a:r>
              <a:rPr lang="ru-RU" sz="1600" dirty="0" smtClean="0">
                <a:latin typeface="Verdana" panose="020B0604030504040204" pitchFamily="34" charset="0"/>
                <a:ea typeface="Verdana" panose="020B0604030504040204" pitchFamily="34" charset="0"/>
              </a:rPr>
              <a:t> </a:t>
            </a:r>
            <a:endParaRPr lang="ru-RU" dirty="0"/>
          </a:p>
        </p:txBody>
      </p:sp>
      <p:sp>
        <p:nvSpPr>
          <p:cNvPr id="4" name="Номер слайда 3"/>
          <p:cNvSpPr>
            <a:spLocks noGrp="1"/>
          </p:cNvSpPr>
          <p:nvPr>
            <p:ph type="sldNum" sz="quarter" idx="10"/>
          </p:nvPr>
        </p:nvSpPr>
        <p:spPr/>
        <p:txBody>
          <a:bodyPr/>
          <a:lstStyle/>
          <a:p>
            <a:pPr marL="0" marR="0" lvl="0" indent="0" algn="r" defTabSz="1152144" rtl="0" eaLnBrk="1" fontAlgn="auto" latinLnBrk="0" hangingPunct="1">
              <a:lnSpc>
                <a:spcPct val="100000"/>
              </a:lnSpc>
              <a:spcBef>
                <a:spcPts val="0"/>
              </a:spcBef>
              <a:spcAft>
                <a:spcPts val="0"/>
              </a:spcAft>
              <a:buClrTx/>
              <a:buSzTx/>
              <a:buFontTx/>
              <a:buNone/>
              <a:tabLst/>
              <a:defRPr/>
            </a:pPr>
            <a:fld id="{F6AD7469-598B-4074-9061-13BEE3927704}"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52144" rtl="0" eaLnBrk="1" fontAlgn="auto" latinLnBrk="0" hangingPunct="1">
                <a:lnSpc>
                  <a:spcPct val="100000"/>
                </a:lnSpc>
                <a:spcBef>
                  <a:spcPts val="0"/>
                </a:spcBef>
                <a:spcAft>
                  <a:spcPts val="0"/>
                </a:spcAft>
                <a:buClrTx/>
                <a:buSzTx/>
                <a:buFontTx/>
                <a:buNone/>
                <a:tabLst/>
                <a:defRPr/>
              </a:pPr>
              <a:t>19</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604318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Добрый день коллеги. Сегодня мы</a:t>
            </a:r>
            <a:r>
              <a:rPr lang="ru-RU" baseline="0" dirty="0" smtClean="0"/>
              <a:t> проводим день безопасности с подрядными организациями. По традиции начнём с контакта по безопасности.</a:t>
            </a:r>
            <a:endParaRPr lang="ru-RU" dirty="0"/>
          </a:p>
        </p:txBody>
      </p:sp>
      <p:sp>
        <p:nvSpPr>
          <p:cNvPr id="4" name="Номер слайда 3"/>
          <p:cNvSpPr>
            <a:spLocks noGrp="1"/>
          </p:cNvSpPr>
          <p:nvPr>
            <p:ph type="sldNum" sz="quarter" idx="5"/>
          </p:nvPr>
        </p:nvSpPr>
        <p:spPr/>
        <p:txBody>
          <a:bodyPr/>
          <a:lstStyle/>
          <a:p>
            <a:pPr marL="0" marR="0" lvl="0" indent="0" algn="r" defTabSz="1152144" rtl="0" eaLnBrk="1" fontAlgn="auto" latinLnBrk="0" hangingPunct="1">
              <a:lnSpc>
                <a:spcPct val="100000"/>
              </a:lnSpc>
              <a:spcBef>
                <a:spcPts val="0"/>
              </a:spcBef>
              <a:spcAft>
                <a:spcPts val="0"/>
              </a:spcAft>
              <a:buClrTx/>
              <a:buSzTx/>
              <a:buFontTx/>
              <a:buNone/>
              <a:tabLst/>
              <a:defRPr/>
            </a:pPr>
            <a:fld id="{F6AD7469-598B-4074-9061-13BEE3927704}"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52144" rtl="0" eaLnBrk="1" fontAlgn="auto" latinLnBrk="0" hangingPunct="1">
                <a:lnSpc>
                  <a:spcPct val="100000"/>
                </a:lnSpc>
                <a:spcBef>
                  <a:spcPts val="0"/>
                </a:spcBef>
                <a:spcAft>
                  <a:spcPts val="0"/>
                </a:spcAft>
                <a:buClrTx/>
                <a:buSzTx/>
                <a:buFontTx/>
                <a:buNone/>
                <a:tabLst/>
                <a:defRPr/>
              </a:pPr>
              <a:t>2</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262306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pPr marL="0" marR="0" lvl="0" indent="0" algn="l" defTabSz="1152144" rtl="0" eaLnBrk="1" fontAlgn="auto" latinLnBrk="0" hangingPunct="1">
              <a:lnSpc>
                <a:spcPct val="100000"/>
              </a:lnSpc>
              <a:spcBef>
                <a:spcPts val="0"/>
              </a:spcBef>
              <a:spcAft>
                <a:spcPts val="0"/>
              </a:spcAft>
              <a:buClrTx/>
              <a:buSzTx/>
              <a:buFontTx/>
              <a:buNone/>
              <a:tabLst/>
              <a:defRPr/>
            </a:pPr>
            <a:endParaRPr lang="ru-RU" dirty="0"/>
          </a:p>
          <a:p>
            <a:r>
              <a:rPr lang="ru-RU" sz="1500" kern="1200" dirty="0" smtClean="0">
                <a:solidFill>
                  <a:schemeClr val="tx1"/>
                </a:solidFill>
                <a:effectLst/>
                <a:latin typeface="+mn-lt"/>
                <a:ea typeface="+mn-ea"/>
                <a:cs typeface="+mn-cs"/>
              </a:rPr>
              <a:t>В местах подъема работников на леса и подмости должны размещаться плакаты с указанием схемы их размещения и величин допускаемых нагрузок; места расположения анкерных точек и (или) анкерных линий… </a:t>
            </a:r>
            <a:br>
              <a:rPr lang="ru-RU" sz="1500" kern="1200" dirty="0" smtClean="0">
                <a:solidFill>
                  <a:schemeClr val="tx1"/>
                </a:solidFill>
                <a:effectLst/>
                <a:latin typeface="+mn-lt"/>
                <a:ea typeface="+mn-ea"/>
                <a:cs typeface="+mn-cs"/>
              </a:rPr>
            </a:br>
            <a:r>
              <a:rPr lang="ru-RU" dirty="0" smtClean="0"/>
              <a:t>На каждом подъеме Форма информационной</a:t>
            </a:r>
            <a:r>
              <a:rPr lang="ru-RU" baseline="0" dirty="0" smtClean="0"/>
              <a:t> бирки примерная. Основание – приказ </a:t>
            </a:r>
            <a:r>
              <a:rPr lang="ru-RU" baseline="0" dirty="0" err="1" smtClean="0"/>
              <a:t>мин.труда</a:t>
            </a:r>
            <a:r>
              <a:rPr lang="ru-RU" baseline="0" dirty="0" smtClean="0"/>
              <a:t> №782н, наш  стандарт СТК.12-545.6 «взаимодействие с ПО в области безопасности производства»</a:t>
            </a:r>
            <a:endParaRPr lang="ru-RU" dirty="0"/>
          </a:p>
        </p:txBody>
      </p:sp>
      <p:sp>
        <p:nvSpPr>
          <p:cNvPr id="4" name="Номер слайда 3"/>
          <p:cNvSpPr>
            <a:spLocks noGrp="1"/>
          </p:cNvSpPr>
          <p:nvPr>
            <p:ph type="sldNum" sz="quarter" idx="10"/>
          </p:nvPr>
        </p:nvSpPr>
        <p:spPr/>
        <p:txBody>
          <a:bodyPr/>
          <a:lstStyle/>
          <a:p>
            <a:pPr marL="0" marR="0" lvl="0" indent="0" algn="r" defTabSz="1152144" rtl="0" eaLnBrk="1" fontAlgn="auto" latinLnBrk="0" hangingPunct="1">
              <a:lnSpc>
                <a:spcPct val="100000"/>
              </a:lnSpc>
              <a:spcBef>
                <a:spcPts val="0"/>
              </a:spcBef>
              <a:spcAft>
                <a:spcPts val="0"/>
              </a:spcAft>
              <a:buClrTx/>
              <a:buSzTx/>
              <a:buFontTx/>
              <a:buNone/>
              <a:tabLst/>
              <a:defRPr/>
            </a:pPr>
            <a:fld id="{FB9DBB27-19F2-BA47-9626-C091B64D8442}"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52144" rtl="0" eaLnBrk="1" fontAlgn="auto" latinLnBrk="0" hangingPunct="1">
                <a:lnSpc>
                  <a:spcPct val="100000"/>
                </a:lnSpc>
                <a:spcBef>
                  <a:spcPts val="0"/>
                </a:spcBef>
                <a:spcAft>
                  <a:spcPts val="0"/>
                </a:spcAft>
                <a:buClrTx/>
                <a:buSzTx/>
                <a:buFontTx/>
                <a:buNone/>
                <a:tabLst/>
                <a:defRPr/>
              </a:pPr>
              <a:t>20</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61141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pPr marL="0" marR="0" lvl="0" indent="0" algn="r" defTabSz="1152144" rtl="0" eaLnBrk="1" fontAlgn="auto" latinLnBrk="0" hangingPunct="1">
              <a:lnSpc>
                <a:spcPct val="100000"/>
              </a:lnSpc>
              <a:spcBef>
                <a:spcPts val="0"/>
              </a:spcBef>
              <a:spcAft>
                <a:spcPts val="0"/>
              </a:spcAft>
              <a:buClrTx/>
              <a:buSzTx/>
              <a:buFontTx/>
              <a:buNone/>
              <a:tabLst/>
              <a:defRPr/>
            </a:pPr>
            <a:fld id="{F6AD7469-598B-4074-9061-13BEE3927704}"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52144" rtl="0" eaLnBrk="1" fontAlgn="auto" latinLnBrk="0" hangingPunct="1">
                <a:lnSpc>
                  <a:spcPct val="100000"/>
                </a:lnSpc>
                <a:spcBef>
                  <a:spcPts val="0"/>
                </a:spcBef>
                <a:spcAft>
                  <a:spcPts val="0"/>
                </a:spcAft>
                <a:buClrTx/>
                <a:buSzTx/>
                <a:buFontTx/>
                <a:buNone/>
                <a:tabLst/>
                <a:defRPr/>
              </a:pPr>
              <a:t>21</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978369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baseline="0" dirty="0" smtClean="0"/>
              <a:t>Далее комитет</a:t>
            </a:r>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DBB27-19F2-BA47-9626-C091B64D8442}"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35545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baseline="0" dirty="0" smtClean="0"/>
              <a:t>Можно сделать пару фотографий на следующей встрече по обсуждению профиля аутсайдера с руководством ПО.</a:t>
            </a:r>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DBB27-19F2-BA47-9626-C091B64D8442}"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76275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DBB27-19F2-BA47-9626-C091B64D8442}"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89188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AD7469-598B-4074-9061-13BEE3927704}"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47735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DBB27-19F2-BA47-9626-C091B64D8442}"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91261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DBB27-19F2-BA47-9626-C091B64D8442}"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82131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DBB27-19F2-BA47-9626-C091B64D8442}"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331535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pPr marL="0" marR="0" lvl="0" indent="0" algn="r" defTabSz="1152144" rtl="0" eaLnBrk="1" fontAlgn="auto" latinLnBrk="0" hangingPunct="1">
              <a:lnSpc>
                <a:spcPct val="100000"/>
              </a:lnSpc>
              <a:spcBef>
                <a:spcPts val="0"/>
              </a:spcBef>
              <a:spcAft>
                <a:spcPts val="0"/>
              </a:spcAft>
              <a:buClrTx/>
              <a:buSzTx/>
              <a:buFontTx/>
              <a:buNone/>
              <a:tabLst/>
              <a:defRPr/>
            </a:pPr>
            <a:fld id="{F6AD7469-598B-4074-9061-13BEE3927704}"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52144" rtl="0" eaLnBrk="1" fontAlgn="auto" latinLnBrk="0" hangingPunct="1">
                <a:lnSpc>
                  <a:spcPct val="100000"/>
                </a:lnSpc>
                <a:spcBef>
                  <a:spcPts val="0"/>
                </a:spcBef>
                <a:spcAft>
                  <a:spcPts val="0"/>
                </a:spcAft>
                <a:buClrTx/>
                <a:buSzTx/>
                <a:buFontTx/>
                <a:buNone/>
                <a:tabLst/>
                <a:defRPr/>
              </a:pPr>
              <a:t>29</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49554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В далеком 1996</a:t>
            </a:r>
            <a:r>
              <a:rPr lang="ru-RU" baseline="0" dirty="0" smtClean="0"/>
              <a:t> году у моего отца был друг они часто отдыхали вместе после рабочего дня за бутылочкой горячительного, отдыхать любили на старой водной станции где была коробочка, однажды друг моего отца решил поспорить что переплывет пруд. Естественно был уже хорошо заряжен, его стали уговаривать что мол не стоит ты уже достаточно принял и надо расходится по домам но он сказал что живет на той стороне пруда и протрезвеет как раз переплыв пруд, и не кого не слушая нырнул в воду и поплыл проплыл примерно метров 150 – 200 и исчез из виду искали его два дня водолазами и рыбаки сетями. Человек утонул вода пьяных не любит.</a:t>
            </a:r>
            <a:endParaRPr lang="ru-RU" dirty="0" smtClean="0"/>
          </a:p>
        </p:txBody>
      </p:sp>
      <p:sp>
        <p:nvSpPr>
          <p:cNvPr id="4" name="Номер слайда 3"/>
          <p:cNvSpPr>
            <a:spLocks noGrp="1"/>
          </p:cNvSpPr>
          <p:nvPr>
            <p:ph type="sldNum" sz="quarter" idx="5"/>
          </p:nvPr>
        </p:nvSpPr>
        <p:spPr/>
        <p:txBody>
          <a:bodyPr/>
          <a:lstStyle/>
          <a:p>
            <a:pPr marL="0" marR="0" lvl="0" indent="0" algn="r" defTabSz="1152144" rtl="0" eaLnBrk="1" fontAlgn="auto" latinLnBrk="0" hangingPunct="1">
              <a:lnSpc>
                <a:spcPct val="100000"/>
              </a:lnSpc>
              <a:spcBef>
                <a:spcPts val="0"/>
              </a:spcBef>
              <a:spcAft>
                <a:spcPts val="0"/>
              </a:spcAft>
              <a:buClrTx/>
              <a:buSzTx/>
              <a:buFontTx/>
              <a:buNone/>
              <a:tabLst/>
              <a:defRPr/>
            </a:pPr>
            <a:fld id="{F6AD7469-598B-4074-9061-13BEE3927704}"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52144" rtl="0" eaLnBrk="1" fontAlgn="auto" latinLnBrk="0" hangingPunct="1">
                <a:lnSpc>
                  <a:spcPct val="100000"/>
                </a:lnSpc>
                <a:spcBef>
                  <a:spcPts val="0"/>
                </a:spcBef>
                <a:spcAft>
                  <a:spcPts val="0"/>
                </a:spcAft>
                <a:buClrTx/>
                <a:buSzTx/>
                <a:buFontTx/>
                <a:buNone/>
                <a:tabLst/>
                <a:defRPr/>
              </a:pPr>
              <a:t>3</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422151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a:r>
              <a:rPr lang="ru-RU" sz="1200" b="0" i="0" u="none" strike="noStrike" baseline="0" dirty="0" smtClean="0">
                <a:latin typeface="ArialMT"/>
              </a:rPr>
              <a:t>В случае выявления нарушения требований «Кардинальных правил безопасного поведения», а также грубых нарушений требований безопасности, включая действия или бездействия подрядчика, которые могут привести к тяжким последствиям (авария, пожар, несчастный случай на производстве, нанесение существенного экологического ущерба, либо существенного ущерба имуществу предприятия) </a:t>
            </a:r>
            <a:r>
              <a:rPr kumimoji="0" lang="ru-RU" sz="1200" b="0" i="0" u="none" strike="noStrike" kern="1200" cap="none" spc="-5" normalizeH="0" baseline="0" noProof="0" dirty="0" smtClean="0">
                <a:ln>
                  <a:noFill/>
                </a:ln>
                <a:solidFill>
                  <a:prstClr val="black"/>
                </a:solidFill>
                <a:effectLst/>
                <a:uLnTx/>
                <a:uFillTx/>
                <a:latin typeface="Verdana" panose="020B0604030504040204" pitchFamily="34" charset="0"/>
                <a:ea typeface="Calibri" panose="020F0502020204030204" pitchFamily="34" charset="0"/>
                <a:cs typeface="Times New Roman" panose="02020603050405020304" pitchFamily="18" charset="0"/>
              </a:rPr>
              <a:t>представители компании вправе приостановить работы ПО. </a:t>
            </a:r>
            <a:r>
              <a:rPr lang="ru-RU" sz="1200" b="0" i="0" u="none" strike="noStrike" baseline="0" dirty="0" smtClean="0">
                <a:latin typeface="ArialMT"/>
              </a:rPr>
              <a:t>В случае принятия решения об ограничении доступа на территорию предприятия, информация направляется в дирекцию по экономической безопасности АО «ВМЗ» по средствам направления сообщения в системе АСУБ с ходатайством изъятия/ блокирования выданных пропусков у работников подрядной организации: самих нарушителей и их непосредственных руководителей в течении суток с момента регистрации аудита. Со дня блокировки доступа, при первичном нарушении, сотрудник подрядной организации направляется на обучение в Корпоративный университет «ОМК» на курс Работы повышенной опасности. Решение о деблокировании/возвращении пропусков может быть принято по итогам проведенного обучения и положительной оценки усвоения материала.</a:t>
            </a:r>
          </a:p>
          <a:p>
            <a:pPr algn="l"/>
            <a:r>
              <a:rPr lang="ru-RU" sz="1200" b="0" i="0" u="none" strike="noStrike" baseline="0" dirty="0" smtClean="0">
                <a:latin typeface="ArialMT"/>
              </a:rPr>
              <a:t>Ведомость с информацией об обученном персонале передается из Университета в ДЭБ для восстановления доступа сотрудникам, успешно прошедшим обучение. </a:t>
            </a:r>
          </a:p>
          <a:p>
            <a:pPr algn="l"/>
            <a:r>
              <a:rPr lang="ru-RU" sz="1200" spc="-5" dirty="0" smtClean="0">
                <a:effectLst/>
                <a:highlight>
                  <a:srgbClr val="FFFF00"/>
                </a:highlight>
                <a:latin typeface="Verdana" panose="020B0604030504040204" pitchFamily="34" charset="0"/>
                <a:ea typeface="Calibri" panose="020F0502020204030204" pitchFamily="34" charset="0"/>
                <a:cs typeface="Times New Roman" panose="02020603050405020304" pitchFamily="18" charset="0"/>
              </a:rPr>
              <a:t>При условии второго нарушения требований безопасности, повлекшего за собой запрет доступа на территорию компании, Компания вправе ограничить доступ сотруднику – нарушителю без права его восстановления.</a:t>
            </a:r>
            <a:endParaRPr lang="ru-RU" sz="1200" dirty="0" smtClean="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Номер слайда 3"/>
          <p:cNvSpPr>
            <a:spLocks noGrp="1"/>
          </p:cNvSpPr>
          <p:nvPr>
            <p:ph type="sldNum" sz="quarter" idx="10"/>
          </p:nvPr>
        </p:nvSpPr>
        <p:spPr/>
        <p:txBody>
          <a:bodyPr/>
          <a:lstStyle/>
          <a:p>
            <a:fld id="{C9094A29-9246-4C80-8546-76A93C5E306E}" type="slidenum">
              <a:rPr lang="ru-RU" smtClean="0"/>
              <a:t>30</a:t>
            </a:fld>
            <a:endParaRPr lang="ru-RU"/>
          </a:p>
        </p:txBody>
      </p:sp>
    </p:spTree>
    <p:extLst>
      <p:ext uri="{BB962C8B-B14F-4D97-AF65-F5344CB8AC3E}">
        <p14:creationId xmlns:p14="http://schemas.microsoft.com/office/powerpoint/2010/main" val="9605374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a:r>
              <a:rPr lang="ru-RU" sz="1200" b="0" i="0" u="none" strike="noStrike" baseline="0" dirty="0" smtClean="0">
                <a:latin typeface="ArialMT"/>
              </a:rPr>
              <a:t>В случае выявления нарушения требований «Кардинальных правил безопасного поведения», а также грубых нарушений требований безопасности, включая действия или бездействия подрядчика, которые могут привести к тяжким последствиям (авария, пожар, несчастный случай на производстве, нанесение существенного экологического ущерба, либо существенного ущерба имуществу предприятия) </a:t>
            </a:r>
            <a:r>
              <a:rPr kumimoji="0" lang="ru-RU" sz="1200" b="0" i="0" u="none" strike="noStrike" kern="1200" cap="none" spc="-5" normalizeH="0" baseline="0" noProof="0" dirty="0" smtClean="0">
                <a:ln>
                  <a:noFill/>
                </a:ln>
                <a:solidFill>
                  <a:prstClr val="black"/>
                </a:solidFill>
                <a:effectLst/>
                <a:uLnTx/>
                <a:uFillTx/>
                <a:latin typeface="Verdana" panose="020B0604030504040204" pitchFamily="34" charset="0"/>
                <a:ea typeface="Calibri" panose="020F0502020204030204" pitchFamily="34" charset="0"/>
                <a:cs typeface="Times New Roman" panose="02020603050405020304" pitchFamily="18" charset="0"/>
              </a:rPr>
              <a:t>представители компании вправе приостановить работы ПО. </a:t>
            </a:r>
            <a:r>
              <a:rPr lang="ru-RU" sz="1200" b="0" i="0" u="none" strike="noStrike" baseline="0" dirty="0" smtClean="0">
                <a:latin typeface="ArialMT"/>
              </a:rPr>
              <a:t>В случае принятия решения об ограничении доступа на территорию предприятия, информация направляется в дирекцию по экономической безопасности АО «ВМЗ» по средствам направления сообщения в системе АСУБ с ходатайством изъятия/ блокирования выданных пропусков у работников подрядной организации: самих нарушителей и их непосредственных руководителей в течении суток с момента регистрации аудита. Со дня блокировки доступа, при первичном нарушении, сотрудник подрядной организации направляется на обучение в Корпоративный университет «ОМК» на курс Работы повышенной опасности. Решение о деблокировании/возвращении пропусков может быть принято по итогам проведенного обучения и положительной оценки усвоения материала.</a:t>
            </a:r>
          </a:p>
          <a:p>
            <a:pPr algn="l"/>
            <a:r>
              <a:rPr lang="ru-RU" sz="1200" b="0" i="0" u="none" strike="noStrike" baseline="0" dirty="0" smtClean="0">
                <a:latin typeface="ArialMT"/>
              </a:rPr>
              <a:t>Ведомость с информацией об обученном персонале передается из Университета в ДЭБ для восстановления доступа сотрудникам, успешно прошедшим обучение. </a:t>
            </a:r>
          </a:p>
          <a:p>
            <a:pPr algn="l"/>
            <a:r>
              <a:rPr lang="ru-RU" sz="1200" spc="-5" dirty="0" smtClean="0">
                <a:effectLst/>
                <a:highlight>
                  <a:srgbClr val="FFFF00"/>
                </a:highlight>
                <a:latin typeface="Verdana" panose="020B0604030504040204" pitchFamily="34" charset="0"/>
                <a:ea typeface="Calibri" panose="020F0502020204030204" pitchFamily="34" charset="0"/>
                <a:cs typeface="Times New Roman" panose="02020603050405020304" pitchFamily="18" charset="0"/>
              </a:rPr>
              <a:t>При условии второго нарушения требований безопасности, повлекшего за собой запрет доступа на территорию компании, Компания вправе ограничить доступ сотруднику – нарушителю без права его восстановления.</a:t>
            </a:r>
            <a:endParaRPr lang="ru-RU" sz="1200" dirty="0" smtClean="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Номер слайда 3"/>
          <p:cNvSpPr>
            <a:spLocks noGrp="1"/>
          </p:cNvSpPr>
          <p:nvPr>
            <p:ph type="sldNum" sz="quarter" idx="10"/>
          </p:nvPr>
        </p:nvSpPr>
        <p:spPr/>
        <p:txBody>
          <a:bodyPr/>
          <a:lstStyle/>
          <a:p>
            <a:fld id="{C9094A29-9246-4C80-8546-76A93C5E306E}" type="slidenum">
              <a:rPr lang="ru-RU" smtClean="0"/>
              <a:t>31</a:t>
            </a:fld>
            <a:endParaRPr lang="ru-RU"/>
          </a:p>
        </p:txBody>
      </p:sp>
    </p:spTree>
    <p:extLst>
      <p:ext uri="{BB962C8B-B14F-4D97-AF65-F5344CB8AC3E}">
        <p14:creationId xmlns:p14="http://schemas.microsoft.com/office/powerpoint/2010/main" val="22494095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a:r>
              <a:rPr lang="ru-RU" sz="1200" b="0" i="0" u="none" strike="noStrike" baseline="0" dirty="0" smtClean="0">
                <a:latin typeface="ArialMT"/>
              </a:rPr>
              <a:t>В случае выявления нарушения требований «Кардинальных правил безопасного поведения», а также грубых нарушений требований безопасности, включая действия или бездействия подрядчика, которые могут привести к тяжким последствиям (авария, пожар, несчастный случай на производстве, нанесение существенного экологического ущерба, либо существенного ущерба имуществу предприятия) </a:t>
            </a:r>
            <a:r>
              <a:rPr kumimoji="0" lang="ru-RU" sz="1200" b="0" i="0" u="none" strike="noStrike" kern="1200" cap="none" spc="-5" normalizeH="0" baseline="0" noProof="0" dirty="0" smtClean="0">
                <a:ln>
                  <a:noFill/>
                </a:ln>
                <a:solidFill>
                  <a:prstClr val="black"/>
                </a:solidFill>
                <a:effectLst/>
                <a:uLnTx/>
                <a:uFillTx/>
                <a:latin typeface="Verdana" panose="020B0604030504040204" pitchFamily="34" charset="0"/>
                <a:ea typeface="Calibri" panose="020F0502020204030204" pitchFamily="34" charset="0"/>
                <a:cs typeface="Times New Roman" panose="02020603050405020304" pitchFamily="18" charset="0"/>
              </a:rPr>
              <a:t>представители компании вправе приостановить работы ПО. </a:t>
            </a:r>
            <a:r>
              <a:rPr lang="ru-RU" sz="1200" b="0" i="0" u="none" strike="noStrike" baseline="0" dirty="0" smtClean="0">
                <a:latin typeface="ArialMT"/>
              </a:rPr>
              <a:t>В случае принятия решения об ограничении доступа на территорию предприятия, информация направляется в дирекцию по экономической безопасности АО «ВМЗ» по средствам направления сообщения в системе АСУБ с ходатайством изъятия/ блокирования выданных пропусков у работников подрядной организации: самих нарушителей и их непосредственных руководителей в течении суток с момента регистрации аудита. Со дня блокировки доступа, при первичном нарушении, сотрудник подрядной организации направляется на обучение в Корпоративный университет «ОМК» на курс Работы повышенной опасности. Решение о деблокировании/возвращении пропусков может быть принято по итогам проведенного обучения и положительной оценки усвоения материала.</a:t>
            </a:r>
          </a:p>
          <a:p>
            <a:pPr algn="l"/>
            <a:r>
              <a:rPr lang="ru-RU" sz="1200" b="0" i="0" u="none" strike="noStrike" baseline="0" dirty="0" smtClean="0">
                <a:latin typeface="ArialMT"/>
              </a:rPr>
              <a:t>Ведомость с информацией об обученном персонале передается из Университета в ДЭБ для восстановления доступа сотрудникам, успешно прошедшим обучение. </a:t>
            </a:r>
          </a:p>
          <a:p>
            <a:pPr algn="l"/>
            <a:r>
              <a:rPr lang="ru-RU" sz="1200" spc="-5" dirty="0" smtClean="0">
                <a:effectLst/>
                <a:highlight>
                  <a:srgbClr val="FFFF00"/>
                </a:highlight>
                <a:latin typeface="Verdana" panose="020B0604030504040204" pitchFamily="34" charset="0"/>
                <a:ea typeface="Calibri" panose="020F0502020204030204" pitchFamily="34" charset="0"/>
                <a:cs typeface="Times New Roman" panose="02020603050405020304" pitchFamily="18" charset="0"/>
              </a:rPr>
              <a:t>При условии второго нарушения требований безопасности, повлекшего за собой запрет доступа на территорию компании, Компания вправе ограничить доступ сотруднику – нарушителю без права его восстановления.</a:t>
            </a:r>
            <a:endParaRPr lang="ru-RU" sz="1200" dirty="0" smtClean="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Номер слайда 3"/>
          <p:cNvSpPr>
            <a:spLocks noGrp="1"/>
          </p:cNvSpPr>
          <p:nvPr>
            <p:ph type="sldNum" sz="quarter" idx="10"/>
          </p:nvPr>
        </p:nvSpPr>
        <p:spPr/>
        <p:txBody>
          <a:bodyPr/>
          <a:lstStyle/>
          <a:p>
            <a:fld id="{C9094A29-9246-4C80-8546-76A93C5E306E}" type="slidenum">
              <a:rPr lang="ru-RU" smtClean="0"/>
              <a:t>32</a:t>
            </a:fld>
            <a:endParaRPr lang="ru-RU"/>
          </a:p>
        </p:txBody>
      </p:sp>
    </p:spTree>
    <p:extLst>
      <p:ext uri="{BB962C8B-B14F-4D97-AF65-F5344CB8AC3E}">
        <p14:creationId xmlns:p14="http://schemas.microsoft.com/office/powerpoint/2010/main" val="36631178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a:r>
              <a:rPr lang="ru-RU" sz="1200" b="0" i="0" u="none" strike="noStrike" baseline="0" dirty="0" smtClean="0">
                <a:latin typeface="ArialMT"/>
              </a:rPr>
              <a:t>В случае выявления нарушения требований «Кардинальных правил безопасного поведения», а также грубых нарушений требований безопасности, включая действия или бездействия подрядчика, которые могут привести к тяжким последствиям (авария, пожар, несчастный случай на производстве, нанесение существенного экологического ущерба, либо существенного ущерба имуществу предприятия) </a:t>
            </a:r>
            <a:r>
              <a:rPr kumimoji="0" lang="ru-RU" sz="1200" b="0" i="0" u="none" strike="noStrike" kern="1200" cap="none" spc="-5" normalizeH="0" baseline="0" noProof="0" dirty="0" smtClean="0">
                <a:ln>
                  <a:noFill/>
                </a:ln>
                <a:solidFill>
                  <a:prstClr val="black"/>
                </a:solidFill>
                <a:effectLst/>
                <a:uLnTx/>
                <a:uFillTx/>
                <a:latin typeface="Verdana" panose="020B0604030504040204" pitchFamily="34" charset="0"/>
                <a:ea typeface="Calibri" panose="020F0502020204030204" pitchFamily="34" charset="0"/>
                <a:cs typeface="Times New Roman" panose="02020603050405020304" pitchFamily="18" charset="0"/>
              </a:rPr>
              <a:t>представители компании вправе приостановить работы ПО. </a:t>
            </a:r>
            <a:r>
              <a:rPr lang="ru-RU" sz="1200" b="0" i="0" u="none" strike="noStrike" baseline="0" dirty="0" smtClean="0">
                <a:latin typeface="ArialMT"/>
              </a:rPr>
              <a:t>В случае принятия решения об ограничении доступа на территорию предприятия, информация направляется в дирекцию по экономической безопасности АО «ВМЗ» по средствам направления сообщения в системе АСУБ с ходатайством изъятия/ блокирования выданных пропусков у работников подрядной организации: самих нарушителей и их непосредственных руководителей в течении суток с момента регистрации аудита. Со дня блокировки доступа, при первичном нарушении, сотрудник подрядной организации направляется на обучение в Корпоративный университет «ОМК» на курс Работы повышенной опасности. Решение о деблокировании/возвращении пропусков может быть принято по итогам проведенного обучения и положительной оценки усвоения материала.</a:t>
            </a:r>
          </a:p>
          <a:p>
            <a:pPr algn="l"/>
            <a:r>
              <a:rPr lang="ru-RU" sz="1200" b="0" i="0" u="none" strike="noStrike" baseline="0" dirty="0" smtClean="0">
                <a:latin typeface="ArialMT"/>
              </a:rPr>
              <a:t>Ведомость с информацией об обученном персонале передается из Университета в ДЭБ для восстановления доступа сотрудникам, успешно прошедшим обучение. </a:t>
            </a:r>
          </a:p>
          <a:p>
            <a:pPr algn="l"/>
            <a:r>
              <a:rPr lang="ru-RU" sz="1200" spc="-5" dirty="0" smtClean="0">
                <a:effectLst/>
                <a:highlight>
                  <a:srgbClr val="FFFF00"/>
                </a:highlight>
                <a:latin typeface="Verdana" panose="020B0604030504040204" pitchFamily="34" charset="0"/>
                <a:ea typeface="Calibri" panose="020F0502020204030204" pitchFamily="34" charset="0"/>
                <a:cs typeface="Times New Roman" panose="02020603050405020304" pitchFamily="18" charset="0"/>
              </a:rPr>
              <a:t>При условии второго нарушения требований безопасности, повлекшего за собой запрет доступа на территорию компании, Компания вправе ограничить доступ сотруднику – нарушителю без права его восстановления.</a:t>
            </a:r>
            <a:endParaRPr lang="ru-RU" sz="1200" dirty="0" smtClean="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Номер слайда 3"/>
          <p:cNvSpPr>
            <a:spLocks noGrp="1"/>
          </p:cNvSpPr>
          <p:nvPr>
            <p:ph type="sldNum" sz="quarter" idx="10"/>
          </p:nvPr>
        </p:nvSpPr>
        <p:spPr/>
        <p:txBody>
          <a:bodyPr/>
          <a:lstStyle/>
          <a:p>
            <a:fld id="{C9094A29-9246-4C80-8546-76A93C5E306E}" type="slidenum">
              <a:rPr lang="ru-RU" smtClean="0"/>
              <a:t>33</a:t>
            </a:fld>
            <a:endParaRPr lang="ru-RU"/>
          </a:p>
        </p:txBody>
      </p:sp>
    </p:spTree>
    <p:extLst>
      <p:ext uri="{BB962C8B-B14F-4D97-AF65-F5344CB8AC3E}">
        <p14:creationId xmlns:p14="http://schemas.microsoft.com/office/powerpoint/2010/main" val="2958028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a:r>
              <a:rPr lang="ru-RU" sz="1200" b="0" i="0" u="none" strike="noStrike" baseline="0" dirty="0" smtClean="0">
                <a:latin typeface="ArialMT"/>
              </a:rPr>
              <a:t>В случае выявления нарушения требований «Кардинальных правил безопасного поведения», а также грубых нарушений требований безопасности, включая действия или бездействия подрядчика, которые могут привести к тяжким последствиям (авария, пожар, несчастный случай на производстве, нанесение существенного экологического ущерба, либо существенного ущерба имуществу предприятия) </a:t>
            </a:r>
            <a:r>
              <a:rPr kumimoji="0" lang="ru-RU" sz="1200" b="0" i="0" u="none" strike="noStrike" kern="1200" cap="none" spc="-5" normalizeH="0" baseline="0" noProof="0" dirty="0" smtClean="0">
                <a:ln>
                  <a:noFill/>
                </a:ln>
                <a:solidFill>
                  <a:prstClr val="black"/>
                </a:solidFill>
                <a:effectLst/>
                <a:uLnTx/>
                <a:uFillTx/>
                <a:latin typeface="Verdana" panose="020B0604030504040204" pitchFamily="34" charset="0"/>
                <a:ea typeface="Calibri" panose="020F0502020204030204" pitchFamily="34" charset="0"/>
                <a:cs typeface="Times New Roman" panose="02020603050405020304" pitchFamily="18" charset="0"/>
              </a:rPr>
              <a:t>представители компании вправе приостановить работы ПО. </a:t>
            </a:r>
            <a:r>
              <a:rPr lang="ru-RU" sz="1200" b="0" i="0" u="none" strike="noStrike" baseline="0" dirty="0" smtClean="0">
                <a:latin typeface="ArialMT"/>
              </a:rPr>
              <a:t>В случае принятия решения об ограничении доступа на территорию предприятия, информация направляется в дирекцию по экономической безопасности АО «ВМЗ» по средствам направления сообщения в системе АСУБ с ходатайством изъятия/ блокирования выданных пропусков у работников подрядной организации: самих нарушителей и их непосредственных руководителей в течении суток с момента регистрации аудита. Со дня блокировки доступа, при первичном нарушении, сотрудник подрядной организации направляется на обучение в Корпоративный университет «ОМК» на курс Работы повышенной опасности. Решение о деблокировании/возвращении пропусков может быть принято по итогам проведенного обучения и положительной оценки усвоения материала.</a:t>
            </a:r>
          </a:p>
          <a:p>
            <a:pPr algn="l"/>
            <a:r>
              <a:rPr lang="ru-RU" sz="1200" b="0" i="0" u="none" strike="noStrike" baseline="0" dirty="0" smtClean="0">
                <a:latin typeface="ArialMT"/>
              </a:rPr>
              <a:t>Ведомость с информацией об обученном персонале передается из Университета в ДЭБ для восстановления доступа сотрудникам, успешно прошедшим обучение. </a:t>
            </a:r>
          </a:p>
          <a:p>
            <a:pPr algn="l"/>
            <a:r>
              <a:rPr lang="ru-RU" sz="1200" spc="-5" dirty="0" smtClean="0">
                <a:effectLst/>
                <a:highlight>
                  <a:srgbClr val="FFFF00"/>
                </a:highlight>
                <a:latin typeface="Verdana" panose="020B0604030504040204" pitchFamily="34" charset="0"/>
                <a:ea typeface="Calibri" panose="020F0502020204030204" pitchFamily="34" charset="0"/>
                <a:cs typeface="Times New Roman" panose="02020603050405020304" pitchFamily="18" charset="0"/>
              </a:rPr>
              <a:t>При условии второго нарушения требований безопасности, повлекшего за собой запрет доступа на территорию компании, Компания вправе ограничить доступ сотруднику – нарушителю без права его восстановления.</a:t>
            </a:r>
            <a:endParaRPr lang="ru-RU" sz="1200" dirty="0" smtClean="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Номер слайда 3"/>
          <p:cNvSpPr>
            <a:spLocks noGrp="1"/>
          </p:cNvSpPr>
          <p:nvPr>
            <p:ph type="sldNum" sz="quarter" idx="10"/>
          </p:nvPr>
        </p:nvSpPr>
        <p:spPr/>
        <p:txBody>
          <a:bodyPr/>
          <a:lstStyle/>
          <a:p>
            <a:fld id="{C9094A29-9246-4C80-8546-76A93C5E306E}" type="slidenum">
              <a:rPr lang="ru-RU" smtClean="0"/>
              <a:t>34</a:t>
            </a:fld>
            <a:endParaRPr lang="ru-RU"/>
          </a:p>
        </p:txBody>
      </p:sp>
    </p:spTree>
    <p:extLst>
      <p:ext uri="{BB962C8B-B14F-4D97-AF65-F5344CB8AC3E}">
        <p14:creationId xmlns:p14="http://schemas.microsoft.com/office/powerpoint/2010/main" val="40893962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a:r>
              <a:rPr lang="ru-RU" sz="1200" b="0" i="0" u="none" strike="noStrike" baseline="0" dirty="0" smtClean="0">
                <a:latin typeface="ArialMT"/>
              </a:rPr>
              <a:t>В случае выявления нарушения требований «Кардинальных правил безопасного поведения», а также грубых нарушений требований безопасности, включая действия или бездействия подрядчика, которые могут привести к тяжким последствиям (авария, пожар, несчастный случай на производстве, нанесение существенного экологического ущерба, либо существенного ущерба имуществу предприятия) </a:t>
            </a:r>
            <a:r>
              <a:rPr kumimoji="0" lang="ru-RU" sz="1200" b="0" i="0" u="none" strike="noStrike" kern="1200" cap="none" spc="-5" normalizeH="0" baseline="0" noProof="0" dirty="0" smtClean="0">
                <a:ln>
                  <a:noFill/>
                </a:ln>
                <a:solidFill>
                  <a:prstClr val="black"/>
                </a:solidFill>
                <a:effectLst/>
                <a:uLnTx/>
                <a:uFillTx/>
                <a:latin typeface="Verdana" panose="020B0604030504040204" pitchFamily="34" charset="0"/>
                <a:ea typeface="Calibri" panose="020F0502020204030204" pitchFamily="34" charset="0"/>
                <a:cs typeface="Times New Roman" panose="02020603050405020304" pitchFamily="18" charset="0"/>
              </a:rPr>
              <a:t>представители компании вправе приостановить работы ПО. </a:t>
            </a:r>
            <a:r>
              <a:rPr lang="ru-RU" sz="1200" b="0" i="0" u="none" strike="noStrike" baseline="0" dirty="0" smtClean="0">
                <a:latin typeface="ArialMT"/>
              </a:rPr>
              <a:t>В случае принятия решения об ограничении доступа на территорию предприятия, информация направляется в дирекцию по экономической безопасности АО «ВМЗ» по средствам направления сообщения в системе АСУБ с ходатайством изъятия/ блокирования выданных пропусков у работников подрядной организации: самих нарушителей и их непосредственных руководителей в течении суток с момента регистрации аудита. Со дня блокировки доступа, при первичном нарушении, сотрудник подрядной организации направляется на обучение в Корпоративный университет «ОМК» на курс Работы повышенной опасности. Решение о деблокировании/возвращении пропусков может быть принято по итогам проведенного обучения и положительной оценки усвоения материала.</a:t>
            </a:r>
          </a:p>
          <a:p>
            <a:pPr algn="l"/>
            <a:r>
              <a:rPr lang="ru-RU" sz="1200" b="0" i="0" u="none" strike="noStrike" baseline="0" dirty="0" smtClean="0">
                <a:latin typeface="ArialMT"/>
              </a:rPr>
              <a:t>Ведомость с информацией об обученном персонале передается из Университета в ДЭБ для восстановления доступа сотрудникам, успешно прошедшим обучение. </a:t>
            </a:r>
          </a:p>
          <a:p>
            <a:pPr algn="l"/>
            <a:r>
              <a:rPr lang="ru-RU" sz="1200" spc="-5" dirty="0" smtClean="0">
                <a:effectLst/>
                <a:highlight>
                  <a:srgbClr val="FFFF00"/>
                </a:highlight>
                <a:latin typeface="Verdana" panose="020B0604030504040204" pitchFamily="34" charset="0"/>
                <a:ea typeface="Calibri" panose="020F0502020204030204" pitchFamily="34" charset="0"/>
                <a:cs typeface="Times New Roman" panose="02020603050405020304" pitchFamily="18" charset="0"/>
              </a:rPr>
              <a:t>При условии второго нарушения требований безопасности, повлекшего за собой запрет доступа на территорию компании, Компания вправе ограничить доступ сотруднику – нарушителю без права его восстановления.</a:t>
            </a:r>
            <a:endParaRPr lang="ru-RU" sz="1200" dirty="0" smtClean="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Номер слайда 3"/>
          <p:cNvSpPr>
            <a:spLocks noGrp="1"/>
          </p:cNvSpPr>
          <p:nvPr>
            <p:ph type="sldNum" sz="quarter" idx="10"/>
          </p:nvPr>
        </p:nvSpPr>
        <p:spPr/>
        <p:txBody>
          <a:bodyPr/>
          <a:lstStyle/>
          <a:p>
            <a:fld id="{C9094A29-9246-4C80-8546-76A93C5E306E}" type="slidenum">
              <a:rPr lang="ru-RU" smtClean="0"/>
              <a:t>35</a:t>
            </a:fld>
            <a:endParaRPr lang="ru-RU"/>
          </a:p>
        </p:txBody>
      </p:sp>
    </p:spTree>
    <p:extLst>
      <p:ext uri="{BB962C8B-B14F-4D97-AF65-F5344CB8AC3E}">
        <p14:creationId xmlns:p14="http://schemas.microsoft.com/office/powerpoint/2010/main" val="381473504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a:r>
              <a:rPr lang="ru-RU" sz="1200" b="0" i="0" u="none" strike="noStrike" baseline="0" dirty="0" smtClean="0">
                <a:latin typeface="ArialMT"/>
              </a:rPr>
              <a:t>В случае выявления нарушения требований «Кардинальных правил безопасного поведения», а также грубых нарушений требований безопасности, включая действия или бездействия подрядчика, которые могут привести к тяжким последствиям (авария, пожар, несчастный случай на производстве, нанесение существенного экологического ущерба, либо существенного ущерба имуществу предприятия) </a:t>
            </a:r>
            <a:r>
              <a:rPr kumimoji="0" lang="ru-RU" sz="1200" b="0" i="0" u="none" strike="noStrike" kern="1200" cap="none" spc="-5" normalizeH="0" baseline="0" noProof="0" dirty="0" smtClean="0">
                <a:ln>
                  <a:noFill/>
                </a:ln>
                <a:solidFill>
                  <a:prstClr val="black"/>
                </a:solidFill>
                <a:effectLst/>
                <a:uLnTx/>
                <a:uFillTx/>
                <a:latin typeface="Verdana" panose="020B0604030504040204" pitchFamily="34" charset="0"/>
                <a:ea typeface="Calibri" panose="020F0502020204030204" pitchFamily="34" charset="0"/>
                <a:cs typeface="Times New Roman" panose="02020603050405020304" pitchFamily="18" charset="0"/>
              </a:rPr>
              <a:t>представители компании вправе приостановить работы ПО. </a:t>
            </a:r>
            <a:r>
              <a:rPr lang="ru-RU" sz="1200" b="0" i="0" u="none" strike="noStrike" baseline="0" dirty="0" smtClean="0">
                <a:latin typeface="ArialMT"/>
              </a:rPr>
              <a:t>В случае принятия решения об ограничении доступа на территорию предприятия, информация направляется в дирекцию по экономической безопасности АО «ВМЗ» по средствам направления сообщения в системе АСУБ с ходатайством изъятия/ блокирования выданных пропусков у работников подрядной организации: самих нарушителей и их непосредственных руководителей в течении суток с момента регистрации аудита. Со дня блокировки доступа, при первичном нарушении, сотрудник подрядной организации направляется на обучение в Корпоративный университет «ОМК» на курс Работы повышенной опасности. Решение о деблокировании/возвращении пропусков может быть принято по итогам проведенного обучения и положительной оценки усвоения материала.</a:t>
            </a:r>
          </a:p>
          <a:p>
            <a:pPr algn="l"/>
            <a:r>
              <a:rPr lang="ru-RU" sz="1200" b="0" i="0" u="none" strike="noStrike" baseline="0" dirty="0" smtClean="0">
                <a:latin typeface="ArialMT"/>
              </a:rPr>
              <a:t>Ведомость с информацией об обученном персонале передается из Университета в ДЭБ для восстановления доступа сотрудникам, успешно прошедшим обучение. </a:t>
            </a:r>
          </a:p>
          <a:p>
            <a:pPr algn="l"/>
            <a:r>
              <a:rPr lang="ru-RU" sz="1200" spc="-5" dirty="0" smtClean="0">
                <a:effectLst/>
                <a:highlight>
                  <a:srgbClr val="FFFF00"/>
                </a:highlight>
                <a:latin typeface="Verdana" panose="020B0604030504040204" pitchFamily="34" charset="0"/>
                <a:ea typeface="Calibri" panose="020F0502020204030204" pitchFamily="34" charset="0"/>
                <a:cs typeface="Times New Roman" panose="02020603050405020304" pitchFamily="18" charset="0"/>
              </a:rPr>
              <a:t>При условии второго нарушения требований безопасности, повлекшего за собой запрет доступа на территорию компании, Компания вправе ограничить доступ сотруднику – нарушителю без права его восстановления.</a:t>
            </a:r>
            <a:endParaRPr lang="ru-RU" sz="1200" dirty="0" smtClean="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Номер слайда 3"/>
          <p:cNvSpPr>
            <a:spLocks noGrp="1"/>
          </p:cNvSpPr>
          <p:nvPr>
            <p:ph type="sldNum" sz="quarter" idx="10"/>
          </p:nvPr>
        </p:nvSpPr>
        <p:spPr/>
        <p:txBody>
          <a:bodyPr/>
          <a:lstStyle/>
          <a:p>
            <a:fld id="{C9094A29-9246-4C80-8546-76A93C5E306E}" type="slidenum">
              <a:rPr lang="ru-RU" smtClean="0"/>
              <a:t>36</a:t>
            </a:fld>
            <a:endParaRPr lang="ru-RU"/>
          </a:p>
        </p:txBody>
      </p:sp>
    </p:spTree>
    <p:extLst>
      <p:ext uri="{BB962C8B-B14F-4D97-AF65-F5344CB8AC3E}">
        <p14:creationId xmlns:p14="http://schemas.microsoft.com/office/powerpoint/2010/main" val="303753866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a:r>
              <a:rPr lang="ru-RU" sz="1200" b="0" i="0" u="none" strike="noStrike" baseline="0" dirty="0" smtClean="0">
                <a:latin typeface="ArialMT"/>
              </a:rPr>
              <a:t>В случае выявления нарушения требований «Кардинальных правил безопасного поведения», а также грубых нарушений требований безопасности, включая действия или бездействия подрядчика, которые могут привести к тяжким последствиям (авария, пожар, несчастный случай на производстве, нанесение существенного экологического ущерба, либо существенного ущерба имуществу предприятия) </a:t>
            </a:r>
            <a:r>
              <a:rPr kumimoji="0" lang="ru-RU" sz="1200" b="0" i="0" u="none" strike="noStrike" kern="1200" cap="none" spc="-5" normalizeH="0" baseline="0" noProof="0" dirty="0" smtClean="0">
                <a:ln>
                  <a:noFill/>
                </a:ln>
                <a:solidFill>
                  <a:prstClr val="black"/>
                </a:solidFill>
                <a:effectLst/>
                <a:uLnTx/>
                <a:uFillTx/>
                <a:latin typeface="Verdana" panose="020B0604030504040204" pitchFamily="34" charset="0"/>
                <a:ea typeface="Calibri" panose="020F0502020204030204" pitchFamily="34" charset="0"/>
                <a:cs typeface="Times New Roman" panose="02020603050405020304" pitchFamily="18" charset="0"/>
              </a:rPr>
              <a:t>представители компании вправе приостановить работы ПО. </a:t>
            </a:r>
            <a:r>
              <a:rPr lang="ru-RU" sz="1200" b="0" i="0" u="none" strike="noStrike" baseline="0" dirty="0" smtClean="0">
                <a:latin typeface="ArialMT"/>
              </a:rPr>
              <a:t>В случае принятия решения об ограничении доступа на территорию предприятия, информация направляется в дирекцию по экономической безопасности АО «ВМЗ» по средствам направления сообщения в системе АСУБ с ходатайством изъятия/ блокирования выданных пропусков у работников подрядной организации: самих нарушителей и их непосредственных руководителей в течении суток с момента регистрации аудита. Со дня блокировки доступа, при первичном нарушении, сотрудник подрядной организации направляется на обучение в Корпоративный университет «ОМК» на курс Работы повышенной опасности. Решение о деблокировании/возвращении пропусков может быть принято по итогам проведенного обучения и положительной оценки усвоения материала.</a:t>
            </a:r>
          </a:p>
          <a:p>
            <a:pPr algn="l"/>
            <a:r>
              <a:rPr lang="ru-RU" sz="1200" b="0" i="0" u="none" strike="noStrike" baseline="0" dirty="0" smtClean="0">
                <a:latin typeface="ArialMT"/>
              </a:rPr>
              <a:t>Ведомость с информацией об обученном персонале передается из Университета в ДЭБ для восстановления доступа сотрудникам, успешно прошедшим обучение. </a:t>
            </a:r>
          </a:p>
          <a:p>
            <a:pPr algn="l"/>
            <a:r>
              <a:rPr lang="ru-RU" sz="1200" spc="-5" dirty="0" smtClean="0">
                <a:effectLst/>
                <a:highlight>
                  <a:srgbClr val="FFFF00"/>
                </a:highlight>
                <a:latin typeface="Verdana" panose="020B0604030504040204" pitchFamily="34" charset="0"/>
                <a:ea typeface="Calibri" panose="020F0502020204030204" pitchFamily="34" charset="0"/>
                <a:cs typeface="Times New Roman" panose="02020603050405020304" pitchFamily="18" charset="0"/>
              </a:rPr>
              <a:t>При условии второго нарушения требований безопасности, повлекшего за собой запрет доступа на территорию компании, Компания вправе ограничить доступ сотруднику – нарушителю без права его восстановления.</a:t>
            </a:r>
            <a:endParaRPr lang="ru-RU" sz="1200" dirty="0" smtClean="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Номер слайда 3"/>
          <p:cNvSpPr>
            <a:spLocks noGrp="1"/>
          </p:cNvSpPr>
          <p:nvPr>
            <p:ph type="sldNum" sz="quarter" idx="10"/>
          </p:nvPr>
        </p:nvSpPr>
        <p:spPr/>
        <p:txBody>
          <a:bodyPr/>
          <a:lstStyle/>
          <a:p>
            <a:fld id="{C9094A29-9246-4C80-8546-76A93C5E306E}" type="slidenum">
              <a:rPr lang="ru-RU" smtClean="0"/>
              <a:t>37</a:t>
            </a:fld>
            <a:endParaRPr lang="ru-RU"/>
          </a:p>
        </p:txBody>
      </p:sp>
    </p:spTree>
    <p:extLst>
      <p:ext uri="{BB962C8B-B14F-4D97-AF65-F5344CB8AC3E}">
        <p14:creationId xmlns:p14="http://schemas.microsoft.com/office/powerpoint/2010/main" val="135505113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pPr marL="0" marR="0" lvl="0" indent="0" algn="r" defTabSz="1152144" rtl="0" eaLnBrk="1" fontAlgn="auto" latinLnBrk="0" hangingPunct="1">
              <a:lnSpc>
                <a:spcPct val="100000"/>
              </a:lnSpc>
              <a:spcBef>
                <a:spcPts val="0"/>
              </a:spcBef>
              <a:spcAft>
                <a:spcPts val="0"/>
              </a:spcAft>
              <a:buClrTx/>
              <a:buSzTx/>
              <a:buFontTx/>
              <a:buNone/>
              <a:tabLst/>
              <a:defRPr/>
            </a:pPr>
            <a:fld id="{F6AD7469-598B-4074-9061-13BEE3927704}"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52144" rtl="0" eaLnBrk="1" fontAlgn="auto" latinLnBrk="0" hangingPunct="1">
                <a:lnSpc>
                  <a:spcPct val="100000"/>
                </a:lnSpc>
                <a:spcBef>
                  <a:spcPts val="0"/>
                </a:spcBef>
                <a:spcAft>
                  <a:spcPts val="0"/>
                </a:spcAft>
                <a:buClrTx/>
                <a:buSzTx/>
                <a:buFontTx/>
                <a:buNone/>
                <a:tabLst/>
                <a:defRPr/>
              </a:pPr>
              <a:t>38</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5880986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a:r>
              <a:rPr lang="ru-RU" sz="1200" b="0" i="0" u="none" strike="noStrike" baseline="0" dirty="0" smtClean="0">
                <a:latin typeface="ArialMT"/>
              </a:rPr>
              <a:t>В случае выявления нарушения требований «Кардинальных правил безопасного поведения», а также грубых нарушений требований безопасности, включая действия или бездействия подрядчика, которые могут привести к тяжким последствиям (авария, пожар, несчастный случай на производстве, нанесение существенного экологического ущерба, либо существенного ущерба имуществу предприятия) </a:t>
            </a:r>
            <a:r>
              <a:rPr kumimoji="0" lang="ru-RU" sz="1200" b="0" i="0" u="none" strike="noStrike" kern="1200" cap="none" spc="-5" normalizeH="0" baseline="0" noProof="0" dirty="0" smtClean="0">
                <a:ln>
                  <a:noFill/>
                </a:ln>
                <a:solidFill>
                  <a:prstClr val="black"/>
                </a:solidFill>
                <a:effectLst/>
                <a:uLnTx/>
                <a:uFillTx/>
                <a:latin typeface="Verdana" panose="020B0604030504040204" pitchFamily="34" charset="0"/>
                <a:ea typeface="Calibri" panose="020F0502020204030204" pitchFamily="34" charset="0"/>
                <a:cs typeface="Times New Roman" panose="02020603050405020304" pitchFamily="18" charset="0"/>
              </a:rPr>
              <a:t>представители компании вправе приостановить работы ПО. </a:t>
            </a:r>
            <a:r>
              <a:rPr lang="ru-RU" sz="1200" b="0" i="0" u="none" strike="noStrike" baseline="0" dirty="0" smtClean="0">
                <a:latin typeface="ArialMT"/>
              </a:rPr>
              <a:t>В случае принятия решения об ограничении доступа на территорию предприятия, информация направляется в дирекцию по экономической безопасности АО «ВМЗ» по средствам направления сообщения в системе АСУБ с ходатайством изъятия/ блокирования выданных пропусков у работников подрядной организации: самих нарушителей и их непосредственных руководителей в течении суток с момента регистрации аудита. Со дня блокировки доступа, при первичном нарушении, сотрудник подрядной организации направляется на обучение в Корпоративный университет «ОМК» на курс Работы повышенной опасности. Решение о деблокировании/возвращении пропусков может быть принято по итогам проведенного обучения и положительной оценки усвоения материала.</a:t>
            </a:r>
          </a:p>
          <a:p>
            <a:pPr algn="l"/>
            <a:r>
              <a:rPr lang="ru-RU" sz="1200" b="0" i="0" u="none" strike="noStrike" baseline="0" dirty="0" smtClean="0">
                <a:latin typeface="ArialMT"/>
              </a:rPr>
              <a:t>Ведомость с информацией об обученном персонале передается из Университета в ДЭБ для восстановления доступа сотрудникам, успешно прошедшим обучение. </a:t>
            </a:r>
          </a:p>
          <a:p>
            <a:pPr algn="l"/>
            <a:r>
              <a:rPr lang="ru-RU" sz="1200" spc="-5" dirty="0" smtClean="0">
                <a:effectLst/>
                <a:highlight>
                  <a:srgbClr val="FFFF00"/>
                </a:highlight>
                <a:latin typeface="Verdana" panose="020B0604030504040204" pitchFamily="34" charset="0"/>
                <a:ea typeface="Calibri" panose="020F0502020204030204" pitchFamily="34" charset="0"/>
                <a:cs typeface="Times New Roman" panose="02020603050405020304" pitchFamily="18" charset="0"/>
              </a:rPr>
              <a:t>При условии второго нарушения требований безопасности, повлекшего за собой запрет доступа на территорию компании, Компания вправе ограничить доступ сотруднику – нарушителю без права его восстановления.</a:t>
            </a:r>
            <a:endParaRPr lang="ru-RU" sz="1200" dirty="0" smtClean="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4A29-9246-4C80-8546-76A93C5E306E}"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73576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smtClean="0"/>
          </a:p>
        </p:txBody>
      </p:sp>
      <p:sp>
        <p:nvSpPr>
          <p:cNvPr id="4" name="Номер слайда 3"/>
          <p:cNvSpPr>
            <a:spLocks noGrp="1"/>
          </p:cNvSpPr>
          <p:nvPr>
            <p:ph type="sldNum" sz="quarter" idx="10"/>
          </p:nvPr>
        </p:nvSpPr>
        <p:spPr/>
        <p:txBody>
          <a:bodyPr/>
          <a:lstStyle/>
          <a:p>
            <a:pPr marL="0" marR="0" lvl="0" indent="0" algn="r" defTabSz="1152144" rtl="0" eaLnBrk="1" fontAlgn="auto" latinLnBrk="0" hangingPunct="1">
              <a:lnSpc>
                <a:spcPct val="100000"/>
              </a:lnSpc>
              <a:spcBef>
                <a:spcPts val="0"/>
              </a:spcBef>
              <a:spcAft>
                <a:spcPts val="0"/>
              </a:spcAft>
              <a:buClrTx/>
              <a:buSzTx/>
              <a:buFontTx/>
              <a:buNone/>
              <a:tabLst/>
              <a:defRPr/>
            </a:pPr>
            <a:fld id="{F6AD7469-598B-4074-9061-13BEE3927704}"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52144" rtl="0" eaLnBrk="1" fontAlgn="auto" latinLnBrk="0" hangingPunct="1">
                <a:lnSpc>
                  <a:spcPct val="100000"/>
                </a:lnSpc>
                <a:spcBef>
                  <a:spcPts val="0"/>
                </a:spcBef>
                <a:spcAft>
                  <a:spcPts val="0"/>
                </a:spcAft>
                <a:buClrTx/>
                <a:buSzTx/>
                <a:buFontTx/>
                <a:buNone/>
                <a:tabLst/>
                <a:defRPr/>
              </a:pPr>
              <a:t>4</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8461018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smtClean="0"/>
          </a:p>
          <a:p>
            <a:r>
              <a:rPr lang="ru-RU" dirty="0" smtClean="0"/>
              <a:t>На базе Корпоративного университета организованы тренинги в которых могут принять участие руководители и специалисты подрядных организаций. </a:t>
            </a:r>
          </a:p>
          <a:p>
            <a:r>
              <a:rPr lang="ru-RU" dirty="0" smtClean="0"/>
              <a:t>Проводятся тренинги по следующим направлениям:</a:t>
            </a:r>
          </a:p>
          <a:p>
            <a:r>
              <a:rPr lang="ru-RU" dirty="0" smtClean="0"/>
              <a:t>1.Проведение поведенческих аудитов и работа в системе АСУБ.</a:t>
            </a:r>
          </a:p>
          <a:p>
            <a:r>
              <a:rPr lang="ru-RU" dirty="0" smtClean="0"/>
              <a:t>2.Организация работ повышенной опасности</a:t>
            </a:r>
          </a:p>
          <a:p>
            <a:r>
              <a:rPr lang="ru-RU" dirty="0" smtClean="0"/>
              <a:t>3. Расследование происшествий</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ru-RU" sz="1000" b="0" i="0" u="none" strike="noStrike" kern="1200" cap="none" spc="0" normalizeH="0" baseline="0" noProof="0" dirty="0" smtClean="0">
                <a:ln>
                  <a:noFill/>
                </a:ln>
                <a:solidFill>
                  <a:srgbClr val="424242"/>
                </a:solidFill>
                <a:effectLst/>
                <a:uLnTx/>
                <a:uFillTx/>
                <a:latin typeface="Verdana" panose="020B0604030504040204"/>
                <a:ea typeface="+mn-ea"/>
                <a:cs typeface="+mn-cs"/>
              </a:rPr>
              <a:t>4.Эффективные инструменты управления безопасностью производства</a:t>
            </a:r>
            <a:endParaRPr lang="ru-RU" dirty="0" smtClean="0"/>
          </a:p>
          <a:p>
            <a:r>
              <a:rPr lang="ru-RU" dirty="0" smtClean="0"/>
              <a:t>5. Осознанное отношение к безопасности</a:t>
            </a:r>
          </a:p>
          <a:p>
            <a:r>
              <a:rPr lang="ru-RU" dirty="0" smtClean="0"/>
              <a:t>Данные тренинги нацелены на:</a:t>
            </a:r>
          </a:p>
          <a:p>
            <a:r>
              <a:rPr lang="ru-RU" dirty="0" smtClean="0"/>
              <a:t>- Вовлечение руководителей и специалистов подрядных организаций в самостоятельное проведение аудитов с отражением результатов в системе АСУБ</a:t>
            </a:r>
          </a:p>
          <a:p>
            <a:r>
              <a:rPr lang="ru-RU" dirty="0" smtClean="0"/>
              <a:t>- Улучшение процесса коммуникации между заказчиком и подрядчиком по вопросам безопасности </a:t>
            </a:r>
          </a:p>
          <a:p>
            <a:r>
              <a:rPr lang="ru-RU" dirty="0" smtClean="0"/>
              <a:t>- Исключение фактов сокрытия происшествий</a:t>
            </a:r>
          </a:p>
          <a:p>
            <a:pPr marL="171450" indent="-171450">
              <a:buFontTx/>
              <a:buChar char="-"/>
            </a:pPr>
            <a:r>
              <a:rPr lang="ru-RU" dirty="0" smtClean="0"/>
              <a:t>Выработку единого подхода к порядку и организации проведения расследования, оповещения, информирования и учета происшествий</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ru-RU" sz="1000" b="0" i="0" u="none" strike="noStrike" kern="1200" cap="none" spc="0" normalizeH="0" baseline="0" noProof="0" dirty="0" smtClean="0">
                <a:ln>
                  <a:noFill/>
                </a:ln>
                <a:solidFill>
                  <a:srgbClr val="424242"/>
                </a:solidFill>
                <a:effectLst/>
                <a:uLnTx/>
                <a:uFillTx/>
                <a:latin typeface="Verdana" panose="020B0604030504040204"/>
                <a:ea typeface="+mn-ea"/>
                <a:cs typeface="+mn-cs"/>
              </a:rPr>
              <a:t>-   Показать инструменты управления безопасностью и эффективность их применения</a:t>
            </a:r>
            <a:endParaRPr lang="ru-RU" dirty="0" smtClean="0"/>
          </a:p>
          <a:p>
            <a:r>
              <a:rPr lang="ru-RU" dirty="0" smtClean="0"/>
              <a:t>- Формирование осознанного отношения к безопасности у руководителей организаций.</a:t>
            </a:r>
          </a:p>
          <a:p>
            <a:r>
              <a:rPr lang="ru-RU" dirty="0" smtClean="0"/>
              <a:t>Главный показатель безопасности в организации – приверженность первого лица!</a:t>
            </a:r>
          </a:p>
          <a:p>
            <a:r>
              <a:rPr lang="ru-RU" dirty="0" smtClean="0"/>
              <a:t>Для того, чтобы иметь возможность принять участие в тренинге необходимо:</a:t>
            </a:r>
          </a:p>
          <a:p>
            <a:r>
              <a:rPr lang="ru-RU" dirty="0" smtClean="0"/>
              <a:t>1.Изъявить желание поучаствовать в тренинге – подать заявку на участие </a:t>
            </a:r>
          </a:p>
          <a:p>
            <a:r>
              <a:rPr lang="ru-RU" dirty="0" smtClean="0"/>
              <a:t>2.Согласовать дату и время тренинга</a:t>
            </a:r>
          </a:p>
          <a:p>
            <a:endParaRPr lang="ru-RU" dirty="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4A29-9246-4C80-8546-76A93C5E306E}"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3575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smtClean="0"/>
          </a:p>
          <a:p>
            <a:r>
              <a:rPr lang="ru-RU" dirty="0" smtClean="0"/>
              <a:t>На базе Корпоративного университета организованы тренинги в которых могут принять участие руководители и специалисты подрядных организаций. </a:t>
            </a:r>
          </a:p>
          <a:p>
            <a:r>
              <a:rPr lang="ru-RU" dirty="0" smtClean="0"/>
              <a:t>Проводятся тренинги по следующим направлениям:</a:t>
            </a:r>
          </a:p>
          <a:p>
            <a:r>
              <a:rPr lang="ru-RU" dirty="0" smtClean="0"/>
              <a:t>1.Проведение поведенческих аудитов и работа в системе АСУБ.</a:t>
            </a:r>
          </a:p>
          <a:p>
            <a:r>
              <a:rPr lang="ru-RU" dirty="0" smtClean="0"/>
              <a:t>2.Организация работ повышенной опасности</a:t>
            </a:r>
          </a:p>
          <a:p>
            <a:r>
              <a:rPr lang="ru-RU" dirty="0" smtClean="0"/>
              <a:t>3. Расследование происшествий</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ru-RU" sz="1000" b="0" i="0" u="none" strike="noStrike" kern="1200" cap="none" spc="0" normalizeH="0" baseline="0" noProof="0" dirty="0" smtClean="0">
                <a:ln>
                  <a:noFill/>
                </a:ln>
                <a:solidFill>
                  <a:srgbClr val="424242"/>
                </a:solidFill>
                <a:effectLst/>
                <a:uLnTx/>
                <a:uFillTx/>
                <a:latin typeface="Verdana" panose="020B0604030504040204"/>
                <a:ea typeface="+mn-ea"/>
                <a:cs typeface="+mn-cs"/>
              </a:rPr>
              <a:t>4.Эффективные инструменты управления безопасностью производства</a:t>
            </a:r>
            <a:endParaRPr lang="ru-RU" dirty="0" smtClean="0"/>
          </a:p>
          <a:p>
            <a:r>
              <a:rPr lang="ru-RU" dirty="0" smtClean="0"/>
              <a:t>5. Осознанное отношение к безопасности</a:t>
            </a:r>
          </a:p>
          <a:p>
            <a:r>
              <a:rPr lang="ru-RU" dirty="0" smtClean="0"/>
              <a:t>Данные тренинги нацелены на:</a:t>
            </a:r>
          </a:p>
          <a:p>
            <a:r>
              <a:rPr lang="ru-RU" dirty="0" smtClean="0"/>
              <a:t>- Вовлечение руководителей и специалистов подрядных организаций в самостоятельное проведение аудитов с отражением результатов в системе АСУБ</a:t>
            </a:r>
          </a:p>
          <a:p>
            <a:r>
              <a:rPr lang="ru-RU" dirty="0" smtClean="0"/>
              <a:t>- Улучшение процесса коммуникации между заказчиком и подрядчиком по вопросам безопасности </a:t>
            </a:r>
          </a:p>
          <a:p>
            <a:r>
              <a:rPr lang="ru-RU" dirty="0" smtClean="0"/>
              <a:t>- Исключение фактов сокрытия происшествий</a:t>
            </a:r>
          </a:p>
          <a:p>
            <a:pPr marL="171450" indent="-171450">
              <a:buFontTx/>
              <a:buChar char="-"/>
            </a:pPr>
            <a:r>
              <a:rPr lang="ru-RU" dirty="0" smtClean="0"/>
              <a:t>Выработку единого подхода к порядку и организации проведения расследования, оповещения, информирования и учета происшествий</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ru-RU" sz="1000" b="0" i="0" u="none" strike="noStrike" kern="1200" cap="none" spc="0" normalizeH="0" baseline="0" noProof="0" dirty="0" smtClean="0">
                <a:ln>
                  <a:noFill/>
                </a:ln>
                <a:solidFill>
                  <a:srgbClr val="424242"/>
                </a:solidFill>
                <a:effectLst/>
                <a:uLnTx/>
                <a:uFillTx/>
                <a:latin typeface="Verdana" panose="020B0604030504040204"/>
                <a:ea typeface="+mn-ea"/>
                <a:cs typeface="+mn-cs"/>
              </a:rPr>
              <a:t>-   Показать инструменты управления безопасностью и эффективность их применения</a:t>
            </a:r>
            <a:endParaRPr lang="ru-RU" dirty="0" smtClean="0"/>
          </a:p>
          <a:p>
            <a:r>
              <a:rPr lang="ru-RU" dirty="0" smtClean="0"/>
              <a:t>- Формирование осознанного отношения к безопасности у руководителей организаций.</a:t>
            </a:r>
          </a:p>
          <a:p>
            <a:r>
              <a:rPr lang="ru-RU" dirty="0" smtClean="0"/>
              <a:t>Главный показатель безопасности в организации – приверженность первого лица!</a:t>
            </a:r>
          </a:p>
          <a:p>
            <a:r>
              <a:rPr lang="ru-RU" dirty="0" smtClean="0"/>
              <a:t>Для того, чтобы иметь возможность принять участие в тренинге необходимо:</a:t>
            </a:r>
          </a:p>
          <a:p>
            <a:r>
              <a:rPr lang="ru-RU" dirty="0" smtClean="0"/>
              <a:t>1.Изъявить желание поучаствовать в тренинге – подать заявку на участие </a:t>
            </a:r>
          </a:p>
          <a:p>
            <a:r>
              <a:rPr lang="ru-RU" dirty="0" smtClean="0"/>
              <a:t>2.Согласовать дату и время тренинга</a:t>
            </a:r>
          </a:p>
          <a:p>
            <a:endParaRPr lang="ru-RU" dirty="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4A29-9246-4C80-8546-76A93C5E306E}"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11258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b="1" dirty="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36FB40-2C3B-4CFE-BD0E-2C40B865F8A1}"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47962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Давайте ознакомимся со </a:t>
            </a:r>
            <a:r>
              <a:rPr lang="ru-RU" dirty="0" smtClean="0"/>
              <a:t>статистикой происшествий по Подрядным Организациям </a:t>
            </a:r>
            <a:r>
              <a:rPr lang="ru-RU" dirty="0"/>
              <a:t>за период </a:t>
            </a:r>
            <a:r>
              <a:rPr lang="ru-RU" dirty="0" smtClean="0"/>
              <a:t>первых</a:t>
            </a:r>
            <a:r>
              <a:rPr lang="ru-RU" baseline="0" dirty="0" smtClean="0"/>
              <a:t> трёх</a:t>
            </a:r>
            <a:r>
              <a:rPr lang="ru-RU" dirty="0" smtClean="0"/>
              <a:t> </a:t>
            </a:r>
            <a:r>
              <a:rPr lang="ru-RU" dirty="0"/>
              <a:t>месяцев </a:t>
            </a:r>
            <a:r>
              <a:rPr lang="ru-RU" dirty="0" smtClean="0"/>
              <a:t>2022г</a:t>
            </a:r>
            <a:r>
              <a:rPr lang="ru-RU" baseline="0" dirty="0" smtClean="0"/>
              <a:t> и сравним с аналогичным периодом 2021 года.</a:t>
            </a:r>
            <a:endParaRPr lang="ru-RU" dirty="0"/>
          </a:p>
          <a:p>
            <a:endParaRPr lang="ru-RU" dirty="0"/>
          </a:p>
        </p:txBody>
      </p:sp>
      <p:sp>
        <p:nvSpPr>
          <p:cNvPr id="4" name="Номер слайда 3"/>
          <p:cNvSpPr>
            <a:spLocks noGrp="1"/>
          </p:cNvSpPr>
          <p:nvPr>
            <p:ph type="sldNum" sz="quarter" idx="5"/>
          </p:nvPr>
        </p:nvSpPr>
        <p:spPr/>
        <p:txBody>
          <a:bodyPr/>
          <a:lstStyle/>
          <a:p>
            <a:pPr marL="0" marR="0" lvl="0" indent="0" algn="r" defTabSz="1152144" rtl="0" eaLnBrk="1" fontAlgn="auto" latinLnBrk="0" hangingPunct="1">
              <a:lnSpc>
                <a:spcPct val="100000"/>
              </a:lnSpc>
              <a:spcBef>
                <a:spcPts val="0"/>
              </a:spcBef>
              <a:spcAft>
                <a:spcPts val="0"/>
              </a:spcAft>
              <a:buClrTx/>
              <a:buSzTx/>
              <a:buFontTx/>
              <a:buNone/>
              <a:tabLst/>
              <a:defRPr/>
            </a:pPr>
            <a:fld id="{F6AD7469-598B-4074-9061-13BEE3927704}"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52144" rtl="0" eaLnBrk="1" fontAlgn="auto" latinLnBrk="0" hangingPunct="1">
                <a:lnSpc>
                  <a:spcPct val="100000"/>
                </a:lnSpc>
                <a:spcBef>
                  <a:spcPts val="0"/>
                </a:spcBef>
                <a:spcAft>
                  <a:spcPts val="0"/>
                </a:spcAft>
                <a:buClrTx/>
                <a:buSzTx/>
                <a:buFontTx/>
                <a:buNone/>
                <a:tabLst/>
                <a:defRPr/>
              </a:pPr>
              <a:t>6</a:t>
            </a:fld>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249020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baseline="0" dirty="0" smtClean="0">
                <a:solidFill>
                  <a:schemeClr val="tx1"/>
                </a:solidFill>
              </a:rPr>
              <a:t>В начале июня Статистику происшествий нужно актуализировать. Вместо нижней диаграммы, как вариант, можно добавить диаграмму кол-во просроченных замечаний на исполнении в АСУБ. В РПО/Высота – из 423х – 178 связано с использованием систем страховки и несоответствиями средствами </a:t>
            </a:r>
            <a:r>
              <a:rPr lang="ru-RU" baseline="0" dirty="0" err="1" smtClean="0">
                <a:solidFill>
                  <a:schemeClr val="tx1"/>
                </a:solidFill>
              </a:rPr>
              <a:t>подмащивания</a:t>
            </a:r>
            <a:r>
              <a:rPr lang="ru-RU" baseline="0" dirty="0" smtClean="0">
                <a:solidFill>
                  <a:schemeClr val="tx1"/>
                </a:solidFill>
              </a:rPr>
              <a:t> (леса, вышки-туры). </a:t>
            </a:r>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DBB27-19F2-BA47-9626-C091B64D8442}"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25835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pPr marL="0" marR="0" lvl="0" indent="0" algn="r" defTabSz="1152144" rtl="0" eaLnBrk="1" fontAlgn="auto" latinLnBrk="0" hangingPunct="1">
              <a:lnSpc>
                <a:spcPct val="100000"/>
              </a:lnSpc>
              <a:spcBef>
                <a:spcPts val="0"/>
              </a:spcBef>
              <a:spcAft>
                <a:spcPts val="0"/>
              </a:spcAft>
              <a:buClrTx/>
              <a:buSzTx/>
              <a:buFontTx/>
              <a:buNone/>
              <a:tabLst/>
              <a:defRPr/>
            </a:pPr>
            <a:fld id="{F6AD7469-598B-4074-9061-13BEE3927704}" type="slidenum">
              <a:rPr kumimoji="0" lang="ru-R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52144" rtl="0" eaLnBrk="1" fontAlgn="auto" latinLnBrk="0" hangingPunct="1">
                <a:lnSpc>
                  <a:spcPct val="100000"/>
                </a:lnSpc>
                <a:spcBef>
                  <a:spcPts val="0"/>
                </a:spcBef>
                <a:spcAft>
                  <a:spcPts val="0"/>
                </a:spcAft>
                <a:buClrTx/>
                <a:buSzTx/>
                <a:buFontTx/>
                <a:buNone/>
                <a:tabLst/>
                <a:defRPr/>
              </a:pPr>
              <a:t>8</a:t>
            </a:fld>
            <a:endParaRPr kumimoji="0" lang="ru-R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287166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u-RU" baseline="0" dirty="0" smtClean="0"/>
              <a:t>За 2-й квартал 2022г. отделом по работе с ПО было выявлено 472 замечания в категории Работы на высоте. В подкатегории Средства </a:t>
            </a:r>
            <a:r>
              <a:rPr lang="ru-RU" baseline="0" dirty="0" err="1" smtClean="0"/>
              <a:t>подмащивания</a:t>
            </a:r>
            <a:r>
              <a:rPr lang="ru-RU" baseline="0" dirty="0" smtClean="0"/>
              <a:t>/страховка мы видим, что большая часть замечаний с высоким риском – то есть может привести к несчастному случаю.  Поэтому далее разберём подробнее данную тему.</a:t>
            </a:r>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DBB27-19F2-BA47-9626-C091B64D8442}"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76298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FFFFFF"/>
        </a:solidFill>
        <a:effectLst/>
      </p:bgPr>
    </p:bg>
    <p:spTree>
      <p:nvGrpSpPr>
        <p:cNvPr id="1" name=""/>
        <p:cNvGrpSpPr/>
        <p:nvPr/>
      </p:nvGrpSpPr>
      <p:grpSpPr>
        <a:xfrm>
          <a:off x="0" y="0"/>
          <a:ext cx="0" cy="0"/>
          <a:chOff x="0" y="0"/>
          <a:chExt cx="0" cy="0"/>
        </a:xfrm>
      </p:grpSpPr>
      <p:sp>
        <p:nvSpPr>
          <p:cNvPr id="23" name="Title 1"/>
          <p:cNvSpPr>
            <a:spLocks noGrp="1"/>
          </p:cNvSpPr>
          <p:nvPr>
            <p:ph type="ctrTitle" hasCustomPrompt="1"/>
          </p:nvPr>
        </p:nvSpPr>
        <p:spPr>
          <a:xfrm>
            <a:off x="3124430" y="1028736"/>
            <a:ext cx="8686255" cy="2476276"/>
          </a:xfrm>
          <a:prstGeom prst="rect">
            <a:avLst/>
          </a:prstGeom>
          <a:noFill/>
        </p:spPr>
        <p:txBody>
          <a:bodyPr lIns="180000" tIns="180000" rIns="864000" bIns="36000" anchor="b" anchorCtr="0">
            <a:noAutofit/>
          </a:bodyPr>
          <a:lstStyle>
            <a:lvl1pPr algn="l">
              <a:lnSpc>
                <a:spcPct val="100000"/>
              </a:lnSpc>
              <a:defRPr sz="5820" b="0" i="0" cap="none" spc="212" baseline="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Title slide header</a:t>
            </a:r>
            <a:r>
              <a:rPr lang="mr-IN" dirty="0"/>
              <a:t>…</a:t>
            </a:r>
            <a:endParaRPr lang="en-US" dirty="0"/>
          </a:p>
        </p:txBody>
      </p:sp>
      <p:sp>
        <p:nvSpPr>
          <p:cNvPr id="11" name="Text Placeholder 10">
            <a:extLst>
              <a:ext uri="{FF2B5EF4-FFF2-40B4-BE49-F238E27FC236}">
                <a16:creationId xmlns:a16="http://schemas.microsoft.com/office/drawing/2014/main" id="{49BCE9F6-2934-314B-BF78-430EC028CA66}"/>
              </a:ext>
            </a:extLst>
          </p:cNvPr>
          <p:cNvSpPr>
            <a:spLocks noGrp="1"/>
          </p:cNvSpPr>
          <p:nvPr>
            <p:ph type="body" sz="quarter" idx="10" hasCustomPrompt="1"/>
          </p:nvPr>
        </p:nvSpPr>
        <p:spPr>
          <a:xfrm>
            <a:off x="7925886" y="5668806"/>
            <a:ext cx="4837829" cy="888610"/>
          </a:xfrm>
          <a:prstGeom prst="rect">
            <a:avLst/>
          </a:prstGeom>
        </p:spPr>
        <p:txBody>
          <a:bodyPr lIns="180000" rIns="864000" anchor="b"/>
          <a:lstStyle>
            <a:lvl1pPr marL="0" indent="0">
              <a:buFontTx/>
              <a:buNone/>
              <a:defRPr sz="1376" b="0" i="0">
                <a:solidFill>
                  <a:srgbClr val="E41910"/>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Subtitle</a:t>
            </a:r>
            <a:endParaRPr lang="x-none" dirty="0"/>
          </a:p>
        </p:txBody>
      </p:sp>
      <p:sp>
        <p:nvSpPr>
          <p:cNvPr id="15" name="Text Placeholder 10">
            <a:extLst>
              <a:ext uri="{FF2B5EF4-FFF2-40B4-BE49-F238E27FC236}">
                <a16:creationId xmlns:a16="http://schemas.microsoft.com/office/drawing/2014/main" id="{7E236611-2C19-7C49-A7D4-5478F7BB8173}"/>
              </a:ext>
            </a:extLst>
          </p:cNvPr>
          <p:cNvSpPr>
            <a:spLocks noGrp="1"/>
          </p:cNvSpPr>
          <p:nvPr>
            <p:ph type="body" sz="quarter" idx="11" hasCustomPrompt="1"/>
          </p:nvPr>
        </p:nvSpPr>
        <p:spPr>
          <a:xfrm>
            <a:off x="3088055" y="5661530"/>
            <a:ext cx="3884802" cy="888610"/>
          </a:xfrm>
          <a:prstGeom prst="rect">
            <a:avLst/>
          </a:prstGeom>
        </p:spPr>
        <p:txBody>
          <a:bodyPr lIns="180000" rIns="864000" anchor="b"/>
          <a:lstStyle>
            <a:lvl1pPr marL="0" indent="0">
              <a:buFontTx/>
              <a:buNone/>
              <a:defRPr sz="1376"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Докладчик</a:t>
            </a:r>
            <a:br>
              <a:rPr lang="ru-RU" dirty="0"/>
            </a:br>
            <a:r>
              <a:rPr lang="ru-RU" dirty="0"/>
              <a:t>Фамилия Имя Отчество</a:t>
            </a:r>
            <a:endParaRPr lang="x-none" dirty="0"/>
          </a:p>
        </p:txBody>
      </p:sp>
      <p:sp>
        <p:nvSpPr>
          <p:cNvPr id="16" name="Text Placeholder 10">
            <a:extLst>
              <a:ext uri="{FF2B5EF4-FFF2-40B4-BE49-F238E27FC236}">
                <a16:creationId xmlns:a16="http://schemas.microsoft.com/office/drawing/2014/main" id="{935039F0-13FC-3745-B58A-56E53B716FB6}"/>
              </a:ext>
            </a:extLst>
          </p:cNvPr>
          <p:cNvSpPr>
            <a:spLocks noGrp="1"/>
          </p:cNvSpPr>
          <p:nvPr>
            <p:ph type="body" sz="quarter" idx="12" hasCustomPrompt="1"/>
          </p:nvPr>
        </p:nvSpPr>
        <p:spPr>
          <a:xfrm>
            <a:off x="3073508" y="3475909"/>
            <a:ext cx="6515827" cy="1028831"/>
          </a:xfrm>
          <a:prstGeom prst="rect">
            <a:avLst/>
          </a:prstGeom>
        </p:spPr>
        <p:txBody>
          <a:bodyPr lIns="180000" rIns="864000" anchor="b"/>
          <a:lstStyle>
            <a:lvl1pPr marL="0" indent="0">
              <a:buFontTx/>
              <a:buNone/>
              <a:defRPr sz="2539"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orem ipsum dolor sit </a:t>
            </a:r>
            <a:r>
              <a:rPr lang="en-US" dirty="0" err="1"/>
              <a:t>amet</a:t>
            </a:r>
            <a:endParaRPr lang="x-none" dirty="0"/>
          </a:p>
        </p:txBody>
      </p:sp>
      <p:grpSp>
        <p:nvGrpSpPr>
          <p:cNvPr id="8" name="Graphic 2">
            <a:extLst>
              <a:ext uri="{FF2B5EF4-FFF2-40B4-BE49-F238E27FC236}">
                <a16:creationId xmlns:a16="http://schemas.microsoft.com/office/drawing/2014/main" id="{D6D8F973-D1EF-5E4E-BB8B-634825B411FA}"/>
              </a:ext>
            </a:extLst>
          </p:cNvPr>
          <p:cNvGrpSpPr/>
          <p:nvPr userDrawn="1"/>
        </p:nvGrpSpPr>
        <p:grpSpPr>
          <a:xfrm>
            <a:off x="1341054" y="2462731"/>
            <a:ext cx="838222" cy="890667"/>
            <a:chOff x="4522787" y="1925637"/>
            <a:chExt cx="2472690" cy="2627001"/>
          </a:xfrm>
        </p:grpSpPr>
        <p:sp>
          <p:nvSpPr>
            <p:cNvPr id="10" name="Freeform 9">
              <a:extLst>
                <a:ext uri="{FF2B5EF4-FFF2-40B4-BE49-F238E27FC236}">
                  <a16:creationId xmlns:a16="http://schemas.microsoft.com/office/drawing/2014/main" id="{EB7C66DE-BB92-9B43-80E1-81CAC5A6BA7D}"/>
                </a:ext>
              </a:extLst>
            </p:cNvPr>
            <p:cNvSpPr/>
            <p:nvPr/>
          </p:nvSpPr>
          <p:spPr>
            <a:xfrm>
              <a:off x="4522787" y="1925637"/>
              <a:ext cx="2472690" cy="1641876"/>
            </a:xfrm>
            <a:custGeom>
              <a:avLst/>
              <a:gdLst>
                <a:gd name="connsiteX0" fmla="*/ 700088 w 2472690"/>
                <a:gd name="connsiteY0" fmla="*/ 820938 h 1641876"/>
                <a:gd name="connsiteX1" fmla="*/ 1235393 w 2472690"/>
                <a:gd name="connsiteY1" fmla="*/ 287566 h 1641876"/>
                <a:gd name="connsiteX2" fmla="*/ 1497330 w 2472690"/>
                <a:gd name="connsiteY2" fmla="*/ 355898 h 1641876"/>
                <a:gd name="connsiteX3" fmla="*/ 1497330 w 2472690"/>
                <a:gd name="connsiteY3" fmla="*/ 0 h 1641876"/>
                <a:gd name="connsiteX4" fmla="*/ 0 w 2472690"/>
                <a:gd name="connsiteY4" fmla="*/ 647260 h 1641876"/>
                <a:gd name="connsiteX5" fmla="*/ 0 w 2472690"/>
                <a:gd name="connsiteY5" fmla="*/ 1641876 h 1641876"/>
                <a:gd name="connsiteX6" fmla="*/ 914400 w 2472690"/>
                <a:gd name="connsiteY6" fmla="*/ 1247067 h 1641876"/>
                <a:gd name="connsiteX7" fmla="*/ 700088 w 2472690"/>
                <a:gd name="connsiteY7" fmla="*/ 820938 h 1641876"/>
                <a:gd name="connsiteX8" fmla="*/ 1558290 w 2472690"/>
                <a:gd name="connsiteY8" fmla="*/ 394810 h 1641876"/>
                <a:gd name="connsiteX9" fmla="*/ 1771650 w 2472690"/>
                <a:gd name="connsiteY9" fmla="*/ 820938 h 1641876"/>
                <a:gd name="connsiteX10" fmla="*/ 1236345 w 2472690"/>
                <a:gd name="connsiteY10" fmla="*/ 1354311 h 1641876"/>
                <a:gd name="connsiteX11" fmla="*/ 974408 w 2472690"/>
                <a:gd name="connsiteY11" fmla="*/ 1285978 h 1641876"/>
                <a:gd name="connsiteX12" fmla="*/ 974408 w 2472690"/>
                <a:gd name="connsiteY12" fmla="*/ 1641876 h 1641876"/>
                <a:gd name="connsiteX13" fmla="*/ 2472690 w 2472690"/>
                <a:gd name="connsiteY13" fmla="*/ 994616 h 1641876"/>
                <a:gd name="connsiteX14" fmla="*/ 2472690 w 2472690"/>
                <a:gd name="connsiteY14" fmla="*/ 0 h 1641876"/>
                <a:gd name="connsiteX15" fmla="*/ 1558290 w 2472690"/>
                <a:gd name="connsiteY15" fmla="*/ 394810 h 164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72690" h="1641876">
                  <a:moveTo>
                    <a:pt x="700088" y="820938"/>
                  </a:moveTo>
                  <a:cubicBezTo>
                    <a:pt x="700088" y="525780"/>
                    <a:pt x="940118" y="287566"/>
                    <a:pt x="1235393" y="287566"/>
                  </a:cubicBezTo>
                  <a:cubicBezTo>
                    <a:pt x="1330643" y="287566"/>
                    <a:pt x="1420178" y="312241"/>
                    <a:pt x="1497330" y="355898"/>
                  </a:cubicBezTo>
                  <a:lnTo>
                    <a:pt x="1497330" y="0"/>
                  </a:lnTo>
                  <a:lnTo>
                    <a:pt x="0" y="647260"/>
                  </a:lnTo>
                  <a:lnTo>
                    <a:pt x="0" y="1641876"/>
                  </a:lnTo>
                  <a:lnTo>
                    <a:pt x="914400" y="1247067"/>
                  </a:lnTo>
                  <a:cubicBezTo>
                    <a:pt x="784860" y="1150262"/>
                    <a:pt x="700088" y="995565"/>
                    <a:pt x="700088" y="820938"/>
                  </a:cubicBezTo>
                  <a:close/>
                  <a:moveTo>
                    <a:pt x="1558290" y="394810"/>
                  </a:moveTo>
                  <a:cubicBezTo>
                    <a:pt x="1687830" y="491614"/>
                    <a:pt x="1771650" y="647260"/>
                    <a:pt x="1771650" y="820938"/>
                  </a:cubicBezTo>
                  <a:cubicBezTo>
                    <a:pt x="1771650" y="1116096"/>
                    <a:pt x="1531620" y="1354311"/>
                    <a:pt x="1236345" y="1354311"/>
                  </a:cubicBezTo>
                  <a:cubicBezTo>
                    <a:pt x="1141095" y="1354311"/>
                    <a:pt x="1051560" y="1329635"/>
                    <a:pt x="974408" y="1285978"/>
                  </a:cubicBezTo>
                  <a:lnTo>
                    <a:pt x="974408" y="1641876"/>
                  </a:lnTo>
                  <a:lnTo>
                    <a:pt x="2472690" y="994616"/>
                  </a:lnTo>
                  <a:lnTo>
                    <a:pt x="2472690" y="0"/>
                  </a:lnTo>
                  <a:lnTo>
                    <a:pt x="1558290" y="394810"/>
                  </a:lnTo>
                  <a:close/>
                </a:path>
              </a:pathLst>
            </a:custGeom>
            <a:solidFill>
              <a:srgbClr val="7F8183"/>
            </a:solidFill>
            <a:ln w="9525" cap="flat">
              <a:noFill/>
              <a:prstDash val="solid"/>
              <a:miter/>
            </a:ln>
          </p:spPr>
          <p:txBody>
            <a:bodyPr rtlCol="0" anchor="ctr"/>
            <a:lstStyle/>
            <a:p>
              <a:endParaRPr lang="x-none" sz="1905"/>
            </a:p>
          </p:txBody>
        </p:sp>
        <p:sp>
          <p:nvSpPr>
            <p:cNvPr id="12" name="Freeform 11">
              <a:extLst>
                <a:ext uri="{FF2B5EF4-FFF2-40B4-BE49-F238E27FC236}">
                  <a16:creationId xmlns:a16="http://schemas.microsoft.com/office/drawing/2014/main" id="{50F69C82-6455-834F-8DC3-B7DD6441B7A8}"/>
                </a:ext>
              </a:extLst>
            </p:cNvPr>
            <p:cNvSpPr/>
            <p:nvPr/>
          </p:nvSpPr>
          <p:spPr>
            <a:xfrm>
              <a:off x="5470524" y="2459009"/>
              <a:ext cx="577215" cy="575131"/>
            </a:xfrm>
            <a:custGeom>
              <a:avLst/>
              <a:gdLst>
                <a:gd name="connsiteX0" fmla="*/ 577215 w 577215"/>
                <a:gd name="connsiteY0" fmla="*/ 287566 h 575131"/>
                <a:gd name="connsiteX1" fmla="*/ 288608 w 577215"/>
                <a:gd name="connsiteY1" fmla="*/ 575131 h 575131"/>
                <a:gd name="connsiteX2" fmla="*/ 0 w 577215"/>
                <a:gd name="connsiteY2" fmla="*/ 287566 h 575131"/>
                <a:gd name="connsiteX3" fmla="*/ 288608 w 577215"/>
                <a:gd name="connsiteY3" fmla="*/ 0 h 575131"/>
                <a:gd name="connsiteX4" fmla="*/ 577215 w 577215"/>
                <a:gd name="connsiteY4" fmla="*/ 287566 h 57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15" h="575131">
                  <a:moveTo>
                    <a:pt x="577215" y="287566"/>
                  </a:moveTo>
                  <a:cubicBezTo>
                    <a:pt x="577215" y="446059"/>
                    <a:pt x="447675" y="575131"/>
                    <a:pt x="288608" y="575131"/>
                  </a:cubicBezTo>
                  <a:cubicBezTo>
                    <a:pt x="129540" y="575131"/>
                    <a:pt x="0" y="446059"/>
                    <a:pt x="0" y="287566"/>
                  </a:cubicBezTo>
                  <a:cubicBezTo>
                    <a:pt x="0" y="129072"/>
                    <a:pt x="129540" y="0"/>
                    <a:pt x="288608" y="0"/>
                  </a:cubicBezTo>
                  <a:cubicBezTo>
                    <a:pt x="447675" y="0"/>
                    <a:pt x="577215" y="129072"/>
                    <a:pt x="577215" y="287566"/>
                  </a:cubicBezTo>
                  <a:close/>
                </a:path>
              </a:pathLst>
            </a:custGeom>
            <a:solidFill>
              <a:srgbClr val="E72B2B"/>
            </a:solidFill>
            <a:ln w="9525" cap="flat">
              <a:noFill/>
              <a:prstDash val="solid"/>
              <a:miter/>
            </a:ln>
          </p:spPr>
          <p:txBody>
            <a:bodyPr rtlCol="0" anchor="ctr"/>
            <a:lstStyle/>
            <a:p>
              <a:endParaRPr lang="x-none" sz="1905"/>
            </a:p>
          </p:txBody>
        </p:sp>
        <p:sp>
          <p:nvSpPr>
            <p:cNvPr id="13" name="Freeform 12">
              <a:extLst>
                <a:ext uri="{FF2B5EF4-FFF2-40B4-BE49-F238E27FC236}">
                  <a16:creationId xmlns:a16="http://schemas.microsoft.com/office/drawing/2014/main" id="{C15D4B86-70E0-6D4C-A3AA-BE3BE305C020}"/>
                </a:ext>
              </a:extLst>
            </p:cNvPr>
            <p:cNvSpPr/>
            <p:nvPr/>
          </p:nvSpPr>
          <p:spPr>
            <a:xfrm>
              <a:off x="4522787" y="3863620"/>
              <a:ext cx="2472690" cy="689018"/>
            </a:xfrm>
            <a:custGeom>
              <a:avLst/>
              <a:gdLst>
                <a:gd name="connsiteX0" fmla="*/ 345758 w 2472690"/>
                <a:gd name="connsiteY0" fmla="*/ 0 h 689018"/>
                <a:gd name="connsiteX1" fmla="*/ 0 w 2472690"/>
                <a:gd name="connsiteY1" fmla="*/ 344509 h 689018"/>
                <a:gd name="connsiteX2" fmla="*/ 345758 w 2472690"/>
                <a:gd name="connsiteY2" fmla="*/ 689019 h 689018"/>
                <a:gd name="connsiteX3" fmla="*/ 691515 w 2472690"/>
                <a:gd name="connsiteY3" fmla="*/ 344509 h 689018"/>
                <a:gd name="connsiteX4" fmla="*/ 345758 w 2472690"/>
                <a:gd name="connsiteY4" fmla="*/ 0 h 689018"/>
                <a:gd name="connsiteX5" fmla="*/ 345758 w 2472690"/>
                <a:gd name="connsiteY5" fmla="*/ 525780 h 689018"/>
                <a:gd name="connsiteX6" fmla="*/ 164783 w 2472690"/>
                <a:gd name="connsiteY6" fmla="*/ 345458 h 689018"/>
                <a:gd name="connsiteX7" fmla="*/ 345758 w 2472690"/>
                <a:gd name="connsiteY7" fmla="*/ 165137 h 689018"/>
                <a:gd name="connsiteX8" fmla="*/ 526733 w 2472690"/>
                <a:gd name="connsiteY8" fmla="*/ 345458 h 689018"/>
                <a:gd name="connsiteX9" fmla="*/ 345758 w 2472690"/>
                <a:gd name="connsiteY9" fmla="*/ 525780 h 689018"/>
                <a:gd name="connsiteX10" fmla="*/ 1253490 w 2472690"/>
                <a:gd name="connsiteY10" fmla="*/ 284718 h 689018"/>
                <a:gd name="connsiteX11" fmla="*/ 1063943 w 2472690"/>
                <a:gd name="connsiteY11" fmla="*/ 17083 h 689018"/>
                <a:gd name="connsiteX12" fmla="*/ 899160 w 2472690"/>
                <a:gd name="connsiteY12" fmla="*/ 17083 h 689018"/>
                <a:gd name="connsiteX13" fmla="*/ 899160 w 2472690"/>
                <a:gd name="connsiteY13" fmla="*/ 673834 h 689018"/>
                <a:gd name="connsiteX14" fmla="*/ 1063943 w 2472690"/>
                <a:gd name="connsiteY14" fmla="*/ 673834 h 689018"/>
                <a:gd name="connsiteX15" fmla="*/ 1063943 w 2472690"/>
                <a:gd name="connsiteY15" fmla="*/ 301802 h 689018"/>
                <a:gd name="connsiteX16" fmla="*/ 1152525 w 2472690"/>
                <a:gd name="connsiteY16" fmla="*/ 427078 h 689018"/>
                <a:gd name="connsiteX17" fmla="*/ 1253490 w 2472690"/>
                <a:gd name="connsiteY17" fmla="*/ 569437 h 689018"/>
                <a:gd name="connsiteX18" fmla="*/ 1354455 w 2472690"/>
                <a:gd name="connsiteY18" fmla="*/ 427078 h 689018"/>
                <a:gd name="connsiteX19" fmla="*/ 1443038 w 2472690"/>
                <a:gd name="connsiteY19" fmla="*/ 301802 h 689018"/>
                <a:gd name="connsiteX20" fmla="*/ 1443038 w 2472690"/>
                <a:gd name="connsiteY20" fmla="*/ 673834 h 689018"/>
                <a:gd name="connsiteX21" fmla="*/ 1607820 w 2472690"/>
                <a:gd name="connsiteY21" fmla="*/ 673834 h 689018"/>
                <a:gd name="connsiteX22" fmla="*/ 1607820 w 2472690"/>
                <a:gd name="connsiteY22" fmla="*/ 17083 h 689018"/>
                <a:gd name="connsiteX23" fmla="*/ 1443038 w 2472690"/>
                <a:gd name="connsiteY23" fmla="*/ 17083 h 689018"/>
                <a:gd name="connsiteX24" fmla="*/ 1253490 w 2472690"/>
                <a:gd name="connsiteY24" fmla="*/ 284718 h 689018"/>
                <a:gd name="connsiteX25" fmla="*/ 2472690 w 2472690"/>
                <a:gd name="connsiteY25" fmla="*/ 18032 h 689018"/>
                <a:gd name="connsiteX26" fmla="*/ 2270760 w 2472690"/>
                <a:gd name="connsiteY26" fmla="*/ 18032 h 689018"/>
                <a:gd name="connsiteX27" fmla="*/ 2037398 w 2472690"/>
                <a:gd name="connsiteY27" fmla="*/ 336917 h 689018"/>
                <a:gd name="connsiteX28" fmla="*/ 2037398 w 2472690"/>
                <a:gd name="connsiteY28" fmla="*/ 18032 h 689018"/>
                <a:gd name="connsiteX29" fmla="*/ 1872615 w 2472690"/>
                <a:gd name="connsiteY29" fmla="*/ 18032 h 689018"/>
                <a:gd name="connsiteX30" fmla="*/ 1872615 w 2472690"/>
                <a:gd name="connsiteY30" fmla="*/ 674783 h 689018"/>
                <a:gd name="connsiteX31" fmla="*/ 2037398 w 2472690"/>
                <a:gd name="connsiteY31" fmla="*/ 674783 h 689018"/>
                <a:gd name="connsiteX32" fmla="*/ 2037398 w 2472690"/>
                <a:gd name="connsiteY32" fmla="*/ 354000 h 689018"/>
                <a:gd name="connsiteX33" fmla="*/ 2270760 w 2472690"/>
                <a:gd name="connsiteY33" fmla="*/ 674783 h 689018"/>
                <a:gd name="connsiteX34" fmla="*/ 2472690 w 2472690"/>
                <a:gd name="connsiteY34" fmla="*/ 674783 h 689018"/>
                <a:gd name="connsiteX35" fmla="*/ 2231708 w 2472690"/>
                <a:gd name="connsiteY35" fmla="*/ 346407 h 689018"/>
                <a:gd name="connsiteX36" fmla="*/ 2472690 w 2472690"/>
                <a:gd name="connsiteY36" fmla="*/ 18032 h 68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72690" h="689018">
                  <a:moveTo>
                    <a:pt x="345758" y="0"/>
                  </a:moveTo>
                  <a:cubicBezTo>
                    <a:pt x="155258" y="0"/>
                    <a:pt x="0" y="154697"/>
                    <a:pt x="0" y="344509"/>
                  </a:cubicBezTo>
                  <a:cubicBezTo>
                    <a:pt x="0" y="535271"/>
                    <a:pt x="155258" y="689019"/>
                    <a:pt x="345758" y="689019"/>
                  </a:cubicBezTo>
                  <a:cubicBezTo>
                    <a:pt x="537210" y="689019"/>
                    <a:pt x="691515" y="534322"/>
                    <a:pt x="691515" y="344509"/>
                  </a:cubicBezTo>
                  <a:cubicBezTo>
                    <a:pt x="692468" y="154697"/>
                    <a:pt x="537210" y="0"/>
                    <a:pt x="345758" y="0"/>
                  </a:cubicBezTo>
                  <a:close/>
                  <a:moveTo>
                    <a:pt x="345758" y="525780"/>
                  </a:moveTo>
                  <a:cubicBezTo>
                    <a:pt x="245745" y="525780"/>
                    <a:pt x="164783" y="445110"/>
                    <a:pt x="164783" y="345458"/>
                  </a:cubicBezTo>
                  <a:cubicBezTo>
                    <a:pt x="164783" y="245807"/>
                    <a:pt x="245745" y="165137"/>
                    <a:pt x="345758" y="165137"/>
                  </a:cubicBezTo>
                  <a:cubicBezTo>
                    <a:pt x="445770" y="165137"/>
                    <a:pt x="526733" y="245807"/>
                    <a:pt x="526733" y="345458"/>
                  </a:cubicBezTo>
                  <a:cubicBezTo>
                    <a:pt x="527685" y="444161"/>
                    <a:pt x="445770" y="525780"/>
                    <a:pt x="345758" y="525780"/>
                  </a:cubicBezTo>
                  <a:close/>
                  <a:moveTo>
                    <a:pt x="1253490" y="284718"/>
                  </a:moveTo>
                  <a:lnTo>
                    <a:pt x="1063943" y="17083"/>
                  </a:lnTo>
                  <a:lnTo>
                    <a:pt x="899160" y="17083"/>
                  </a:lnTo>
                  <a:lnTo>
                    <a:pt x="899160" y="673834"/>
                  </a:lnTo>
                  <a:lnTo>
                    <a:pt x="1063943" y="673834"/>
                  </a:lnTo>
                  <a:lnTo>
                    <a:pt x="1063943" y="301802"/>
                  </a:lnTo>
                  <a:lnTo>
                    <a:pt x="1152525" y="427078"/>
                  </a:lnTo>
                  <a:lnTo>
                    <a:pt x="1253490" y="569437"/>
                  </a:lnTo>
                  <a:lnTo>
                    <a:pt x="1354455" y="427078"/>
                  </a:lnTo>
                  <a:lnTo>
                    <a:pt x="1443038" y="301802"/>
                  </a:lnTo>
                  <a:lnTo>
                    <a:pt x="1443038" y="673834"/>
                  </a:lnTo>
                  <a:lnTo>
                    <a:pt x="1607820" y="673834"/>
                  </a:lnTo>
                  <a:lnTo>
                    <a:pt x="1607820" y="17083"/>
                  </a:lnTo>
                  <a:lnTo>
                    <a:pt x="1443038" y="17083"/>
                  </a:lnTo>
                  <a:lnTo>
                    <a:pt x="1253490" y="284718"/>
                  </a:lnTo>
                  <a:close/>
                  <a:moveTo>
                    <a:pt x="2472690" y="18032"/>
                  </a:moveTo>
                  <a:lnTo>
                    <a:pt x="2270760" y="18032"/>
                  </a:lnTo>
                  <a:lnTo>
                    <a:pt x="2037398" y="336917"/>
                  </a:lnTo>
                  <a:lnTo>
                    <a:pt x="2037398" y="18032"/>
                  </a:lnTo>
                  <a:lnTo>
                    <a:pt x="1872615" y="18032"/>
                  </a:lnTo>
                  <a:lnTo>
                    <a:pt x="1872615" y="674783"/>
                  </a:lnTo>
                  <a:lnTo>
                    <a:pt x="2037398" y="674783"/>
                  </a:lnTo>
                  <a:lnTo>
                    <a:pt x="2037398" y="354000"/>
                  </a:lnTo>
                  <a:lnTo>
                    <a:pt x="2270760" y="674783"/>
                  </a:lnTo>
                  <a:lnTo>
                    <a:pt x="2472690" y="674783"/>
                  </a:lnTo>
                  <a:lnTo>
                    <a:pt x="2231708" y="346407"/>
                  </a:lnTo>
                  <a:lnTo>
                    <a:pt x="2472690" y="18032"/>
                  </a:lnTo>
                  <a:close/>
                </a:path>
              </a:pathLst>
            </a:custGeom>
            <a:solidFill>
              <a:srgbClr val="7F8183"/>
            </a:solidFill>
            <a:ln w="9525" cap="flat">
              <a:noFill/>
              <a:prstDash val="solid"/>
              <a:miter/>
            </a:ln>
          </p:spPr>
          <p:txBody>
            <a:bodyPr rtlCol="0" anchor="ctr"/>
            <a:lstStyle/>
            <a:p>
              <a:endParaRPr lang="x-none" sz="1905"/>
            </a:p>
          </p:txBody>
        </p:sp>
      </p:grpSp>
      <p:grpSp>
        <p:nvGrpSpPr>
          <p:cNvPr id="2" name="Graphic 13">
            <a:extLst>
              <a:ext uri="{FF2B5EF4-FFF2-40B4-BE49-F238E27FC236}">
                <a16:creationId xmlns:a16="http://schemas.microsoft.com/office/drawing/2014/main" id="{07D8688A-A1C6-824F-9702-4CAFEFF7A0AA}"/>
              </a:ext>
            </a:extLst>
          </p:cNvPr>
          <p:cNvGrpSpPr/>
          <p:nvPr/>
        </p:nvGrpSpPr>
        <p:grpSpPr>
          <a:xfrm>
            <a:off x="1309496" y="5763381"/>
            <a:ext cx="886399" cy="762739"/>
            <a:chOff x="1237542" y="5445861"/>
            <a:chExt cx="837693" cy="720718"/>
          </a:xfrm>
        </p:grpSpPr>
        <p:grpSp>
          <p:nvGrpSpPr>
            <p:cNvPr id="3" name="Graphic 13">
              <a:extLst>
                <a:ext uri="{FF2B5EF4-FFF2-40B4-BE49-F238E27FC236}">
                  <a16:creationId xmlns:a16="http://schemas.microsoft.com/office/drawing/2014/main" id="{07D8688A-A1C6-824F-9702-4CAFEFF7A0AA}"/>
                </a:ext>
              </a:extLst>
            </p:cNvPr>
            <p:cNvGrpSpPr/>
            <p:nvPr/>
          </p:nvGrpSpPr>
          <p:grpSpPr>
            <a:xfrm>
              <a:off x="1264054" y="5786435"/>
              <a:ext cx="327743" cy="106553"/>
              <a:chOff x="1264054" y="5786435"/>
              <a:chExt cx="327743" cy="106553"/>
            </a:xfrm>
            <a:solidFill>
              <a:srgbClr val="CFD4D9"/>
            </a:solidFill>
          </p:grpSpPr>
          <p:sp>
            <p:nvSpPr>
              <p:cNvPr id="4" name="Freeform 3">
                <a:extLst>
                  <a:ext uri="{FF2B5EF4-FFF2-40B4-BE49-F238E27FC236}">
                    <a16:creationId xmlns:a16="http://schemas.microsoft.com/office/drawing/2014/main" id="{3FB05AE4-1AC5-E644-BF98-DE6793E4DE68}"/>
                  </a:ext>
                </a:extLst>
              </p:cNvPr>
              <p:cNvSpPr/>
              <p:nvPr/>
            </p:nvSpPr>
            <p:spPr>
              <a:xfrm>
                <a:off x="1264054" y="5786435"/>
                <a:ext cx="72205" cy="84225"/>
              </a:xfrm>
              <a:custGeom>
                <a:avLst/>
                <a:gdLst>
                  <a:gd name="connsiteX0" fmla="*/ 38077 w 72205"/>
                  <a:gd name="connsiteY0" fmla="*/ 74898 h 84225"/>
                  <a:gd name="connsiteX1" fmla="*/ 55000 w 72205"/>
                  <a:gd name="connsiteY1" fmla="*/ 69811 h 84225"/>
                  <a:gd name="connsiteX2" fmla="*/ 62615 w 72205"/>
                  <a:gd name="connsiteY2" fmla="*/ 55962 h 84225"/>
                  <a:gd name="connsiteX3" fmla="*/ 72205 w 72205"/>
                  <a:gd name="connsiteY3" fmla="*/ 57657 h 84225"/>
                  <a:gd name="connsiteX4" fmla="*/ 60923 w 72205"/>
                  <a:gd name="connsiteY4" fmla="*/ 77442 h 84225"/>
                  <a:gd name="connsiteX5" fmla="*/ 37795 w 72205"/>
                  <a:gd name="connsiteY5" fmla="*/ 84225 h 84225"/>
                  <a:gd name="connsiteX6" fmla="*/ 10154 w 72205"/>
                  <a:gd name="connsiteY6" fmla="*/ 72920 h 84225"/>
                  <a:gd name="connsiteX7" fmla="*/ 0 w 72205"/>
                  <a:gd name="connsiteY7" fmla="*/ 42113 h 84225"/>
                  <a:gd name="connsiteX8" fmla="*/ 2821 w 72205"/>
                  <a:gd name="connsiteY8" fmla="*/ 24307 h 84225"/>
                  <a:gd name="connsiteX9" fmla="*/ 10436 w 72205"/>
                  <a:gd name="connsiteY9" fmla="*/ 11023 h 84225"/>
                  <a:gd name="connsiteX10" fmla="*/ 22282 w 72205"/>
                  <a:gd name="connsiteY10" fmla="*/ 2826 h 84225"/>
                  <a:gd name="connsiteX11" fmla="*/ 37795 w 72205"/>
                  <a:gd name="connsiteY11" fmla="*/ 0 h 84225"/>
                  <a:gd name="connsiteX12" fmla="*/ 60923 w 72205"/>
                  <a:gd name="connsiteY12" fmla="*/ 6783 h 84225"/>
                  <a:gd name="connsiteX13" fmla="*/ 71923 w 72205"/>
                  <a:gd name="connsiteY13" fmla="*/ 26568 h 84225"/>
                  <a:gd name="connsiteX14" fmla="*/ 62333 w 72205"/>
                  <a:gd name="connsiteY14" fmla="*/ 28263 h 84225"/>
                  <a:gd name="connsiteX15" fmla="*/ 54718 w 72205"/>
                  <a:gd name="connsiteY15" fmla="*/ 14697 h 84225"/>
                  <a:gd name="connsiteX16" fmla="*/ 37795 w 72205"/>
                  <a:gd name="connsiteY16" fmla="*/ 9327 h 84225"/>
                  <a:gd name="connsiteX17" fmla="*/ 25667 w 72205"/>
                  <a:gd name="connsiteY17" fmla="*/ 11871 h 84225"/>
                  <a:gd name="connsiteX18" fmla="*/ 16923 w 72205"/>
                  <a:gd name="connsiteY18" fmla="*/ 18654 h 84225"/>
                  <a:gd name="connsiteX19" fmla="*/ 11564 w 72205"/>
                  <a:gd name="connsiteY19" fmla="*/ 29111 h 84225"/>
                  <a:gd name="connsiteX20" fmla="*/ 9872 w 72205"/>
                  <a:gd name="connsiteY20" fmla="*/ 42678 h 84225"/>
                  <a:gd name="connsiteX21" fmla="*/ 17205 w 72205"/>
                  <a:gd name="connsiteY21" fmla="*/ 66419 h 84225"/>
                  <a:gd name="connsiteX22" fmla="*/ 38077 w 72205"/>
                  <a:gd name="connsiteY22" fmla="*/ 74898 h 8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2205" h="84225">
                    <a:moveTo>
                      <a:pt x="38077" y="74898"/>
                    </a:moveTo>
                    <a:cubicBezTo>
                      <a:pt x="45410" y="74898"/>
                      <a:pt x="51051" y="73202"/>
                      <a:pt x="55000" y="69811"/>
                    </a:cubicBezTo>
                    <a:cubicBezTo>
                      <a:pt x="58949" y="66419"/>
                      <a:pt x="61487" y="61897"/>
                      <a:pt x="62615" y="55962"/>
                    </a:cubicBezTo>
                    <a:lnTo>
                      <a:pt x="72205" y="57657"/>
                    </a:lnTo>
                    <a:cubicBezTo>
                      <a:pt x="70795" y="66136"/>
                      <a:pt x="66846" y="72920"/>
                      <a:pt x="60923" y="77442"/>
                    </a:cubicBezTo>
                    <a:cubicBezTo>
                      <a:pt x="55000" y="81964"/>
                      <a:pt x="47385" y="84225"/>
                      <a:pt x="37795" y="84225"/>
                    </a:cubicBezTo>
                    <a:cubicBezTo>
                      <a:pt x="26231" y="84225"/>
                      <a:pt x="16923" y="80551"/>
                      <a:pt x="10154" y="72920"/>
                    </a:cubicBezTo>
                    <a:cubicBezTo>
                      <a:pt x="3385" y="65289"/>
                      <a:pt x="0" y="55114"/>
                      <a:pt x="0" y="42113"/>
                    </a:cubicBezTo>
                    <a:cubicBezTo>
                      <a:pt x="0" y="35329"/>
                      <a:pt x="846" y="29394"/>
                      <a:pt x="2821" y="24307"/>
                    </a:cubicBezTo>
                    <a:cubicBezTo>
                      <a:pt x="4513" y="18937"/>
                      <a:pt x="7333" y="14697"/>
                      <a:pt x="10436" y="11023"/>
                    </a:cubicBezTo>
                    <a:cubicBezTo>
                      <a:pt x="13821" y="7348"/>
                      <a:pt x="17769" y="4522"/>
                      <a:pt x="22282" y="2826"/>
                    </a:cubicBezTo>
                    <a:cubicBezTo>
                      <a:pt x="27077" y="848"/>
                      <a:pt x="32154" y="0"/>
                      <a:pt x="37795" y="0"/>
                    </a:cubicBezTo>
                    <a:cubicBezTo>
                      <a:pt x="47385" y="0"/>
                      <a:pt x="55000" y="2261"/>
                      <a:pt x="60923" y="6783"/>
                    </a:cubicBezTo>
                    <a:cubicBezTo>
                      <a:pt x="66846" y="11305"/>
                      <a:pt x="70513" y="18089"/>
                      <a:pt x="71923" y="26568"/>
                    </a:cubicBezTo>
                    <a:lnTo>
                      <a:pt x="62333" y="28263"/>
                    </a:lnTo>
                    <a:cubicBezTo>
                      <a:pt x="61205" y="22893"/>
                      <a:pt x="58667" y="18371"/>
                      <a:pt x="54718" y="14697"/>
                    </a:cubicBezTo>
                    <a:cubicBezTo>
                      <a:pt x="50769" y="11023"/>
                      <a:pt x="45128" y="9327"/>
                      <a:pt x="37795" y="9327"/>
                    </a:cubicBezTo>
                    <a:cubicBezTo>
                      <a:pt x="33282" y="9327"/>
                      <a:pt x="29333" y="10175"/>
                      <a:pt x="25667" y="11871"/>
                    </a:cubicBezTo>
                    <a:cubicBezTo>
                      <a:pt x="22282" y="13566"/>
                      <a:pt x="19180" y="15828"/>
                      <a:pt x="16923" y="18654"/>
                    </a:cubicBezTo>
                    <a:cubicBezTo>
                      <a:pt x="14667" y="21480"/>
                      <a:pt x="12974" y="24872"/>
                      <a:pt x="11564" y="29111"/>
                    </a:cubicBezTo>
                    <a:cubicBezTo>
                      <a:pt x="10436" y="33068"/>
                      <a:pt x="9872" y="37590"/>
                      <a:pt x="9872" y="42678"/>
                    </a:cubicBezTo>
                    <a:cubicBezTo>
                      <a:pt x="9872" y="52570"/>
                      <a:pt x="12410" y="60484"/>
                      <a:pt x="17205" y="66419"/>
                    </a:cubicBezTo>
                    <a:cubicBezTo>
                      <a:pt x="22282" y="72072"/>
                      <a:pt x="29051" y="74898"/>
                      <a:pt x="38077" y="74898"/>
                    </a:cubicBezTo>
                  </a:path>
                </a:pathLst>
              </a:custGeom>
              <a:solidFill>
                <a:srgbClr val="7F8183"/>
              </a:solidFill>
              <a:ln w="2790" cap="flat">
                <a:noFill/>
                <a:prstDash val="solid"/>
                <a:miter/>
              </a:ln>
            </p:spPr>
            <p:txBody>
              <a:bodyPr rtlCol="0" anchor="ctr"/>
              <a:lstStyle/>
              <a:p>
                <a:endParaRPr lang="x-none" sz="1905"/>
              </a:p>
            </p:txBody>
          </p:sp>
          <p:sp>
            <p:nvSpPr>
              <p:cNvPr id="5" name="Freeform 4">
                <a:extLst>
                  <a:ext uri="{FF2B5EF4-FFF2-40B4-BE49-F238E27FC236}">
                    <a16:creationId xmlns:a16="http://schemas.microsoft.com/office/drawing/2014/main" id="{07C0C97F-A1B1-824D-AD1D-C268F9629792}"/>
                  </a:ext>
                </a:extLst>
              </p:cNvPr>
              <p:cNvSpPr/>
              <p:nvPr/>
            </p:nvSpPr>
            <p:spPr>
              <a:xfrm>
                <a:off x="1347542" y="5811024"/>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769" y="49461"/>
                      <a:pt x="22000"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764"/>
                      <a:pt x="0" y="29959"/>
                    </a:cubicBezTo>
                    <a:cubicBezTo>
                      <a:pt x="0" y="20350"/>
                      <a:pt x="2538" y="13001"/>
                      <a:pt x="7615" y="7914"/>
                    </a:cubicBezTo>
                    <a:cubicBezTo>
                      <a:pt x="12692" y="2826"/>
                      <a:pt x="19180" y="0"/>
                      <a:pt x="27359" y="0"/>
                    </a:cubicBezTo>
                    <a:cubicBezTo>
                      <a:pt x="35256" y="0"/>
                      <a:pt x="41744" y="2544"/>
                      <a:pt x="46539" y="7914"/>
                    </a:cubicBezTo>
                    <a:cubicBezTo>
                      <a:pt x="51333" y="13001"/>
                      <a:pt x="53872" y="20350"/>
                      <a:pt x="53872" y="29959"/>
                    </a:cubicBezTo>
                    <a:cubicBezTo>
                      <a:pt x="53872" y="39286"/>
                      <a:pt x="51333" y="46635"/>
                      <a:pt x="46539" y="52005"/>
                    </a:cubicBezTo>
                    <a:cubicBezTo>
                      <a:pt x="41744" y="57092"/>
                      <a:pt x="35538" y="59919"/>
                      <a:pt x="27359" y="59919"/>
                    </a:cubicBezTo>
                  </a:path>
                </a:pathLst>
              </a:custGeom>
              <a:solidFill>
                <a:srgbClr val="7F8183"/>
              </a:solidFill>
              <a:ln w="2790" cap="flat">
                <a:noFill/>
                <a:prstDash val="solid"/>
                <a:miter/>
              </a:ln>
            </p:spPr>
            <p:txBody>
              <a:bodyPr rtlCol="0" anchor="ctr"/>
              <a:lstStyle/>
              <a:p>
                <a:endParaRPr lang="x-none" sz="1905"/>
              </a:p>
            </p:txBody>
          </p:sp>
          <p:sp>
            <p:nvSpPr>
              <p:cNvPr id="6" name="Freeform 5">
                <a:extLst>
                  <a:ext uri="{FF2B5EF4-FFF2-40B4-BE49-F238E27FC236}">
                    <a16:creationId xmlns:a16="http://schemas.microsoft.com/office/drawing/2014/main" id="{98E58C74-8DEB-FD44-84E7-3F5CDF70C428}"/>
                  </a:ext>
                </a:extLst>
              </p:cNvPr>
              <p:cNvSpPr/>
              <p:nvPr/>
            </p:nvSpPr>
            <p:spPr>
              <a:xfrm>
                <a:off x="1416080" y="5812155"/>
                <a:ext cx="45410" cy="57657"/>
              </a:xfrm>
              <a:custGeom>
                <a:avLst/>
                <a:gdLst>
                  <a:gd name="connsiteX0" fmla="*/ 26231 w 45410"/>
                  <a:gd name="connsiteY0" fmla="*/ 32220 h 57657"/>
                  <a:gd name="connsiteX1" fmla="*/ 9308 w 45410"/>
                  <a:gd name="connsiteY1" fmla="*/ 32220 h 57657"/>
                  <a:gd name="connsiteX2" fmla="*/ 9308 w 45410"/>
                  <a:gd name="connsiteY2" fmla="*/ 49178 h 57657"/>
                  <a:gd name="connsiteX3" fmla="*/ 26231 w 45410"/>
                  <a:gd name="connsiteY3" fmla="*/ 49178 h 57657"/>
                  <a:gd name="connsiteX4" fmla="*/ 34128 w 45410"/>
                  <a:gd name="connsiteY4" fmla="*/ 46917 h 57657"/>
                  <a:gd name="connsiteX5" fmla="*/ 36385 w 45410"/>
                  <a:gd name="connsiteY5" fmla="*/ 40699 h 57657"/>
                  <a:gd name="connsiteX6" fmla="*/ 33846 w 45410"/>
                  <a:gd name="connsiteY6" fmla="*/ 34199 h 57657"/>
                  <a:gd name="connsiteX7" fmla="*/ 26231 w 45410"/>
                  <a:gd name="connsiteY7" fmla="*/ 32220 h 57657"/>
                  <a:gd name="connsiteX8" fmla="*/ 24538 w 45410"/>
                  <a:gd name="connsiteY8" fmla="*/ 8196 h 57657"/>
                  <a:gd name="connsiteX9" fmla="*/ 9308 w 45410"/>
                  <a:gd name="connsiteY9" fmla="*/ 8196 h 57657"/>
                  <a:gd name="connsiteX10" fmla="*/ 9308 w 45410"/>
                  <a:gd name="connsiteY10" fmla="*/ 24307 h 57657"/>
                  <a:gd name="connsiteX11" fmla="*/ 25385 w 45410"/>
                  <a:gd name="connsiteY11" fmla="*/ 24307 h 57657"/>
                  <a:gd name="connsiteX12" fmla="*/ 32436 w 45410"/>
                  <a:gd name="connsiteY12" fmla="*/ 22328 h 57657"/>
                  <a:gd name="connsiteX13" fmla="*/ 34692 w 45410"/>
                  <a:gd name="connsiteY13" fmla="*/ 16110 h 57657"/>
                  <a:gd name="connsiteX14" fmla="*/ 32436 w 45410"/>
                  <a:gd name="connsiteY14" fmla="*/ 9892 h 57657"/>
                  <a:gd name="connsiteX15" fmla="*/ 24538 w 45410"/>
                  <a:gd name="connsiteY15" fmla="*/ 8196 h 57657"/>
                  <a:gd name="connsiteX16" fmla="*/ 0 w 45410"/>
                  <a:gd name="connsiteY16" fmla="*/ 57375 h 57657"/>
                  <a:gd name="connsiteX17" fmla="*/ 0 w 45410"/>
                  <a:gd name="connsiteY17" fmla="*/ 0 h 57657"/>
                  <a:gd name="connsiteX18" fmla="*/ 24538 w 45410"/>
                  <a:gd name="connsiteY18" fmla="*/ 0 h 57657"/>
                  <a:gd name="connsiteX19" fmla="*/ 38923 w 45410"/>
                  <a:gd name="connsiteY19" fmla="*/ 3957 h 57657"/>
                  <a:gd name="connsiteX20" fmla="*/ 44000 w 45410"/>
                  <a:gd name="connsiteY20" fmla="*/ 15545 h 57657"/>
                  <a:gd name="connsiteX21" fmla="*/ 42308 w 45410"/>
                  <a:gd name="connsiteY21" fmla="*/ 22328 h 57657"/>
                  <a:gd name="connsiteX22" fmla="*/ 35821 w 45410"/>
                  <a:gd name="connsiteY22" fmla="*/ 27698 h 57657"/>
                  <a:gd name="connsiteX23" fmla="*/ 43154 w 45410"/>
                  <a:gd name="connsiteY23" fmla="*/ 32786 h 57657"/>
                  <a:gd name="connsiteX24" fmla="*/ 45410 w 45410"/>
                  <a:gd name="connsiteY24" fmla="*/ 41265 h 57657"/>
                  <a:gd name="connsiteX25" fmla="*/ 40897 w 45410"/>
                  <a:gd name="connsiteY25" fmla="*/ 53135 h 57657"/>
                  <a:gd name="connsiteX26" fmla="*/ 26231 w 45410"/>
                  <a:gd name="connsiteY26" fmla="*/ 57657 h 57657"/>
                  <a:gd name="connsiteX27" fmla="*/ 0 w 45410"/>
                  <a:gd name="connsiteY27" fmla="*/ 57657 h 5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5410" h="57657">
                    <a:moveTo>
                      <a:pt x="26231" y="32220"/>
                    </a:moveTo>
                    <a:lnTo>
                      <a:pt x="9308" y="32220"/>
                    </a:lnTo>
                    <a:lnTo>
                      <a:pt x="9308" y="49178"/>
                    </a:lnTo>
                    <a:lnTo>
                      <a:pt x="26231" y="49178"/>
                    </a:lnTo>
                    <a:cubicBezTo>
                      <a:pt x="29897" y="49178"/>
                      <a:pt x="32436" y="48330"/>
                      <a:pt x="34128" y="46917"/>
                    </a:cubicBezTo>
                    <a:cubicBezTo>
                      <a:pt x="35538" y="45504"/>
                      <a:pt x="36385" y="43526"/>
                      <a:pt x="36385" y="40699"/>
                    </a:cubicBezTo>
                    <a:cubicBezTo>
                      <a:pt x="36385" y="37590"/>
                      <a:pt x="35538" y="35612"/>
                      <a:pt x="33846" y="34199"/>
                    </a:cubicBezTo>
                    <a:cubicBezTo>
                      <a:pt x="32436" y="33068"/>
                      <a:pt x="29897" y="32220"/>
                      <a:pt x="26231" y="32220"/>
                    </a:cubicBezTo>
                    <a:moveTo>
                      <a:pt x="24538" y="8196"/>
                    </a:moveTo>
                    <a:lnTo>
                      <a:pt x="9308" y="8196"/>
                    </a:lnTo>
                    <a:lnTo>
                      <a:pt x="9308" y="24307"/>
                    </a:lnTo>
                    <a:lnTo>
                      <a:pt x="25385" y="24307"/>
                    </a:lnTo>
                    <a:cubicBezTo>
                      <a:pt x="28487" y="24307"/>
                      <a:pt x="31026" y="23741"/>
                      <a:pt x="32436" y="22328"/>
                    </a:cubicBezTo>
                    <a:cubicBezTo>
                      <a:pt x="34128" y="20915"/>
                      <a:pt x="34692" y="18937"/>
                      <a:pt x="34692" y="16110"/>
                    </a:cubicBezTo>
                    <a:cubicBezTo>
                      <a:pt x="34692" y="13284"/>
                      <a:pt x="33846" y="11305"/>
                      <a:pt x="32436" y="9892"/>
                    </a:cubicBezTo>
                    <a:cubicBezTo>
                      <a:pt x="31308" y="9044"/>
                      <a:pt x="28487" y="8196"/>
                      <a:pt x="24538" y="8196"/>
                    </a:cubicBezTo>
                    <a:moveTo>
                      <a:pt x="0" y="57375"/>
                    </a:moveTo>
                    <a:lnTo>
                      <a:pt x="0" y="0"/>
                    </a:lnTo>
                    <a:lnTo>
                      <a:pt x="24538" y="0"/>
                    </a:lnTo>
                    <a:cubicBezTo>
                      <a:pt x="30744" y="0"/>
                      <a:pt x="35538" y="1413"/>
                      <a:pt x="38923" y="3957"/>
                    </a:cubicBezTo>
                    <a:cubicBezTo>
                      <a:pt x="42308" y="6501"/>
                      <a:pt x="44000" y="10457"/>
                      <a:pt x="44000" y="15545"/>
                    </a:cubicBezTo>
                    <a:cubicBezTo>
                      <a:pt x="44000" y="17806"/>
                      <a:pt x="43436" y="20067"/>
                      <a:pt x="42308" y="22328"/>
                    </a:cubicBezTo>
                    <a:cubicBezTo>
                      <a:pt x="41180" y="24589"/>
                      <a:pt x="39205" y="26568"/>
                      <a:pt x="35821" y="27698"/>
                    </a:cubicBezTo>
                    <a:cubicBezTo>
                      <a:pt x="39205" y="28829"/>
                      <a:pt x="41744" y="30524"/>
                      <a:pt x="43154" y="32786"/>
                    </a:cubicBezTo>
                    <a:cubicBezTo>
                      <a:pt x="44564" y="35047"/>
                      <a:pt x="45410" y="37873"/>
                      <a:pt x="45410" y="41265"/>
                    </a:cubicBezTo>
                    <a:cubicBezTo>
                      <a:pt x="45410" y="46069"/>
                      <a:pt x="44000" y="50026"/>
                      <a:pt x="40897" y="53135"/>
                    </a:cubicBezTo>
                    <a:cubicBezTo>
                      <a:pt x="37795" y="55962"/>
                      <a:pt x="33000" y="57657"/>
                      <a:pt x="26231" y="57657"/>
                    </a:cubicBezTo>
                    <a:lnTo>
                      <a:pt x="0" y="57657"/>
                    </a:lnTo>
                    <a:close/>
                  </a:path>
                </a:pathLst>
              </a:custGeom>
              <a:solidFill>
                <a:srgbClr val="7F8183"/>
              </a:solidFill>
              <a:ln w="2790" cap="flat">
                <a:noFill/>
                <a:prstDash val="solid"/>
                <a:miter/>
              </a:ln>
            </p:spPr>
            <p:txBody>
              <a:bodyPr rtlCol="0" anchor="ctr"/>
              <a:lstStyle/>
              <a:p>
                <a:endParaRPr lang="x-none" sz="1905"/>
              </a:p>
            </p:txBody>
          </p:sp>
          <p:sp>
            <p:nvSpPr>
              <p:cNvPr id="7" name="Freeform 6">
                <a:extLst>
                  <a:ext uri="{FF2B5EF4-FFF2-40B4-BE49-F238E27FC236}">
                    <a16:creationId xmlns:a16="http://schemas.microsoft.com/office/drawing/2014/main" id="{B7564595-5E22-8641-B588-924F73BADF4C}"/>
                  </a:ext>
                </a:extLst>
              </p:cNvPr>
              <p:cNvSpPr/>
              <p:nvPr/>
            </p:nvSpPr>
            <p:spPr>
              <a:xfrm>
                <a:off x="1472208" y="5811307"/>
                <a:ext cx="51333" cy="59635"/>
              </a:xfrm>
              <a:custGeom>
                <a:avLst/>
                <a:gdLst>
                  <a:gd name="connsiteX0" fmla="*/ 26795 w 51333"/>
                  <a:gd name="connsiteY0" fmla="*/ 7914 h 59635"/>
                  <a:gd name="connsiteX1" fmla="*/ 15795 w 51333"/>
                  <a:gd name="connsiteY1" fmla="*/ 12153 h 59635"/>
                  <a:gd name="connsiteX2" fmla="*/ 10154 w 51333"/>
                  <a:gd name="connsiteY2" fmla="*/ 23176 h 59635"/>
                  <a:gd name="connsiteX3" fmla="*/ 42308 w 51333"/>
                  <a:gd name="connsiteY3" fmla="*/ 23176 h 59635"/>
                  <a:gd name="connsiteX4" fmla="*/ 38359 w 51333"/>
                  <a:gd name="connsiteY4" fmla="*/ 12153 h 59635"/>
                  <a:gd name="connsiteX5" fmla="*/ 26795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8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795" y="7914"/>
                    </a:moveTo>
                    <a:cubicBezTo>
                      <a:pt x="22282" y="7914"/>
                      <a:pt x="18615" y="9327"/>
                      <a:pt x="15795" y="12153"/>
                    </a:cubicBezTo>
                    <a:cubicBezTo>
                      <a:pt x="12692" y="14980"/>
                      <a:pt x="11000" y="18654"/>
                      <a:pt x="10154" y="23176"/>
                    </a:cubicBezTo>
                    <a:lnTo>
                      <a:pt x="42308" y="23176"/>
                    </a:lnTo>
                    <a:cubicBezTo>
                      <a:pt x="42026" y="18654"/>
                      <a:pt x="40615" y="14980"/>
                      <a:pt x="38359" y="12153"/>
                    </a:cubicBezTo>
                    <a:cubicBezTo>
                      <a:pt x="35256" y="9327"/>
                      <a:pt x="31590" y="7914"/>
                      <a:pt x="26795"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8"/>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9" name="Freeform 8">
                <a:extLst>
                  <a:ext uri="{FF2B5EF4-FFF2-40B4-BE49-F238E27FC236}">
                    <a16:creationId xmlns:a16="http://schemas.microsoft.com/office/drawing/2014/main" id="{3AC51489-6AE5-B24B-AC3B-E1E38FC999B9}"/>
                  </a:ext>
                </a:extLst>
              </p:cNvPr>
              <p:cNvSpPr/>
              <p:nvPr/>
            </p:nvSpPr>
            <p:spPr>
              <a:xfrm>
                <a:off x="1537644" y="5810742"/>
                <a:ext cx="54153" cy="82246"/>
              </a:xfrm>
              <a:custGeom>
                <a:avLst/>
                <a:gdLst>
                  <a:gd name="connsiteX0" fmla="*/ 9590 w 54153"/>
                  <a:gd name="connsiteY0" fmla="*/ 34764 h 82246"/>
                  <a:gd name="connsiteX1" fmla="*/ 14949 w 54153"/>
                  <a:gd name="connsiteY1" fmla="*/ 46917 h 82246"/>
                  <a:gd name="connsiteX2" fmla="*/ 27641 w 54153"/>
                  <a:gd name="connsiteY2" fmla="*/ 51439 h 82246"/>
                  <a:gd name="connsiteX3" fmla="*/ 40051 w 54153"/>
                  <a:gd name="connsiteY3" fmla="*/ 45504 h 82246"/>
                  <a:gd name="connsiteX4" fmla="*/ 44564 w 54153"/>
                  <a:gd name="connsiteY4" fmla="*/ 29677 h 82246"/>
                  <a:gd name="connsiteX5" fmla="*/ 40051 w 54153"/>
                  <a:gd name="connsiteY5" fmla="*/ 14414 h 82246"/>
                  <a:gd name="connsiteX6" fmla="*/ 27359 w 54153"/>
                  <a:gd name="connsiteY6" fmla="*/ 8479 h 82246"/>
                  <a:gd name="connsiteX7" fmla="*/ 20872 w 54153"/>
                  <a:gd name="connsiteY7" fmla="*/ 9610 h 82246"/>
                  <a:gd name="connsiteX8" fmla="*/ 15231 w 54153"/>
                  <a:gd name="connsiteY8" fmla="*/ 13284 h 82246"/>
                  <a:gd name="connsiteX9" fmla="*/ 11282 w 54153"/>
                  <a:gd name="connsiteY9" fmla="*/ 19219 h 82246"/>
                  <a:gd name="connsiteX10" fmla="*/ 9872 w 54153"/>
                  <a:gd name="connsiteY10" fmla="*/ 27416 h 82246"/>
                  <a:gd name="connsiteX11" fmla="*/ 9872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590" y="34764"/>
                    </a:moveTo>
                    <a:cubicBezTo>
                      <a:pt x="9590" y="40134"/>
                      <a:pt x="11282" y="44091"/>
                      <a:pt x="14949" y="46917"/>
                    </a:cubicBezTo>
                    <a:cubicBezTo>
                      <a:pt x="18615" y="49744"/>
                      <a:pt x="22846" y="51439"/>
                      <a:pt x="27641" y="51439"/>
                    </a:cubicBezTo>
                    <a:cubicBezTo>
                      <a:pt x="33000" y="51439"/>
                      <a:pt x="36949" y="49461"/>
                      <a:pt x="40051" y="45504"/>
                    </a:cubicBezTo>
                    <a:cubicBezTo>
                      <a:pt x="43154" y="41547"/>
                      <a:pt x="44564" y="36460"/>
                      <a:pt x="44564" y="29677"/>
                    </a:cubicBezTo>
                    <a:cubicBezTo>
                      <a:pt x="44564" y="23459"/>
                      <a:pt x="43154" y="18371"/>
                      <a:pt x="40051" y="14414"/>
                    </a:cubicBezTo>
                    <a:cubicBezTo>
                      <a:pt x="36949" y="10457"/>
                      <a:pt x="32718" y="8479"/>
                      <a:pt x="27359" y="8479"/>
                    </a:cubicBezTo>
                    <a:cubicBezTo>
                      <a:pt x="25103" y="8479"/>
                      <a:pt x="22846" y="8762"/>
                      <a:pt x="20872" y="9610"/>
                    </a:cubicBezTo>
                    <a:cubicBezTo>
                      <a:pt x="18897" y="10457"/>
                      <a:pt x="16923" y="11588"/>
                      <a:pt x="15231" y="13284"/>
                    </a:cubicBezTo>
                    <a:cubicBezTo>
                      <a:pt x="13538" y="14980"/>
                      <a:pt x="12128" y="16958"/>
                      <a:pt x="11282" y="19219"/>
                    </a:cubicBezTo>
                    <a:cubicBezTo>
                      <a:pt x="10154" y="21763"/>
                      <a:pt x="9872" y="24307"/>
                      <a:pt x="9872" y="27416"/>
                    </a:cubicBezTo>
                    <a:lnTo>
                      <a:pt x="9872" y="34764"/>
                    </a:lnTo>
                    <a:close/>
                    <a:moveTo>
                      <a:pt x="0" y="82247"/>
                    </a:moveTo>
                    <a:lnTo>
                      <a:pt x="0" y="1413"/>
                    </a:lnTo>
                    <a:lnTo>
                      <a:pt x="9590" y="1413"/>
                    </a:lnTo>
                    <a:lnTo>
                      <a:pt x="9590" y="9044"/>
                    </a:lnTo>
                    <a:cubicBezTo>
                      <a:pt x="11564" y="6218"/>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grpSp>
        <p:sp>
          <p:nvSpPr>
            <p:cNvPr id="17" name="Freeform 16">
              <a:extLst>
                <a:ext uri="{FF2B5EF4-FFF2-40B4-BE49-F238E27FC236}">
                  <a16:creationId xmlns:a16="http://schemas.microsoft.com/office/drawing/2014/main" id="{6F85AE05-D717-1B44-96DC-830799FD25EC}"/>
                </a:ext>
              </a:extLst>
            </p:cNvPr>
            <p:cNvSpPr/>
            <p:nvPr/>
          </p:nvSpPr>
          <p:spPr>
            <a:xfrm>
              <a:off x="1606183" y="5812155"/>
              <a:ext cx="75307" cy="57374"/>
            </a:xfrm>
            <a:custGeom>
              <a:avLst/>
              <a:gdLst>
                <a:gd name="connsiteX0" fmla="*/ 75308 w 75307"/>
                <a:gd name="connsiteY0" fmla="*/ 0 h 57374"/>
                <a:gd name="connsiteX1" fmla="*/ 75308 w 75307"/>
                <a:gd name="connsiteY1" fmla="*/ 57375 h 57374"/>
                <a:gd name="connsiteX2" fmla="*/ 0 w 75307"/>
                <a:gd name="connsiteY2" fmla="*/ 57375 h 57374"/>
                <a:gd name="connsiteX3" fmla="*/ 0 w 75307"/>
                <a:gd name="connsiteY3" fmla="*/ 0 h 57374"/>
                <a:gd name="connsiteX4" fmla="*/ 9590 w 75307"/>
                <a:gd name="connsiteY4" fmla="*/ 0 h 57374"/>
                <a:gd name="connsiteX5" fmla="*/ 9590 w 75307"/>
                <a:gd name="connsiteY5" fmla="*/ 48613 h 57374"/>
                <a:gd name="connsiteX6" fmla="*/ 33000 w 75307"/>
                <a:gd name="connsiteY6" fmla="*/ 48613 h 57374"/>
                <a:gd name="connsiteX7" fmla="*/ 33000 w 75307"/>
                <a:gd name="connsiteY7" fmla="*/ 0 h 57374"/>
                <a:gd name="connsiteX8" fmla="*/ 42308 w 75307"/>
                <a:gd name="connsiteY8" fmla="*/ 0 h 57374"/>
                <a:gd name="connsiteX9" fmla="*/ 42308 w 75307"/>
                <a:gd name="connsiteY9" fmla="*/ 48613 h 57374"/>
                <a:gd name="connsiteX10" fmla="*/ 65718 w 75307"/>
                <a:gd name="connsiteY10" fmla="*/ 48613 h 57374"/>
                <a:gd name="connsiteX11" fmla="*/ 65718 w 75307"/>
                <a:gd name="connsiteY11" fmla="*/ 0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307" h="57374">
                  <a:moveTo>
                    <a:pt x="75308" y="0"/>
                  </a:moveTo>
                  <a:lnTo>
                    <a:pt x="75308" y="57375"/>
                  </a:lnTo>
                  <a:lnTo>
                    <a:pt x="0" y="57375"/>
                  </a:lnTo>
                  <a:lnTo>
                    <a:pt x="0" y="0"/>
                  </a:lnTo>
                  <a:lnTo>
                    <a:pt x="9590" y="0"/>
                  </a:lnTo>
                  <a:lnTo>
                    <a:pt x="9590" y="48613"/>
                  </a:lnTo>
                  <a:lnTo>
                    <a:pt x="33000" y="48613"/>
                  </a:lnTo>
                  <a:lnTo>
                    <a:pt x="33000" y="0"/>
                  </a:lnTo>
                  <a:lnTo>
                    <a:pt x="42308" y="0"/>
                  </a:lnTo>
                  <a:lnTo>
                    <a:pt x="42308" y="48613"/>
                  </a:lnTo>
                  <a:lnTo>
                    <a:pt x="65718" y="48613"/>
                  </a:lnTo>
                  <a:lnTo>
                    <a:pt x="65718" y="0"/>
                  </a:lnTo>
                  <a:close/>
                </a:path>
              </a:pathLst>
            </a:custGeom>
            <a:solidFill>
              <a:srgbClr val="7F8183"/>
            </a:solidFill>
            <a:ln w="2790" cap="flat">
              <a:noFill/>
              <a:prstDash val="solid"/>
              <a:miter/>
            </a:ln>
          </p:spPr>
          <p:txBody>
            <a:bodyPr rtlCol="0" anchor="ctr"/>
            <a:lstStyle/>
            <a:p>
              <a:endParaRPr lang="x-none" sz="1905"/>
            </a:p>
          </p:txBody>
        </p:sp>
        <p:sp>
          <p:nvSpPr>
            <p:cNvPr id="18" name="Freeform 17">
              <a:extLst>
                <a:ext uri="{FF2B5EF4-FFF2-40B4-BE49-F238E27FC236}">
                  <a16:creationId xmlns:a16="http://schemas.microsoft.com/office/drawing/2014/main" id="{13821BAE-ED59-EF49-8475-A4760287AA34}"/>
                </a:ext>
              </a:extLst>
            </p:cNvPr>
            <p:cNvSpPr/>
            <p:nvPr/>
          </p:nvSpPr>
          <p:spPr>
            <a:xfrm>
              <a:off x="1695593" y="5811307"/>
              <a:ext cx="51615" cy="59635"/>
            </a:xfrm>
            <a:custGeom>
              <a:avLst/>
              <a:gdLst>
                <a:gd name="connsiteX0" fmla="*/ 26795 w 51615"/>
                <a:gd name="connsiteY0" fmla="*/ 7914 h 59635"/>
                <a:gd name="connsiteX1" fmla="*/ 15795 w 51615"/>
                <a:gd name="connsiteY1" fmla="*/ 12153 h 59635"/>
                <a:gd name="connsiteX2" fmla="*/ 10154 w 51615"/>
                <a:gd name="connsiteY2" fmla="*/ 23176 h 59635"/>
                <a:gd name="connsiteX3" fmla="*/ 42308 w 51615"/>
                <a:gd name="connsiteY3" fmla="*/ 23176 h 59635"/>
                <a:gd name="connsiteX4" fmla="*/ 38359 w 51615"/>
                <a:gd name="connsiteY4" fmla="*/ 12153 h 59635"/>
                <a:gd name="connsiteX5" fmla="*/ 26795 w 51615"/>
                <a:gd name="connsiteY5" fmla="*/ 7914 h 59635"/>
                <a:gd name="connsiteX6" fmla="*/ 51615 w 51615"/>
                <a:gd name="connsiteY6" fmla="*/ 31372 h 59635"/>
                <a:gd name="connsiteX7" fmla="*/ 9590 w 51615"/>
                <a:gd name="connsiteY7" fmla="*/ 31372 h 59635"/>
                <a:gd name="connsiteX8" fmla="*/ 14949 w 51615"/>
                <a:gd name="connsiteY8" fmla="*/ 46069 h 59635"/>
                <a:gd name="connsiteX9" fmla="*/ 27077 w 51615"/>
                <a:gd name="connsiteY9" fmla="*/ 51157 h 59635"/>
                <a:gd name="connsiteX10" fmla="*/ 37513 w 51615"/>
                <a:gd name="connsiteY10" fmla="*/ 48048 h 59635"/>
                <a:gd name="connsiteX11" fmla="*/ 42308 w 51615"/>
                <a:gd name="connsiteY11" fmla="*/ 40699 h 59635"/>
                <a:gd name="connsiteX12" fmla="*/ 51333 w 51615"/>
                <a:gd name="connsiteY12" fmla="*/ 42395 h 59635"/>
                <a:gd name="connsiteX13" fmla="*/ 42872 w 51615"/>
                <a:gd name="connsiteY13" fmla="*/ 55114 h 59635"/>
                <a:gd name="connsiteX14" fmla="*/ 26795 w 51615"/>
                <a:gd name="connsiteY14" fmla="*/ 59636 h 59635"/>
                <a:gd name="connsiteX15" fmla="*/ 7333 w 51615"/>
                <a:gd name="connsiteY15" fmla="*/ 51722 h 59635"/>
                <a:gd name="connsiteX16" fmla="*/ 0 w 51615"/>
                <a:gd name="connsiteY16" fmla="*/ 29677 h 59635"/>
                <a:gd name="connsiteX17" fmla="*/ 1974 w 51615"/>
                <a:gd name="connsiteY17" fmla="*/ 16958 h 59635"/>
                <a:gd name="connsiteX18" fmla="*/ 7615 w 51615"/>
                <a:gd name="connsiteY18" fmla="*/ 7631 h 59635"/>
                <a:gd name="connsiteX19" fmla="*/ 16077 w 51615"/>
                <a:gd name="connsiteY19" fmla="*/ 1978 h 59635"/>
                <a:gd name="connsiteX20" fmla="*/ 26513 w 51615"/>
                <a:gd name="connsiteY20" fmla="*/ 0 h 59635"/>
                <a:gd name="connsiteX21" fmla="*/ 44564 w 51615"/>
                <a:gd name="connsiteY21" fmla="*/ 7348 h 59635"/>
                <a:gd name="connsiteX22" fmla="*/ 51333 w 51615"/>
                <a:gd name="connsiteY22" fmla="*/ 27698 h 59635"/>
                <a:gd name="connsiteX23" fmla="*/ 51333 w 51615"/>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615" h="59635">
                  <a:moveTo>
                    <a:pt x="26795" y="7914"/>
                  </a:moveTo>
                  <a:cubicBezTo>
                    <a:pt x="22282" y="7914"/>
                    <a:pt x="18615" y="9327"/>
                    <a:pt x="15795" y="12153"/>
                  </a:cubicBezTo>
                  <a:cubicBezTo>
                    <a:pt x="12692" y="14980"/>
                    <a:pt x="11000" y="18654"/>
                    <a:pt x="10154" y="23176"/>
                  </a:cubicBezTo>
                  <a:lnTo>
                    <a:pt x="42308" y="23176"/>
                  </a:lnTo>
                  <a:cubicBezTo>
                    <a:pt x="42026" y="18654"/>
                    <a:pt x="40615" y="14980"/>
                    <a:pt x="38359" y="12153"/>
                  </a:cubicBezTo>
                  <a:cubicBezTo>
                    <a:pt x="35539" y="9327"/>
                    <a:pt x="31590" y="7914"/>
                    <a:pt x="26795" y="7914"/>
                  </a:cubicBezTo>
                  <a:moveTo>
                    <a:pt x="51615"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8"/>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19" name="Freeform 18">
              <a:extLst>
                <a:ext uri="{FF2B5EF4-FFF2-40B4-BE49-F238E27FC236}">
                  <a16:creationId xmlns:a16="http://schemas.microsoft.com/office/drawing/2014/main" id="{B5C37FE3-3612-AF46-B14A-4E9AC2F3058A}"/>
                </a:ext>
              </a:extLst>
            </p:cNvPr>
            <p:cNvSpPr/>
            <p:nvPr/>
          </p:nvSpPr>
          <p:spPr>
            <a:xfrm>
              <a:off x="1761029" y="5812155"/>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20" name="Freeform 19">
              <a:extLst>
                <a:ext uri="{FF2B5EF4-FFF2-40B4-BE49-F238E27FC236}">
                  <a16:creationId xmlns:a16="http://schemas.microsoft.com/office/drawing/2014/main" id="{53041A46-B09F-B442-949D-446DFBE72AC5}"/>
                </a:ext>
              </a:extLst>
            </p:cNvPr>
            <p:cNvSpPr/>
            <p:nvPr/>
          </p:nvSpPr>
          <p:spPr>
            <a:xfrm>
              <a:off x="1825055" y="5810742"/>
              <a:ext cx="50769" cy="59918"/>
            </a:xfrm>
            <a:custGeom>
              <a:avLst/>
              <a:gdLst>
                <a:gd name="connsiteX0" fmla="*/ 41744 w 50769"/>
                <a:gd name="connsiteY0" fmla="*/ 40134 h 59918"/>
                <a:gd name="connsiteX1" fmla="*/ 50769 w 50769"/>
                <a:gd name="connsiteY1" fmla="*/ 41547 h 59918"/>
                <a:gd name="connsiteX2" fmla="*/ 43154 w 50769"/>
                <a:gd name="connsiteY2" fmla="*/ 54548 h 59918"/>
                <a:gd name="connsiteX3" fmla="*/ 26513 w 50769"/>
                <a:gd name="connsiteY3" fmla="*/ 59919 h 59918"/>
                <a:gd name="connsiteX4" fmla="*/ 7333 w 50769"/>
                <a:gd name="connsiteY4" fmla="*/ 52287 h 59918"/>
                <a:gd name="connsiteX5" fmla="*/ 0 w 50769"/>
                <a:gd name="connsiteY5" fmla="*/ 29959 h 59918"/>
                <a:gd name="connsiteX6" fmla="*/ 1974 w 50769"/>
                <a:gd name="connsiteY6" fmla="*/ 16675 h 59918"/>
                <a:gd name="connsiteX7" fmla="*/ 7615 w 50769"/>
                <a:gd name="connsiteY7" fmla="*/ 7348 h 59918"/>
                <a:gd name="connsiteX8" fmla="*/ 16077 w 50769"/>
                <a:gd name="connsiteY8" fmla="*/ 1696 h 59918"/>
                <a:gd name="connsiteX9" fmla="*/ 26513 w 50769"/>
                <a:gd name="connsiteY9" fmla="*/ 0 h 59918"/>
                <a:gd name="connsiteX10" fmla="*/ 43436 w 50769"/>
                <a:gd name="connsiteY10" fmla="*/ 5370 h 59918"/>
                <a:gd name="connsiteX11" fmla="*/ 50769 w 50769"/>
                <a:gd name="connsiteY11" fmla="*/ 18089 h 59918"/>
                <a:gd name="connsiteX12" fmla="*/ 42026 w 50769"/>
                <a:gd name="connsiteY12" fmla="*/ 19784 h 59918"/>
                <a:gd name="connsiteX13" fmla="*/ 37513 w 50769"/>
                <a:gd name="connsiteY13" fmla="*/ 12153 h 59918"/>
                <a:gd name="connsiteX14" fmla="*/ 26795 w 50769"/>
                <a:gd name="connsiteY14" fmla="*/ 8479 h 59918"/>
                <a:gd name="connsiteX15" fmla="*/ 14103 w 50769"/>
                <a:gd name="connsiteY15" fmla="*/ 14132 h 59918"/>
                <a:gd name="connsiteX16" fmla="*/ 9590 w 50769"/>
                <a:gd name="connsiteY16" fmla="*/ 29677 h 59918"/>
                <a:gd name="connsiteX17" fmla="*/ 14103 w 50769"/>
                <a:gd name="connsiteY17" fmla="*/ 45222 h 59918"/>
                <a:gd name="connsiteX18" fmla="*/ 26795 w 50769"/>
                <a:gd name="connsiteY18" fmla="*/ 51157 h 59918"/>
                <a:gd name="connsiteX19" fmla="*/ 37795 w 50769"/>
                <a:gd name="connsiteY19" fmla="*/ 47483 h 59918"/>
                <a:gd name="connsiteX20" fmla="*/ 41744 w 50769"/>
                <a:gd name="connsiteY20" fmla="*/ 40134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769" h="59918">
                  <a:moveTo>
                    <a:pt x="41744" y="40134"/>
                  </a:moveTo>
                  <a:lnTo>
                    <a:pt x="50769" y="41547"/>
                  </a:lnTo>
                  <a:cubicBezTo>
                    <a:pt x="49641" y="46635"/>
                    <a:pt x="47103" y="51157"/>
                    <a:pt x="43154" y="54548"/>
                  </a:cubicBezTo>
                  <a:cubicBezTo>
                    <a:pt x="39205" y="58223"/>
                    <a:pt x="33564" y="59919"/>
                    <a:pt x="26513" y="59919"/>
                  </a:cubicBezTo>
                  <a:cubicBezTo>
                    <a:pt x="18615" y="59919"/>
                    <a:pt x="12128" y="57375"/>
                    <a:pt x="7333" y="52287"/>
                  </a:cubicBezTo>
                  <a:cubicBezTo>
                    <a:pt x="2538" y="47200"/>
                    <a:pt x="0" y="39851"/>
                    <a:pt x="0" y="29959"/>
                  </a:cubicBezTo>
                  <a:cubicBezTo>
                    <a:pt x="0" y="24872"/>
                    <a:pt x="564" y="20350"/>
                    <a:pt x="1974" y="16675"/>
                  </a:cubicBezTo>
                  <a:cubicBezTo>
                    <a:pt x="3385" y="13001"/>
                    <a:pt x="5359" y="9892"/>
                    <a:pt x="7615" y="7348"/>
                  </a:cubicBezTo>
                  <a:cubicBezTo>
                    <a:pt x="9872" y="4805"/>
                    <a:pt x="12692" y="3109"/>
                    <a:pt x="16077" y="1696"/>
                  </a:cubicBezTo>
                  <a:cubicBezTo>
                    <a:pt x="19462" y="565"/>
                    <a:pt x="22846" y="0"/>
                    <a:pt x="26513" y="0"/>
                  </a:cubicBezTo>
                  <a:cubicBezTo>
                    <a:pt x="33846" y="0"/>
                    <a:pt x="39487" y="1696"/>
                    <a:pt x="43436" y="5370"/>
                  </a:cubicBezTo>
                  <a:cubicBezTo>
                    <a:pt x="47385" y="9044"/>
                    <a:pt x="49641" y="13284"/>
                    <a:pt x="50769" y="18089"/>
                  </a:cubicBezTo>
                  <a:lnTo>
                    <a:pt x="42026" y="19784"/>
                  </a:lnTo>
                  <a:cubicBezTo>
                    <a:pt x="41179" y="16958"/>
                    <a:pt x="39769" y="14414"/>
                    <a:pt x="37513" y="12153"/>
                  </a:cubicBezTo>
                  <a:cubicBezTo>
                    <a:pt x="35256" y="9892"/>
                    <a:pt x="31590" y="8479"/>
                    <a:pt x="26795" y="8479"/>
                  </a:cubicBezTo>
                  <a:cubicBezTo>
                    <a:pt x="21436" y="8479"/>
                    <a:pt x="17205" y="10457"/>
                    <a:pt x="14103" y="14132"/>
                  </a:cubicBezTo>
                  <a:cubicBezTo>
                    <a:pt x="11000" y="18089"/>
                    <a:pt x="9590" y="23176"/>
                    <a:pt x="9590" y="29677"/>
                  </a:cubicBezTo>
                  <a:cubicBezTo>
                    <a:pt x="9590" y="36177"/>
                    <a:pt x="11000" y="41265"/>
                    <a:pt x="14103" y="45222"/>
                  </a:cubicBezTo>
                  <a:cubicBezTo>
                    <a:pt x="16923" y="49178"/>
                    <a:pt x="21154" y="51157"/>
                    <a:pt x="26795" y="51157"/>
                  </a:cubicBezTo>
                  <a:cubicBezTo>
                    <a:pt x="31872" y="51157"/>
                    <a:pt x="35538" y="50026"/>
                    <a:pt x="37795" y="47483"/>
                  </a:cubicBezTo>
                  <a:cubicBezTo>
                    <a:pt x="39487" y="45504"/>
                    <a:pt x="40897" y="42960"/>
                    <a:pt x="41744" y="40134"/>
                  </a:cubicBezTo>
                </a:path>
              </a:pathLst>
            </a:custGeom>
            <a:solidFill>
              <a:srgbClr val="7F8183"/>
            </a:solidFill>
            <a:ln w="2790" cap="flat">
              <a:noFill/>
              <a:prstDash val="solid"/>
              <a:miter/>
            </a:ln>
          </p:spPr>
          <p:txBody>
            <a:bodyPr rtlCol="0" anchor="ctr"/>
            <a:lstStyle/>
            <a:p>
              <a:endParaRPr lang="x-none" sz="1905"/>
            </a:p>
          </p:txBody>
        </p:sp>
        <p:sp>
          <p:nvSpPr>
            <p:cNvPr id="21" name="Freeform 20">
              <a:extLst>
                <a:ext uri="{FF2B5EF4-FFF2-40B4-BE49-F238E27FC236}">
                  <a16:creationId xmlns:a16="http://schemas.microsoft.com/office/drawing/2014/main" id="{3ADF56F6-FF94-DB49-A1A5-A74AC9608AC7}"/>
                </a:ext>
              </a:extLst>
            </p:cNvPr>
            <p:cNvSpPr/>
            <p:nvPr/>
          </p:nvSpPr>
          <p:spPr>
            <a:xfrm>
              <a:off x="1882875" y="5812155"/>
              <a:ext cx="51333" cy="57374"/>
            </a:xfrm>
            <a:custGeom>
              <a:avLst/>
              <a:gdLst>
                <a:gd name="connsiteX0" fmla="*/ 0 w 51333"/>
                <a:gd name="connsiteY0" fmla="*/ 9044 h 57374"/>
                <a:gd name="connsiteX1" fmla="*/ 0 w 51333"/>
                <a:gd name="connsiteY1" fmla="*/ 0 h 57374"/>
                <a:gd name="connsiteX2" fmla="*/ 51333 w 51333"/>
                <a:gd name="connsiteY2" fmla="*/ 0 h 57374"/>
                <a:gd name="connsiteX3" fmla="*/ 51333 w 51333"/>
                <a:gd name="connsiteY3" fmla="*/ 9044 h 57374"/>
                <a:gd name="connsiteX4" fmla="*/ 30462 w 51333"/>
                <a:gd name="connsiteY4" fmla="*/ 9044 h 57374"/>
                <a:gd name="connsiteX5" fmla="*/ 30462 w 51333"/>
                <a:gd name="connsiteY5" fmla="*/ 57375 h 57374"/>
                <a:gd name="connsiteX6" fmla="*/ 20872 w 51333"/>
                <a:gd name="connsiteY6" fmla="*/ 57375 h 57374"/>
                <a:gd name="connsiteX7" fmla="*/ 20872 w 51333"/>
                <a:gd name="connsiteY7" fmla="*/ 9044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333" h="57374">
                  <a:moveTo>
                    <a:pt x="0" y="9044"/>
                  </a:moveTo>
                  <a:lnTo>
                    <a:pt x="0" y="0"/>
                  </a:lnTo>
                  <a:lnTo>
                    <a:pt x="51333" y="0"/>
                  </a:lnTo>
                  <a:lnTo>
                    <a:pt x="51333" y="9044"/>
                  </a:lnTo>
                  <a:lnTo>
                    <a:pt x="30462" y="9044"/>
                  </a:lnTo>
                  <a:lnTo>
                    <a:pt x="30462" y="57375"/>
                  </a:lnTo>
                  <a:lnTo>
                    <a:pt x="20872" y="57375"/>
                  </a:lnTo>
                  <a:lnTo>
                    <a:pt x="20872" y="9044"/>
                  </a:lnTo>
                  <a:close/>
                </a:path>
              </a:pathLst>
            </a:custGeom>
            <a:solidFill>
              <a:srgbClr val="7F8183"/>
            </a:solidFill>
            <a:ln w="2790" cap="flat">
              <a:noFill/>
              <a:prstDash val="solid"/>
              <a:miter/>
            </a:ln>
          </p:spPr>
          <p:txBody>
            <a:bodyPr rtlCol="0" anchor="ctr"/>
            <a:lstStyle/>
            <a:p>
              <a:endParaRPr lang="x-none" sz="1905"/>
            </a:p>
          </p:txBody>
        </p:sp>
        <p:grpSp>
          <p:nvGrpSpPr>
            <p:cNvPr id="22" name="Graphic 13">
              <a:extLst>
                <a:ext uri="{FF2B5EF4-FFF2-40B4-BE49-F238E27FC236}">
                  <a16:creationId xmlns:a16="http://schemas.microsoft.com/office/drawing/2014/main" id="{07D8688A-A1C6-824F-9702-4CAFEFF7A0AA}"/>
                </a:ext>
              </a:extLst>
            </p:cNvPr>
            <p:cNvGrpSpPr/>
            <p:nvPr/>
          </p:nvGrpSpPr>
          <p:grpSpPr>
            <a:xfrm>
              <a:off x="1946055" y="5811024"/>
              <a:ext cx="110282" cy="59918"/>
              <a:chOff x="1946055" y="5811024"/>
              <a:chExt cx="110282" cy="59918"/>
            </a:xfrm>
            <a:solidFill>
              <a:srgbClr val="CFD4D9"/>
            </a:solidFill>
          </p:grpSpPr>
          <p:sp>
            <p:nvSpPr>
              <p:cNvPr id="24" name="Freeform 23">
                <a:extLst>
                  <a:ext uri="{FF2B5EF4-FFF2-40B4-BE49-F238E27FC236}">
                    <a16:creationId xmlns:a16="http://schemas.microsoft.com/office/drawing/2014/main" id="{F3DBE123-7DDD-B049-91F1-6B23E00BCE77}"/>
                  </a:ext>
                </a:extLst>
              </p:cNvPr>
              <p:cNvSpPr/>
              <p:nvPr/>
            </p:nvSpPr>
            <p:spPr>
              <a:xfrm>
                <a:off x="1946055" y="5812155"/>
                <a:ext cx="45410" cy="57657"/>
              </a:xfrm>
              <a:custGeom>
                <a:avLst/>
                <a:gdLst>
                  <a:gd name="connsiteX0" fmla="*/ 26231 w 45410"/>
                  <a:gd name="connsiteY0" fmla="*/ 32220 h 57657"/>
                  <a:gd name="connsiteX1" fmla="*/ 9308 w 45410"/>
                  <a:gd name="connsiteY1" fmla="*/ 32220 h 57657"/>
                  <a:gd name="connsiteX2" fmla="*/ 9308 w 45410"/>
                  <a:gd name="connsiteY2" fmla="*/ 49178 h 57657"/>
                  <a:gd name="connsiteX3" fmla="*/ 26231 w 45410"/>
                  <a:gd name="connsiteY3" fmla="*/ 49178 h 57657"/>
                  <a:gd name="connsiteX4" fmla="*/ 34128 w 45410"/>
                  <a:gd name="connsiteY4" fmla="*/ 46917 h 57657"/>
                  <a:gd name="connsiteX5" fmla="*/ 36385 w 45410"/>
                  <a:gd name="connsiteY5" fmla="*/ 40699 h 57657"/>
                  <a:gd name="connsiteX6" fmla="*/ 33846 w 45410"/>
                  <a:gd name="connsiteY6" fmla="*/ 34199 h 57657"/>
                  <a:gd name="connsiteX7" fmla="*/ 26231 w 45410"/>
                  <a:gd name="connsiteY7" fmla="*/ 32220 h 57657"/>
                  <a:gd name="connsiteX8" fmla="*/ 24538 w 45410"/>
                  <a:gd name="connsiteY8" fmla="*/ 8196 h 57657"/>
                  <a:gd name="connsiteX9" fmla="*/ 9308 w 45410"/>
                  <a:gd name="connsiteY9" fmla="*/ 8196 h 57657"/>
                  <a:gd name="connsiteX10" fmla="*/ 9308 w 45410"/>
                  <a:gd name="connsiteY10" fmla="*/ 24307 h 57657"/>
                  <a:gd name="connsiteX11" fmla="*/ 25385 w 45410"/>
                  <a:gd name="connsiteY11" fmla="*/ 24307 h 57657"/>
                  <a:gd name="connsiteX12" fmla="*/ 32436 w 45410"/>
                  <a:gd name="connsiteY12" fmla="*/ 22328 h 57657"/>
                  <a:gd name="connsiteX13" fmla="*/ 34692 w 45410"/>
                  <a:gd name="connsiteY13" fmla="*/ 16110 h 57657"/>
                  <a:gd name="connsiteX14" fmla="*/ 32436 w 45410"/>
                  <a:gd name="connsiteY14" fmla="*/ 9892 h 57657"/>
                  <a:gd name="connsiteX15" fmla="*/ 24538 w 45410"/>
                  <a:gd name="connsiteY15" fmla="*/ 8196 h 57657"/>
                  <a:gd name="connsiteX16" fmla="*/ 0 w 45410"/>
                  <a:gd name="connsiteY16" fmla="*/ 57375 h 57657"/>
                  <a:gd name="connsiteX17" fmla="*/ 0 w 45410"/>
                  <a:gd name="connsiteY17" fmla="*/ 0 h 57657"/>
                  <a:gd name="connsiteX18" fmla="*/ 24538 w 45410"/>
                  <a:gd name="connsiteY18" fmla="*/ 0 h 57657"/>
                  <a:gd name="connsiteX19" fmla="*/ 38923 w 45410"/>
                  <a:gd name="connsiteY19" fmla="*/ 3957 h 57657"/>
                  <a:gd name="connsiteX20" fmla="*/ 44000 w 45410"/>
                  <a:gd name="connsiteY20" fmla="*/ 15545 h 57657"/>
                  <a:gd name="connsiteX21" fmla="*/ 42308 w 45410"/>
                  <a:gd name="connsiteY21" fmla="*/ 22328 h 57657"/>
                  <a:gd name="connsiteX22" fmla="*/ 35821 w 45410"/>
                  <a:gd name="connsiteY22" fmla="*/ 27698 h 57657"/>
                  <a:gd name="connsiteX23" fmla="*/ 43154 w 45410"/>
                  <a:gd name="connsiteY23" fmla="*/ 32786 h 57657"/>
                  <a:gd name="connsiteX24" fmla="*/ 45410 w 45410"/>
                  <a:gd name="connsiteY24" fmla="*/ 41265 h 57657"/>
                  <a:gd name="connsiteX25" fmla="*/ 40898 w 45410"/>
                  <a:gd name="connsiteY25" fmla="*/ 53135 h 57657"/>
                  <a:gd name="connsiteX26" fmla="*/ 26231 w 45410"/>
                  <a:gd name="connsiteY26" fmla="*/ 57657 h 57657"/>
                  <a:gd name="connsiteX27" fmla="*/ 0 w 45410"/>
                  <a:gd name="connsiteY27" fmla="*/ 57657 h 5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5410" h="57657">
                    <a:moveTo>
                      <a:pt x="26231" y="32220"/>
                    </a:moveTo>
                    <a:lnTo>
                      <a:pt x="9308" y="32220"/>
                    </a:lnTo>
                    <a:lnTo>
                      <a:pt x="9308" y="49178"/>
                    </a:lnTo>
                    <a:lnTo>
                      <a:pt x="26231" y="49178"/>
                    </a:lnTo>
                    <a:cubicBezTo>
                      <a:pt x="29897" y="49178"/>
                      <a:pt x="32436" y="48330"/>
                      <a:pt x="34128" y="46917"/>
                    </a:cubicBezTo>
                    <a:cubicBezTo>
                      <a:pt x="35538" y="45504"/>
                      <a:pt x="36385" y="43526"/>
                      <a:pt x="36385" y="40699"/>
                    </a:cubicBezTo>
                    <a:cubicBezTo>
                      <a:pt x="36385" y="37590"/>
                      <a:pt x="35538" y="35612"/>
                      <a:pt x="33846" y="34199"/>
                    </a:cubicBezTo>
                    <a:cubicBezTo>
                      <a:pt x="32436" y="33068"/>
                      <a:pt x="29897" y="32220"/>
                      <a:pt x="26231" y="32220"/>
                    </a:cubicBezTo>
                    <a:moveTo>
                      <a:pt x="24538" y="8196"/>
                    </a:moveTo>
                    <a:lnTo>
                      <a:pt x="9308" y="8196"/>
                    </a:lnTo>
                    <a:lnTo>
                      <a:pt x="9308" y="24307"/>
                    </a:lnTo>
                    <a:lnTo>
                      <a:pt x="25385" y="24307"/>
                    </a:lnTo>
                    <a:cubicBezTo>
                      <a:pt x="28487" y="24307"/>
                      <a:pt x="31026" y="23741"/>
                      <a:pt x="32436" y="22328"/>
                    </a:cubicBezTo>
                    <a:cubicBezTo>
                      <a:pt x="34128" y="20915"/>
                      <a:pt x="34692" y="18937"/>
                      <a:pt x="34692" y="16110"/>
                    </a:cubicBezTo>
                    <a:cubicBezTo>
                      <a:pt x="34692" y="13284"/>
                      <a:pt x="33846" y="11305"/>
                      <a:pt x="32436" y="9892"/>
                    </a:cubicBezTo>
                    <a:cubicBezTo>
                      <a:pt x="31308" y="9044"/>
                      <a:pt x="28487" y="8196"/>
                      <a:pt x="24538" y="8196"/>
                    </a:cubicBezTo>
                    <a:moveTo>
                      <a:pt x="0" y="57375"/>
                    </a:moveTo>
                    <a:lnTo>
                      <a:pt x="0" y="0"/>
                    </a:lnTo>
                    <a:lnTo>
                      <a:pt x="24538" y="0"/>
                    </a:lnTo>
                    <a:cubicBezTo>
                      <a:pt x="30744" y="0"/>
                      <a:pt x="35538" y="1413"/>
                      <a:pt x="38923" y="3957"/>
                    </a:cubicBezTo>
                    <a:cubicBezTo>
                      <a:pt x="42308" y="6501"/>
                      <a:pt x="44000" y="10457"/>
                      <a:pt x="44000" y="15545"/>
                    </a:cubicBezTo>
                    <a:cubicBezTo>
                      <a:pt x="44000" y="17806"/>
                      <a:pt x="43436" y="20067"/>
                      <a:pt x="42308" y="22328"/>
                    </a:cubicBezTo>
                    <a:cubicBezTo>
                      <a:pt x="41179" y="24589"/>
                      <a:pt x="39205" y="26568"/>
                      <a:pt x="35821" y="27698"/>
                    </a:cubicBezTo>
                    <a:cubicBezTo>
                      <a:pt x="39205" y="28829"/>
                      <a:pt x="41744" y="30524"/>
                      <a:pt x="43154" y="32786"/>
                    </a:cubicBezTo>
                    <a:cubicBezTo>
                      <a:pt x="44564" y="35047"/>
                      <a:pt x="45410" y="37873"/>
                      <a:pt x="45410" y="41265"/>
                    </a:cubicBezTo>
                    <a:cubicBezTo>
                      <a:pt x="45410" y="46069"/>
                      <a:pt x="44000" y="50026"/>
                      <a:pt x="40898" y="53135"/>
                    </a:cubicBezTo>
                    <a:cubicBezTo>
                      <a:pt x="37795" y="55962"/>
                      <a:pt x="33000" y="57657"/>
                      <a:pt x="26231" y="57657"/>
                    </a:cubicBezTo>
                    <a:lnTo>
                      <a:pt x="0" y="57657"/>
                    </a:lnTo>
                    <a:close/>
                  </a:path>
                </a:pathLst>
              </a:custGeom>
              <a:solidFill>
                <a:srgbClr val="7F8183"/>
              </a:solidFill>
              <a:ln w="2790" cap="flat">
                <a:noFill/>
                <a:prstDash val="solid"/>
                <a:miter/>
              </a:ln>
            </p:spPr>
            <p:txBody>
              <a:bodyPr rtlCol="0" anchor="ctr"/>
              <a:lstStyle/>
              <a:p>
                <a:endParaRPr lang="x-none" sz="1905"/>
              </a:p>
            </p:txBody>
          </p:sp>
          <p:sp>
            <p:nvSpPr>
              <p:cNvPr id="25" name="Freeform 24">
                <a:extLst>
                  <a:ext uri="{FF2B5EF4-FFF2-40B4-BE49-F238E27FC236}">
                    <a16:creationId xmlns:a16="http://schemas.microsoft.com/office/drawing/2014/main" id="{D89E6EF4-F77E-4D4C-9728-8808DAF95249}"/>
                  </a:ext>
                </a:extLst>
              </p:cNvPr>
              <p:cNvSpPr/>
              <p:nvPr/>
            </p:nvSpPr>
            <p:spPr>
              <a:xfrm>
                <a:off x="2002465" y="5811024"/>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487" y="49461"/>
                      <a:pt x="21718"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764"/>
                      <a:pt x="0" y="29959"/>
                    </a:cubicBezTo>
                    <a:cubicBezTo>
                      <a:pt x="0" y="20350"/>
                      <a:pt x="2538" y="13001"/>
                      <a:pt x="7615" y="7914"/>
                    </a:cubicBezTo>
                    <a:cubicBezTo>
                      <a:pt x="12692" y="2826"/>
                      <a:pt x="19179" y="0"/>
                      <a:pt x="27359" y="0"/>
                    </a:cubicBezTo>
                    <a:cubicBezTo>
                      <a:pt x="35256" y="0"/>
                      <a:pt x="41744" y="2544"/>
                      <a:pt x="46539" y="7914"/>
                    </a:cubicBezTo>
                    <a:cubicBezTo>
                      <a:pt x="51333" y="13001"/>
                      <a:pt x="53872" y="20350"/>
                      <a:pt x="53872" y="29959"/>
                    </a:cubicBezTo>
                    <a:cubicBezTo>
                      <a:pt x="53872" y="39286"/>
                      <a:pt x="51333" y="46635"/>
                      <a:pt x="46539" y="52005"/>
                    </a:cubicBezTo>
                    <a:cubicBezTo>
                      <a:pt x="41462" y="57092"/>
                      <a:pt x="35256" y="59919"/>
                      <a:pt x="27359" y="59919"/>
                    </a:cubicBezTo>
                  </a:path>
                </a:pathLst>
              </a:custGeom>
              <a:solidFill>
                <a:srgbClr val="7F8183"/>
              </a:solidFill>
              <a:ln w="2790" cap="flat">
                <a:noFill/>
                <a:prstDash val="solid"/>
                <a:miter/>
              </a:ln>
            </p:spPr>
            <p:txBody>
              <a:bodyPr rtlCol="0" anchor="ctr"/>
              <a:lstStyle/>
              <a:p>
                <a:endParaRPr lang="x-none" sz="1905"/>
              </a:p>
            </p:txBody>
          </p:sp>
        </p:grpSp>
        <p:sp>
          <p:nvSpPr>
            <p:cNvPr id="26" name="Freeform 25">
              <a:extLst>
                <a:ext uri="{FF2B5EF4-FFF2-40B4-BE49-F238E27FC236}">
                  <a16:creationId xmlns:a16="http://schemas.microsoft.com/office/drawing/2014/main" id="{FE287936-BCDB-254B-A341-5566F1B56D4D}"/>
                </a:ext>
              </a:extLst>
            </p:cNvPr>
            <p:cNvSpPr/>
            <p:nvPr/>
          </p:nvSpPr>
          <p:spPr>
            <a:xfrm>
              <a:off x="1266593" y="5935383"/>
              <a:ext cx="48230" cy="57374"/>
            </a:xfrm>
            <a:custGeom>
              <a:avLst/>
              <a:gdLst>
                <a:gd name="connsiteX0" fmla="*/ 0 w 48230"/>
                <a:gd name="connsiteY0" fmla="*/ 57375 h 57374"/>
                <a:gd name="connsiteX1" fmla="*/ 0 w 48230"/>
                <a:gd name="connsiteY1" fmla="*/ 0 h 57374"/>
                <a:gd name="connsiteX2" fmla="*/ 48231 w 48230"/>
                <a:gd name="connsiteY2" fmla="*/ 0 h 57374"/>
                <a:gd name="connsiteX3" fmla="*/ 48231 w 48230"/>
                <a:gd name="connsiteY3" fmla="*/ 57375 h 57374"/>
                <a:gd name="connsiteX4" fmla="*/ 38641 w 48230"/>
                <a:gd name="connsiteY4" fmla="*/ 57375 h 57374"/>
                <a:gd name="connsiteX5" fmla="*/ 38641 w 48230"/>
                <a:gd name="connsiteY5" fmla="*/ 9044 h 57374"/>
                <a:gd name="connsiteX6" fmla="*/ 9308 w 48230"/>
                <a:gd name="connsiteY6" fmla="*/ 9044 h 57374"/>
                <a:gd name="connsiteX7" fmla="*/ 9308 w 48230"/>
                <a:gd name="connsiteY7"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30" h="57374">
                  <a:moveTo>
                    <a:pt x="0" y="57375"/>
                  </a:moveTo>
                  <a:lnTo>
                    <a:pt x="0" y="0"/>
                  </a:lnTo>
                  <a:lnTo>
                    <a:pt x="48231" y="0"/>
                  </a:lnTo>
                  <a:lnTo>
                    <a:pt x="48231" y="57375"/>
                  </a:lnTo>
                  <a:lnTo>
                    <a:pt x="38641" y="57375"/>
                  </a:lnTo>
                  <a:lnTo>
                    <a:pt x="38641" y="9044"/>
                  </a:lnTo>
                  <a:lnTo>
                    <a:pt x="9308" y="9044"/>
                  </a:lnTo>
                  <a:lnTo>
                    <a:pt x="9308" y="57375"/>
                  </a:lnTo>
                  <a:close/>
                </a:path>
              </a:pathLst>
            </a:custGeom>
            <a:solidFill>
              <a:srgbClr val="7F8183"/>
            </a:solidFill>
            <a:ln w="2790" cap="flat">
              <a:noFill/>
              <a:prstDash val="solid"/>
              <a:miter/>
            </a:ln>
          </p:spPr>
          <p:txBody>
            <a:bodyPr rtlCol="0" anchor="ctr"/>
            <a:lstStyle/>
            <a:p>
              <a:endParaRPr lang="x-none" sz="1905"/>
            </a:p>
          </p:txBody>
        </p:sp>
        <p:grpSp>
          <p:nvGrpSpPr>
            <p:cNvPr id="27" name="Graphic 13">
              <a:extLst>
                <a:ext uri="{FF2B5EF4-FFF2-40B4-BE49-F238E27FC236}">
                  <a16:creationId xmlns:a16="http://schemas.microsoft.com/office/drawing/2014/main" id="{07D8688A-A1C6-824F-9702-4CAFEFF7A0AA}"/>
                </a:ext>
              </a:extLst>
            </p:cNvPr>
            <p:cNvGrpSpPr/>
            <p:nvPr/>
          </p:nvGrpSpPr>
          <p:grpSpPr>
            <a:xfrm>
              <a:off x="1332593" y="5933970"/>
              <a:ext cx="245948" cy="82246"/>
              <a:chOff x="1332593" y="5933970"/>
              <a:chExt cx="245948" cy="82246"/>
            </a:xfrm>
            <a:solidFill>
              <a:srgbClr val="CFD4D9"/>
            </a:solidFill>
          </p:grpSpPr>
          <p:sp>
            <p:nvSpPr>
              <p:cNvPr id="28" name="Freeform 27">
                <a:extLst>
                  <a:ext uri="{FF2B5EF4-FFF2-40B4-BE49-F238E27FC236}">
                    <a16:creationId xmlns:a16="http://schemas.microsoft.com/office/drawing/2014/main" id="{94FC07B3-E533-4C4E-9701-4D5362465C05}"/>
                  </a:ext>
                </a:extLst>
              </p:cNvPr>
              <p:cNvSpPr/>
              <p:nvPr/>
            </p:nvSpPr>
            <p:spPr>
              <a:xfrm>
                <a:off x="1332593" y="5933970"/>
                <a:ext cx="54153" cy="82246"/>
              </a:xfrm>
              <a:custGeom>
                <a:avLst/>
                <a:gdLst>
                  <a:gd name="connsiteX0" fmla="*/ 9590 w 54153"/>
                  <a:gd name="connsiteY0" fmla="*/ 34764 h 82246"/>
                  <a:gd name="connsiteX1" fmla="*/ 14949 w 54153"/>
                  <a:gd name="connsiteY1" fmla="*/ 46917 h 82246"/>
                  <a:gd name="connsiteX2" fmla="*/ 27641 w 54153"/>
                  <a:gd name="connsiteY2" fmla="*/ 51439 h 82246"/>
                  <a:gd name="connsiteX3" fmla="*/ 40051 w 54153"/>
                  <a:gd name="connsiteY3" fmla="*/ 45504 h 82246"/>
                  <a:gd name="connsiteX4" fmla="*/ 44564 w 54153"/>
                  <a:gd name="connsiteY4" fmla="*/ 29677 h 82246"/>
                  <a:gd name="connsiteX5" fmla="*/ 40051 w 54153"/>
                  <a:gd name="connsiteY5" fmla="*/ 14414 h 82246"/>
                  <a:gd name="connsiteX6" fmla="*/ 27359 w 54153"/>
                  <a:gd name="connsiteY6" fmla="*/ 8479 h 82246"/>
                  <a:gd name="connsiteX7" fmla="*/ 20872 w 54153"/>
                  <a:gd name="connsiteY7" fmla="*/ 9610 h 82246"/>
                  <a:gd name="connsiteX8" fmla="*/ 15231 w 54153"/>
                  <a:gd name="connsiteY8" fmla="*/ 13284 h 82246"/>
                  <a:gd name="connsiteX9" fmla="*/ 11282 w 54153"/>
                  <a:gd name="connsiteY9" fmla="*/ 19219 h 82246"/>
                  <a:gd name="connsiteX10" fmla="*/ 9872 w 54153"/>
                  <a:gd name="connsiteY10" fmla="*/ 27416 h 82246"/>
                  <a:gd name="connsiteX11" fmla="*/ 9872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590" y="34764"/>
                    </a:moveTo>
                    <a:cubicBezTo>
                      <a:pt x="9590" y="40134"/>
                      <a:pt x="11282" y="44091"/>
                      <a:pt x="14949" y="46917"/>
                    </a:cubicBezTo>
                    <a:cubicBezTo>
                      <a:pt x="18615" y="49744"/>
                      <a:pt x="22846" y="51439"/>
                      <a:pt x="27641" y="51439"/>
                    </a:cubicBezTo>
                    <a:cubicBezTo>
                      <a:pt x="33000" y="51439"/>
                      <a:pt x="36949" y="49461"/>
                      <a:pt x="40051" y="45504"/>
                    </a:cubicBezTo>
                    <a:cubicBezTo>
                      <a:pt x="43154" y="41547"/>
                      <a:pt x="44564" y="36460"/>
                      <a:pt x="44564" y="29677"/>
                    </a:cubicBezTo>
                    <a:cubicBezTo>
                      <a:pt x="44564" y="23459"/>
                      <a:pt x="43154" y="18371"/>
                      <a:pt x="40051" y="14414"/>
                    </a:cubicBezTo>
                    <a:cubicBezTo>
                      <a:pt x="36949" y="10457"/>
                      <a:pt x="32718" y="8479"/>
                      <a:pt x="27359" y="8479"/>
                    </a:cubicBezTo>
                    <a:cubicBezTo>
                      <a:pt x="25103" y="8479"/>
                      <a:pt x="22846" y="8762"/>
                      <a:pt x="20872" y="9610"/>
                    </a:cubicBezTo>
                    <a:cubicBezTo>
                      <a:pt x="18897" y="10457"/>
                      <a:pt x="16923" y="11588"/>
                      <a:pt x="15231" y="13284"/>
                    </a:cubicBezTo>
                    <a:cubicBezTo>
                      <a:pt x="13538" y="14980"/>
                      <a:pt x="12128" y="16958"/>
                      <a:pt x="11282" y="19219"/>
                    </a:cubicBezTo>
                    <a:cubicBezTo>
                      <a:pt x="10154" y="21763"/>
                      <a:pt x="9872" y="24307"/>
                      <a:pt x="9872" y="27416"/>
                    </a:cubicBezTo>
                    <a:lnTo>
                      <a:pt x="9872" y="34764"/>
                    </a:lnTo>
                    <a:close/>
                    <a:moveTo>
                      <a:pt x="0" y="82247"/>
                    </a:moveTo>
                    <a:lnTo>
                      <a:pt x="0" y="1413"/>
                    </a:lnTo>
                    <a:lnTo>
                      <a:pt x="9590" y="1413"/>
                    </a:lnTo>
                    <a:lnTo>
                      <a:pt x="9590" y="9044"/>
                    </a:lnTo>
                    <a:cubicBezTo>
                      <a:pt x="11564" y="5935"/>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sp>
            <p:nvSpPr>
              <p:cNvPr id="29" name="Freeform 28">
                <a:extLst>
                  <a:ext uri="{FF2B5EF4-FFF2-40B4-BE49-F238E27FC236}">
                    <a16:creationId xmlns:a16="http://schemas.microsoft.com/office/drawing/2014/main" id="{C2BC0025-EF4E-604A-B099-C6EF6426E625}"/>
                  </a:ext>
                </a:extLst>
              </p:cNvPr>
              <p:cNvSpPr/>
              <p:nvPr/>
            </p:nvSpPr>
            <p:spPr>
              <a:xfrm>
                <a:off x="1397747" y="5934253"/>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487" y="49461"/>
                      <a:pt x="22000"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481"/>
                      <a:pt x="0" y="29959"/>
                    </a:cubicBezTo>
                    <a:cubicBezTo>
                      <a:pt x="0" y="20350"/>
                      <a:pt x="2538" y="13001"/>
                      <a:pt x="7615" y="7914"/>
                    </a:cubicBezTo>
                    <a:cubicBezTo>
                      <a:pt x="12692" y="2826"/>
                      <a:pt x="19180" y="0"/>
                      <a:pt x="27359" y="0"/>
                    </a:cubicBezTo>
                    <a:cubicBezTo>
                      <a:pt x="35256" y="0"/>
                      <a:pt x="41744" y="2544"/>
                      <a:pt x="46539" y="7914"/>
                    </a:cubicBezTo>
                    <a:cubicBezTo>
                      <a:pt x="51333" y="13001"/>
                      <a:pt x="53872" y="20350"/>
                      <a:pt x="53872" y="29959"/>
                    </a:cubicBezTo>
                    <a:cubicBezTo>
                      <a:pt x="53872" y="39286"/>
                      <a:pt x="51333" y="46635"/>
                      <a:pt x="46539" y="52005"/>
                    </a:cubicBezTo>
                    <a:cubicBezTo>
                      <a:pt x="41744" y="57092"/>
                      <a:pt x="35256" y="59919"/>
                      <a:pt x="27359" y="59919"/>
                    </a:cubicBezTo>
                  </a:path>
                </a:pathLst>
              </a:custGeom>
              <a:solidFill>
                <a:srgbClr val="7F8183"/>
              </a:solidFill>
              <a:ln w="2790" cap="flat">
                <a:noFill/>
                <a:prstDash val="solid"/>
                <a:miter/>
              </a:ln>
            </p:spPr>
            <p:txBody>
              <a:bodyPr rtlCol="0" anchor="ctr"/>
              <a:lstStyle/>
              <a:p>
                <a:endParaRPr lang="x-none" sz="1905"/>
              </a:p>
            </p:txBody>
          </p:sp>
          <p:sp>
            <p:nvSpPr>
              <p:cNvPr id="30" name="Freeform 29">
                <a:extLst>
                  <a:ext uri="{FF2B5EF4-FFF2-40B4-BE49-F238E27FC236}">
                    <a16:creationId xmlns:a16="http://schemas.microsoft.com/office/drawing/2014/main" id="{01732E20-25F0-BA4F-8423-6E3C4828BFFC}"/>
                  </a:ext>
                </a:extLst>
              </p:cNvPr>
              <p:cNvSpPr/>
              <p:nvPr/>
            </p:nvSpPr>
            <p:spPr>
              <a:xfrm>
                <a:off x="1456696" y="5935383"/>
                <a:ext cx="63461" cy="73767"/>
              </a:xfrm>
              <a:custGeom>
                <a:avLst/>
                <a:gdLst>
                  <a:gd name="connsiteX0" fmla="*/ 22282 w 63461"/>
                  <a:gd name="connsiteY0" fmla="*/ 33068 h 73767"/>
                  <a:gd name="connsiteX1" fmla="*/ 20308 w 63461"/>
                  <a:gd name="connsiteY1" fmla="*/ 41830 h 73767"/>
                  <a:gd name="connsiteX2" fmla="*/ 16923 w 63461"/>
                  <a:gd name="connsiteY2" fmla="*/ 48331 h 73767"/>
                  <a:gd name="connsiteX3" fmla="*/ 44846 w 63461"/>
                  <a:gd name="connsiteY3" fmla="*/ 48331 h 73767"/>
                  <a:gd name="connsiteX4" fmla="*/ 44846 w 63461"/>
                  <a:gd name="connsiteY4" fmla="*/ 8762 h 73767"/>
                  <a:gd name="connsiteX5" fmla="*/ 23128 w 63461"/>
                  <a:gd name="connsiteY5" fmla="*/ 8762 h 73767"/>
                  <a:gd name="connsiteX6" fmla="*/ 23128 w 63461"/>
                  <a:gd name="connsiteY6" fmla="*/ 23176 h 73767"/>
                  <a:gd name="connsiteX7" fmla="*/ 22282 w 63461"/>
                  <a:gd name="connsiteY7" fmla="*/ 33068 h 73767"/>
                  <a:gd name="connsiteX8" fmla="*/ 0 w 63461"/>
                  <a:gd name="connsiteY8" fmla="*/ 48613 h 73767"/>
                  <a:gd name="connsiteX9" fmla="*/ 5923 w 63461"/>
                  <a:gd name="connsiteY9" fmla="*/ 48613 h 73767"/>
                  <a:gd name="connsiteX10" fmla="*/ 11000 w 63461"/>
                  <a:gd name="connsiteY10" fmla="*/ 41547 h 73767"/>
                  <a:gd name="connsiteX11" fmla="*/ 13256 w 63461"/>
                  <a:gd name="connsiteY11" fmla="*/ 31938 h 73767"/>
                  <a:gd name="connsiteX12" fmla="*/ 13538 w 63461"/>
                  <a:gd name="connsiteY12" fmla="*/ 27416 h 73767"/>
                  <a:gd name="connsiteX13" fmla="*/ 13821 w 63461"/>
                  <a:gd name="connsiteY13" fmla="*/ 21198 h 73767"/>
                  <a:gd name="connsiteX14" fmla="*/ 13821 w 63461"/>
                  <a:gd name="connsiteY14" fmla="*/ 12436 h 73767"/>
                  <a:gd name="connsiteX15" fmla="*/ 13821 w 63461"/>
                  <a:gd name="connsiteY15" fmla="*/ 0 h 73767"/>
                  <a:gd name="connsiteX16" fmla="*/ 54154 w 63461"/>
                  <a:gd name="connsiteY16" fmla="*/ 0 h 73767"/>
                  <a:gd name="connsiteX17" fmla="*/ 54154 w 63461"/>
                  <a:gd name="connsiteY17" fmla="*/ 48613 h 73767"/>
                  <a:gd name="connsiteX18" fmla="*/ 63462 w 63461"/>
                  <a:gd name="connsiteY18" fmla="*/ 48613 h 73767"/>
                  <a:gd name="connsiteX19" fmla="*/ 63462 w 63461"/>
                  <a:gd name="connsiteY19" fmla="*/ 73768 h 73767"/>
                  <a:gd name="connsiteX20" fmla="*/ 54154 w 63461"/>
                  <a:gd name="connsiteY20" fmla="*/ 73768 h 73767"/>
                  <a:gd name="connsiteX21" fmla="*/ 54154 w 63461"/>
                  <a:gd name="connsiteY21" fmla="*/ 57657 h 73767"/>
                  <a:gd name="connsiteX22" fmla="*/ 9308 w 63461"/>
                  <a:gd name="connsiteY22" fmla="*/ 57657 h 73767"/>
                  <a:gd name="connsiteX23" fmla="*/ 9308 w 63461"/>
                  <a:gd name="connsiteY23" fmla="*/ 73768 h 73767"/>
                  <a:gd name="connsiteX24" fmla="*/ 0 w 63461"/>
                  <a:gd name="connsiteY24" fmla="*/ 73768 h 73767"/>
                  <a:gd name="connsiteX25" fmla="*/ 0 w 63461"/>
                  <a:gd name="connsiteY25" fmla="*/ 48613 h 7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3461" h="73767">
                    <a:moveTo>
                      <a:pt x="22282" y="33068"/>
                    </a:moveTo>
                    <a:cubicBezTo>
                      <a:pt x="22000" y="36460"/>
                      <a:pt x="21154" y="39286"/>
                      <a:pt x="20308" y="41830"/>
                    </a:cubicBezTo>
                    <a:cubicBezTo>
                      <a:pt x="19180" y="44374"/>
                      <a:pt x="18051" y="46635"/>
                      <a:pt x="16923" y="48331"/>
                    </a:cubicBezTo>
                    <a:lnTo>
                      <a:pt x="44846" y="48331"/>
                    </a:lnTo>
                    <a:lnTo>
                      <a:pt x="44846" y="8762"/>
                    </a:lnTo>
                    <a:lnTo>
                      <a:pt x="23128" y="8762"/>
                    </a:lnTo>
                    <a:cubicBezTo>
                      <a:pt x="23128" y="14414"/>
                      <a:pt x="23128" y="19219"/>
                      <a:pt x="23128" y="23176"/>
                    </a:cubicBezTo>
                    <a:cubicBezTo>
                      <a:pt x="22564" y="27698"/>
                      <a:pt x="22564" y="30807"/>
                      <a:pt x="22282" y="33068"/>
                    </a:cubicBezTo>
                    <a:moveTo>
                      <a:pt x="0" y="48613"/>
                    </a:moveTo>
                    <a:lnTo>
                      <a:pt x="5923" y="48613"/>
                    </a:lnTo>
                    <a:cubicBezTo>
                      <a:pt x="7897" y="46917"/>
                      <a:pt x="9590" y="44656"/>
                      <a:pt x="11000" y="41547"/>
                    </a:cubicBezTo>
                    <a:cubicBezTo>
                      <a:pt x="12410" y="38438"/>
                      <a:pt x="13256" y="35329"/>
                      <a:pt x="13256" y="31938"/>
                    </a:cubicBezTo>
                    <a:cubicBezTo>
                      <a:pt x="13256" y="30525"/>
                      <a:pt x="13538" y="29111"/>
                      <a:pt x="13538" y="27416"/>
                    </a:cubicBezTo>
                    <a:cubicBezTo>
                      <a:pt x="13538" y="25720"/>
                      <a:pt x="13538" y="23741"/>
                      <a:pt x="13821" y="21198"/>
                    </a:cubicBezTo>
                    <a:cubicBezTo>
                      <a:pt x="13821" y="18654"/>
                      <a:pt x="13821" y="15828"/>
                      <a:pt x="13821" y="12436"/>
                    </a:cubicBezTo>
                    <a:cubicBezTo>
                      <a:pt x="13821" y="9044"/>
                      <a:pt x="13821" y="4805"/>
                      <a:pt x="13821" y="0"/>
                    </a:cubicBezTo>
                    <a:lnTo>
                      <a:pt x="54154" y="0"/>
                    </a:lnTo>
                    <a:lnTo>
                      <a:pt x="54154" y="48613"/>
                    </a:lnTo>
                    <a:lnTo>
                      <a:pt x="63462" y="48613"/>
                    </a:lnTo>
                    <a:lnTo>
                      <a:pt x="63462" y="73768"/>
                    </a:lnTo>
                    <a:lnTo>
                      <a:pt x="54154" y="73768"/>
                    </a:lnTo>
                    <a:lnTo>
                      <a:pt x="54154" y="57657"/>
                    </a:lnTo>
                    <a:lnTo>
                      <a:pt x="9308" y="57657"/>
                    </a:lnTo>
                    <a:lnTo>
                      <a:pt x="9308" y="73768"/>
                    </a:lnTo>
                    <a:lnTo>
                      <a:pt x="0" y="73768"/>
                    </a:lnTo>
                    <a:lnTo>
                      <a:pt x="0" y="48613"/>
                    </a:lnTo>
                    <a:close/>
                  </a:path>
                </a:pathLst>
              </a:custGeom>
              <a:solidFill>
                <a:srgbClr val="7F8183"/>
              </a:solidFill>
              <a:ln w="2790" cap="flat">
                <a:noFill/>
                <a:prstDash val="solid"/>
                <a:miter/>
              </a:ln>
            </p:spPr>
            <p:txBody>
              <a:bodyPr rtlCol="0" anchor="ctr"/>
              <a:lstStyle/>
              <a:p>
                <a:endParaRPr lang="x-none" sz="1905"/>
              </a:p>
            </p:txBody>
          </p:sp>
          <p:sp>
            <p:nvSpPr>
              <p:cNvPr id="31" name="Freeform 30">
                <a:extLst>
                  <a:ext uri="{FF2B5EF4-FFF2-40B4-BE49-F238E27FC236}">
                    <a16:creationId xmlns:a16="http://schemas.microsoft.com/office/drawing/2014/main" id="{059CE7F9-043F-2849-B383-24D7A7E06010}"/>
                  </a:ext>
                </a:extLst>
              </p:cNvPr>
              <p:cNvSpPr/>
              <p:nvPr/>
            </p:nvSpPr>
            <p:spPr>
              <a:xfrm>
                <a:off x="1522978" y="5935383"/>
                <a:ext cx="55564" cy="80833"/>
              </a:xfrm>
              <a:custGeom>
                <a:avLst/>
                <a:gdLst>
                  <a:gd name="connsiteX0" fmla="*/ 29615 w 55564"/>
                  <a:gd name="connsiteY0" fmla="*/ 66419 h 80833"/>
                  <a:gd name="connsiteX1" fmla="*/ 22000 w 55564"/>
                  <a:gd name="connsiteY1" fmla="*/ 77724 h 80833"/>
                  <a:gd name="connsiteX2" fmla="*/ 11282 w 55564"/>
                  <a:gd name="connsiteY2" fmla="*/ 80833 h 80833"/>
                  <a:gd name="connsiteX3" fmla="*/ 5923 w 55564"/>
                  <a:gd name="connsiteY3" fmla="*/ 80833 h 80833"/>
                  <a:gd name="connsiteX4" fmla="*/ 5923 w 55564"/>
                  <a:gd name="connsiteY4" fmla="*/ 71789 h 80833"/>
                  <a:gd name="connsiteX5" fmla="*/ 9590 w 55564"/>
                  <a:gd name="connsiteY5" fmla="*/ 71789 h 80833"/>
                  <a:gd name="connsiteX6" fmla="*/ 16641 w 55564"/>
                  <a:gd name="connsiteY6" fmla="*/ 70093 h 80833"/>
                  <a:gd name="connsiteX7" fmla="*/ 21436 w 55564"/>
                  <a:gd name="connsiteY7" fmla="*/ 63310 h 80833"/>
                  <a:gd name="connsiteX8" fmla="*/ 23974 w 55564"/>
                  <a:gd name="connsiteY8" fmla="*/ 57092 h 80833"/>
                  <a:gd name="connsiteX9" fmla="*/ 0 w 55564"/>
                  <a:gd name="connsiteY9" fmla="*/ 0 h 80833"/>
                  <a:gd name="connsiteX10" fmla="*/ 10436 w 55564"/>
                  <a:gd name="connsiteY10" fmla="*/ 0 h 80833"/>
                  <a:gd name="connsiteX11" fmla="*/ 29051 w 55564"/>
                  <a:gd name="connsiteY11" fmla="*/ 45504 h 80833"/>
                  <a:gd name="connsiteX12" fmla="*/ 45692 w 55564"/>
                  <a:gd name="connsiteY12" fmla="*/ 0 h 80833"/>
                  <a:gd name="connsiteX13" fmla="*/ 55564 w 55564"/>
                  <a:gd name="connsiteY13" fmla="*/ 0 h 80833"/>
                  <a:gd name="connsiteX14" fmla="*/ 29615 w 55564"/>
                  <a:gd name="connsiteY14" fmla="*/ 66419 h 8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564" h="80833">
                    <a:moveTo>
                      <a:pt x="29615" y="66419"/>
                    </a:moveTo>
                    <a:cubicBezTo>
                      <a:pt x="27359" y="71789"/>
                      <a:pt x="25103" y="75746"/>
                      <a:pt x="22000" y="77724"/>
                    </a:cubicBezTo>
                    <a:cubicBezTo>
                      <a:pt x="19180" y="79986"/>
                      <a:pt x="15513" y="80833"/>
                      <a:pt x="11282" y="80833"/>
                    </a:cubicBezTo>
                    <a:lnTo>
                      <a:pt x="5923" y="80833"/>
                    </a:lnTo>
                    <a:lnTo>
                      <a:pt x="5923" y="71789"/>
                    </a:lnTo>
                    <a:lnTo>
                      <a:pt x="9590" y="71789"/>
                    </a:lnTo>
                    <a:cubicBezTo>
                      <a:pt x="12410" y="71789"/>
                      <a:pt x="14667" y="71224"/>
                      <a:pt x="16641" y="70093"/>
                    </a:cubicBezTo>
                    <a:cubicBezTo>
                      <a:pt x="18615" y="68963"/>
                      <a:pt x="20308" y="66702"/>
                      <a:pt x="21436" y="63310"/>
                    </a:cubicBezTo>
                    <a:lnTo>
                      <a:pt x="23974" y="57092"/>
                    </a:lnTo>
                    <a:lnTo>
                      <a:pt x="0" y="0"/>
                    </a:lnTo>
                    <a:lnTo>
                      <a:pt x="10436" y="0"/>
                    </a:lnTo>
                    <a:lnTo>
                      <a:pt x="29051" y="45504"/>
                    </a:lnTo>
                    <a:lnTo>
                      <a:pt x="45692" y="0"/>
                    </a:lnTo>
                    <a:lnTo>
                      <a:pt x="55564" y="0"/>
                    </a:lnTo>
                    <a:lnTo>
                      <a:pt x="29615" y="66419"/>
                    </a:lnTo>
                    <a:close/>
                  </a:path>
                </a:pathLst>
              </a:custGeom>
              <a:solidFill>
                <a:srgbClr val="7F8183"/>
              </a:solidFill>
              <a:ln w="2790" cap="flat">
                <a:noFill/>
                <a:prstDash val="solid"/>
                <a:miter/>
              </a:ln>
            </p:spPr>
            <p:txBody>
              <a:bodyPr rtlCol="0" anchor="ctr"/>
              <a:lstStyle/>
              <a:p>
                <a:endParaRPr lang="x-none" sz="1905"/>
              </a:p>
            </p:txBody>
          </p:sp>
        </p:grpSp>
        <p:sp>
          <p:nvSpPr>
            <p:cNvPr id="32" name="Freeform 31">
              <a:extLst>
                <a:ext uri="{FF2B5EF4-FFF2-40B4-BE49-F238E27FC236}">
                  <a16:creationId xmlns:a16="http://schemas.microsoft.com/office/drawing/2014/main" id="{F0221F01-9875-A04B-990D-0A20B287AADD}"/>
                </a:ext>
              </a:extLst>
            </p:cNvPr>
            <p:cNvSpPr/>
            <p:nvPr/>
          </p:nvSpPr>
          <p:spPr>
            <a:xfrm>
              <a:off x="1588414" y="5935383"/>
              <a:ext cx="66282" cy="57374"/>
            </a:xfrm>
            <a:custGeom>
              <a:avLst/>
              <a:gdLst>
                <a:gd name="connsiteX0" fmla="*/ 0 w 66282"/>
                <a:gd name="connsiteY0" fmla="*/ 57375 h 57374"/>
                <a:gd name="connsiteX1" fmla="*/ 0 w 66282"/>
                <a:gd name="connsiteY1" fmla="*/ 0 h 57374"/>
                <a:gd name="connsiteX2" fmla="*/ 14103 w 66282"/>
                <a:gd name="connsiteY2" fmla="*/ 0 h 57374"/>
                <a:gd name="connsiteX3" fmla="*/ 33282 w 66282"/>
                <a:gd name="connsiteY3" fmla="*/ 48048 h 57374"/>
                <a:gd name="connsiteX4" fmla="*/ 52744 w 66282"/>
                <a:gd name="connsiteY4" fmla="*/ 0 h 57374"/>
                <a:gd name="connsiteX5" fmla="*/ 66282 w 66282"/>
                <a:gd name="connsiteY5" fmla="*/ 0 h 57374"/>
                <a:gd name="connsiteX6" fmla="*/ 66282 w 66282"/>
                <a:gd name="connsiteY6" fmla="*/ 57375 h 57374"/>
                <a:gd name="connsiteX7" fmla="*/ 56974 w 66282"/>
                <a:gd name="connsiteY7" fmla="*/ 57375 h 57374"/>
                <a:gd name="connsiteX8" fmla="*/ 56974 w 66282"/>
                <a:gd name="connsiteY8" fmla="*/ 10457 h 57374"/>
                <a:gd name="connsiteX9" fmla="*/ 37795 w 66282"/>
                <a:gd name="connsiteY9" fmla="*/ 57375 h 57374"/>
                <a:gd name="connsiteX10" fmla="*/ 27923 w 66282"/>
                <a:gd name="connsiteY10" fmla="*/ 57375 h 57374"/>
                <a:gd name="connsiteX11" fmla="*/ 8744 w 66282"/>
                <a:gd name="connsiteY11" fmla="*/ 10457 h 57374"/>
                <a:gd name="connsiteX12" fmla="*/ 8744 w 66282"/>
                <a:gd name="connsiteY12"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282" h="57374">
                  <a:moveTo>
                    <a:pt x="0" y="57375"/>
                  </a:moveTo>
                  <a:lnTo>
                    <a:pt x="0" y="0"/>
                  </a:lnTo>
                  <a:lnTo>
                    <a:pt x="14103" y="0"/>
                  </a:lnTo>
                  <a:lnTo>
                    <a:pt x="33282" y="48048"/>
                  </a:lnTo>
                  <a:lnTo>
                    <a:pt x="52744" y="0"/>
                  </a:lnTo>
                  <a:lnTo>
                    <a:pt x="66282" y="0"/>
                  </a:lnTo>
                  <a:lnTo>
                    <a:pt x="66282" y="57375"/>
                  </a:lnTo>
                  <a:lnTo>
                    <a:pt x="56974" y="57375"/>
                  </a:lnTo>
                  <a:lnTo>
                    <a:pt x="56974" y="10457"/>
                  </a:lnTo>
                  <a:lnTo>
                    <a:pt x="37795" y="57375"/>
                  </a:lnTo>
                  <a:lnTo>
                    <a:pt x="27923" y="57375"/>
                  </a:lnTo>
                  <a:lnTo>
                    <a:pt x="8744" y="10457"/>
                  </a:lnTo>
                  <a:lnTo>
                    <a:pt x="8744" y="57375"/>
                  </a:lnTo>
                  <a:close/>
                </a:path>
              </a:pathLst>
            </a:custGeom>
            <a:solidFill>
              <a:srgbClr val="7F8183"/>
            </a:solidFill>
            <a:ln w="2790" cap="flat">
              <a:noFill/>
              <a:prstDash val="solid"/>
              <a:miter/>
            </a:ln>
          </p:spPr>
          <p:txBody>
            <a:bodyPr rtlCol="0" anchor="ctr"/>
            <a:lstStyle/>
            <a:p>
              <a:endParaRPr lang="x-none" sz="1905"/>
            </a:p>
          </p:txBody>
        </p:sp>
        <p:sp>
          <p:nvSpPr>
            <p:cNvPr id="33" name="Freeform 32">
              <a:extLst>
                <a:ext uri="{FF2B5EF4-FFF2-40B4-BE49-F238E27FC236}">
                  <a16:creationId xmlns:a16="http://schemas.microsoft.com/office/drawing/2014/main" id="{77FDCD99-4B6E-A043-BB4E-71B448C58EFF}"/>
                </a:ext>
              </a:extLst>
            </p:cNvPr>
            <p:cNvSpPr/>
            <p:nvPr/>
          </p:nvSpPr>
          <p:spPr>
            <a:xfrm>
              <a:off x="1669926" y="5934253"/>
              <a:ext cx="46820" cy="59635"/>
            </a:xfrm>
            <a:custGeom>
              <a:avLst/>
              <a:gdLst>
                <a:gd name="connsiteX0" fmla="*/ 37513 w 46820"/>
                <a:gd name="connsiteY0" fmla="*/ 33068 h 59635"/>
                <a:gd name="connsiteX1" fmla="*/ 29897 w 46820"/>
                <a:gd name="connsiteY1" fmla="*/ 33068 h 59635"/>
                <a:gd name="connsiteX2" fmla="*/ 21718 w 46820"/>
                <a:gd name="connsiteY2" fmla="*/ 33068 h 59635"/>
                <a:gd name="connsiteX3" fmla="*/ 12692 w 46820"/>
                <a:gd name="connsiteY3" fmla="*/ 35612 h 59635"/>
                <a:gd name="connsiteX4" fmla="*/ 9590 w 46820"/>
                <a:gd name="connsiteY4" fmla="*/ 42395 h 59635"/>
                <a:gd name="connsiteX5" fmla="*/ 12410 w 46820"/>
                <a:gd name="connsiteY5" fmla="*/ 48896 h 59635"/>
                <a:gd name="connsiteX6" fmla="*/ 20308 w 46820"/>
                <a:gd name="connsiteY6" fmla="*/ 51439 h 59635"/>
                <a:gd name="connsiteX7" fmla="*/ 32436 w 46820"/>
                <a:gd name="connsiteY7" fmla="*/ 47765 h 59635"/>
                <a:gd name="connsiteX8" fmla="*/ 37513 w 46820"/>
                <a:gd name="connsiteY8" fmla="*/ 38438 h 59635"/>
                <a:gd name="connsiteX9" fmla="*/ 37513 w 46820"/>
                <a:gd name="connsiteY9" fmla="*/ 33068 h 59635"/>
                <a:gd name="connsiteX10" fmla="*/ 38077 w 46820"/>
                <a:gd name="connsiteY10" fmla="*/ 58505 h 59635"/>
                <a:gd name="connsiteX11" fmla="*/ 38077 w 46820"/>
                <a:gd name="connsiteY11" fmla="*/ 51722 h 59635"/>
                <a:gd name="connsiteX12" fmla="*/ 30744 w 46820"/>
                <a:gd name="connsiteY12" fmla="*/ 57375 h 59635"/>
                <a:gd name="connsiteX13" fmla="*/ 20026 w 46820"/>
                <a:gd name="connsiteY13" fmla="*/ 59636 h 59635"/>
                <a:gd name="connsiteX14" fmla="*/ 5359 w 46820"/>
                <a:gd name="connsiteY14" fmla="*/ 55114 h 59635"/>
                <a:gd name="connsiteX15" fmla="*/ 0 w 46820"/>
                <a:gd name="connsiteY15" fmla="*/ 42678 h 59635"/>
                <a:gd name="connsiteX16" fmla="*/ 5923 w 46820"/>
                <a:gd name="connsiteY16" fmla="*/ 29677 h 59635"/>
                <a:gd name="connsiteX17" fmla="*/ 21718 w 46820"/>
                <a:gd name="connsiteY17" fmla="*/ 25437 h 59635"/>
                <a:gd name="connsiteX18" fmla="*/ 29897 w 46820"/>
                <a:gd name="connsiteY18" fmla="*/ 25437 h 59635"/>
                <a:gd name="connsiteX19" fmla="*/ 37513 w 46820"/>
                <a:gd name="connsiteY19" fmla="*/ 25720 h 59635"/>
                <a:gd name="connsiteX20" fmla="*/ 37513 w 46820"/>
                <a:gd name="connsiteY20" fmla="*/ 20632 h 59635"/>
                <a:gd name="connsiteX21" fmla="*/ 33846 w 46820"/>
                <a:gd name="connsiteY21" fmla="*/ 11588 h 59635"/>
                <a:gd name="connsiteX22" fmla="*/ 24821 w 46820"/>
                <a:gd name="connsiteY22" fmla="*/ 8762 h 59635"/>
                <a:gd name="connsiteX23" fmla="*/ 15513 w 46820"/>
                <a:gd name="connsiteY23" fmla="*/ 11871 h 59635"/>
                <a:gd name="connsiteX24" fmla="*/ 11000 w 46820"/>
                <a:gd name="connsiteY24" fmla="*/ 19219 h 59635"/>
                <a:gd name="connsiteX25" fmla="*/ 1974 w 46820"/>
                <a:gd name="connsiteY25" fmla="*/ 17241 h 59635"/>
                <a:gd name="connsiteX26" fmla="*/ 9590 w 46820"/>
                <a:gd name="connsiteY26" fmla="*/ 4805 h 59635"/>
                <a:gd name="connsiteX27" fmla="*/ 24821 w 46820"/>
                <a:gd name="connsiteY27" fmla="*/ 0 h 59635"/>
                <a:gd name="connsiteX28" fmla="*/ 40615 w 46820"/>
                <a:gd name="connsiteY28" fmla="*/ 4805 h 59635"/>
                <a:gd name="connsiteX29" fmla="*/ 46821 w 46820"/>
                <a:gd name="connsiteY29" fmla="*/ 20067 h 59635"/>
                <a:gd name="connsiteX30" fmla="*/ 46821 w 46820"/>
                <a:gd name="connsiteY30" fmla="*/ 58505 h 59635"/>
                <a:gd name="connsiteX31" fmla="*/ 38077 w 46820"/>
                <a:gd name="connsiteY31" fmla="*/ 58505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820" h="59635">
                  <a:moveTo>
                    <a:pt x="37513" y="33068"/>
                  </a:moveTo>
                  <a:cubicBezTo>
                    <a:pt x="35256" y="33068"/>
                    <a:pt x="32718" y="33068"/>
                    <a:pt x="29897" y="33068"/>
                  </a:cubicBezTo>
                  <a:cubicBezTo>
                    <a:pt x="27359" y="33068"/>
                    <a:pt x="24538" y="33068"/>
                    <a:pt x="21718" y="33068"/>
                  </a:cubicBezTo>
                  <a:cubicBezTo>
                    <a:pt x="17769" y="33351"/>
                    <a:pt x="14667" y="34199"/>
                    <a:pt x="12692" y="35612"/>
                  </a:cubicBezTo>
                  <a:cubicBezTo>
                    <a:pt x="10718" y="37308"/>
                    <a:pt x="9590" y="39569"/>
                    <a:pt x="9590" y="42395"/>
                  </a:cubicBezTo>
                  <a:cubicBezTo>
                    <a:pt x="9590" y="45222"/>
                    <a:pt x="10436" y="47200"/>
                    <a:pt x="12410" y="48896"/>
                  </a:cubicBezTo>
                  <a:cubicBezTo>
                    <a:pt x="14385" y="50592"/>
                    <a:pt x="16923" y="51439"/>
                    <a:pt x="20308" y="51439"/>
                  </a:cubicBezTo>
                  <a:cubicBezTo>
                    <a:pt x="25103" y="51439"/>
                    <a:pt x="29051" y="50309"/>
                    <a:pt x="32436" y="47765"/>
                  </a:cubicBezTo>
                  <a:cubicBezTo>
                    <a:pt x="35821" y="45504"/>
                    <a:pt x="37513" y="42395"/>
                    <a:pt x="37513" y="38438"/>
                  </a:cubicBezTo>
                  <a:lnTo>
                    <a:pt x="37513" y="33068"/>
                  </a:lnTo>
                  <a:close/>
                  <a:moveTo>
                    <a:pt x="38077" y="58505"/>
                  </a:moveTo>
                  <a:lnTo>
                    <a:pt x="38077" y="51722"/>
                  </a:lnTo>
                  <a:cubicBezTo>
                    <a:pt x="36385" y="53983"/>
                    <a:pt x="33846" y="55962"/>
                    <a:pt x="30744" y="57375"/>
                  </a:cubicBezTo>
                  <a:cubicBezTo>
                    <a:pt x="27641" y="58788"/>
                    <a:pt x="24256" y="59636"/>
                    <a:pt x="20026" y="59636"/>
                  </a:cubicBezTo>
                  <a:cubicBezTo>
                    <a:pt x="13821" y="59636"/>
                    <a:pt x="9026" y="58223"/>
                    <a:pt x="5359" y="55114"/>
                  </a:cubicBezTo>
                  <a:cubicBezTo>
                    <a:pt x="1692" y="52005"/>
                    <a:pt x="0" y="47765"/>
                    <a:pt x="0" y="42678"/>
                  </a:cubicBezTo>
                  <a:cubicBezTo>
                    <a:pt x="0" y="36742"/>
                    <a:pt x="1974" y="32503"/>
                    <a:pt x="5923" y="29677"/>
                  </a:cubicBezTo>
                  <a:cubicBezTo>
                    <a:pt x="9872" y="27133"/>
                    <a:pt x="14949" y="25437"/>
                    <a:pt x="21718" y="25437"/>
                  </a:cubicBezTo>
                  <a:cubicBezTo>
                    <a:pt x="24538" y="25437"/>
                    <a:pt x="27359" y="25437"/>
                    <a:pt x="29897" y="25437"/>
                  </a:cubicBezTo>
                  <a:cubicBezTo>
                    <a:pt x="32436" y="25437"/>
                    <a:pt x="34974" y="25437"/>
                    <a:pt x="37513" y="25720"/>
                  </a:cubicBezTo>
                  <a:lnTo>
                    <a:pt x="37513" y="20632"/>
                  </a:lnTo>
                  <a:cubicBezTo>
                    <a:pt x="37513" y="16393"/>
                    <a:pt x="36385" y="13284"/>
                    <a:pt x="33846" y="11588"/>
                  </a:cubicBezTo>
                  <a:cubicBezTo>
                    <a:pt x="31590" y="9610"/>
                    <a:pt x="28487" y="8762"/>
                    <a:pt x="24821" y="8762"/>
                  </a:cubicBezTo>
                  <a:cubicBezTo>
                    <a:pt x="20872" y="8762"/>
                    <a:pt x="17769" y="9892"/>
                    <a:pt x="15513" y="11871"/>
                  </a:cubicBezTo>
                  <a:cubicBezTo>
                    <a:pt x="13538" y="13849"/>
                    <a:pt x="11846" y="16393"/>
                    <a:pt x="11000" y="19219"/>
                  </a:cubicBezTo>
                  <a:lnTo>
                    <a:pt x="1974" y="17241"/>
                  </a:lnTo>
                  <a:cubicBezTo>
                    <a:pt x="3103" y="12153"/>
                    <a:pt x="5641" y="8196"/>
                    <a:pt x="9590" y="4805"/>
                  </a:cubicBezTo>
                  <a:cubicBezTo>
                    <a:pt x="13538" y="1696"/>
                    <a:pt x="18615" y="0"/>
                    <a:pt x="24821" y="0"/>
                  </a:cubicBezTo>
                  <a:cubicBezTo>
                    <a:pt x="31308" y="0"/>
                    <a:pt x="36667" y="1696"/>
                    <a:pt x="40615" y="4805"/>
                  </a:cubicBezTo>
                  <a:cubicBezTo>
                    <a:pt x="44846" y="8196"/>
                    <a:pt x="46821" y="13284"/>
                    <a:pt x="46821" y="20067"/>
                  </a:cubicBezTo>
                  <a:lnTo>
                    <a:pt x="46821" y="58505"/>
                  </a:lnTo>
                  <a:lnTo>
                    <a:pt x="38077" y="58505"/>
                  </a:lnTo>
                  <a:close/>
                </a:path>
              </a:pathLst>
            </a:custGeom>
            <a:solidFill>
              <a:srgbClr val="7F8183"/>
            </a:solidFill>
            <a:ln w="2790" cap="flat">
              <a:noFill/>
              <a:prstDash val="solid"/>
              <a:miter/>
            </a:ln>
          </p:spPr>
          <p:txBody>
            <a:bodyPr rtlCol="0" anchor="ctr"/>
            <a:lstStyle/>
            <a:p>
              <a:endParaRPr lang="x-none" sz="1905"/>
            </a:p>
          </p:txBody>
        </p:sp>
        <p:sp>
          <p:nvSpPr>
            <p:cNvPr id="34" name="Freeform 33">
              <a:extLst>
                <a:ext uri="{FF2B5EF4-FFF2-40B4-BE49-F238E27FC236}">
                  <a16:creationId xmlns:a16="http://schemas.microsoft.com/office/drawing/2014/main" id="{D9F88397-669E-CC40-984A-518579092475}"/>
                </a:ext>
              </a:extLst>
            </p:cNvPr>
            <p:cNvSpPr/>
            <p:nvPr/>
          </p:nvSpPr>
          <p:spPr>
            <a:xfrm>
              <a:off x="1734234" y="5935383"/>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35" name="Freeform 34">
              <a:extLst>
                <a:ext uri="{FF2B5EF4-FFF2-40B4-BE49-F238E27FC236}">
                  <a16:creationId xmlns:a16="http://schemas.microsoft.com/office/drawing/2014/main" id="{0B7EE570-C5D2-C241-8EE7-718941478E48}"/>
                </a:ext>
              </a:extLst>
            </p:cNvPr>
            <p:cNvSpPr/>
            <p:nvPr/>
          </p:nvSpPr>
          <p:spPr>
            <a:xfrm>
              <a:off x="1801362" y="5935383"/>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36" name="Freeform 35">
              <a:extLst>
                <a:ext uri="{FF2B5EF4-FFF2-40B4-BE49-F238E27FC236}">
                  <a16:creationId xmlns:a16="http://schemas.microsoft.com/office/drawing/2014/main" id="{0697A2F6-3279-4E42-B281-0DAF218F497F}"/>
                </a:ext>
              </a:extLst>
            </p:cNvPr>
            <p:cNvSpPr/>
            <p:nvPr/>
          </p:nvSpPr>
          <p:spPr>
            <a:xfrm>
              <a:off x="1868491" y="5935383"/>
              <a:ext cx="62333" cy="57374"/>
            </a:xfrm>
            <a:custGeom>
              <a:avLst/>
              <a:gdLst>
                <a:gd name="connsiteX0" fmla="*/ 52744 w 62333"/>
                <a:gd name="connsiteY0" fmla="*/ 0 h 57374"/>
                <a:gd name="connsiteX1" fmla="*/ 62333 w 62333"/>
                <a:gd name="connsiteY1" fmla="*/ 0 h 57374"/>
                <a:gd name="connsiteX2" fmla="*/ 62333 w 62333"/>
                <a:gd name="connsiteY2" fmla="*/ 57375 h 57374"/>
                <a:gd name="connsiteX3" fmla="*/ 52744 w 62333"/>
                <a:gd name="connsiteY3" fmla="*/ 57375 h 57374"/>
                <a:gd name="connsiteX4" fmla="*/ 52744 w 62333"/>
                <a:gd name="connsiteY4" fmla="*/ 0 h 57374"/>
                <a:gd name="connsiteX5" fmla="*/ 24256 w 62333"/>
                <a:gd name="connsiteY5" fmla="*/ 28546 h 57374"/>
                <a:gd name="connsiteX6" fmla="*/ 9590 w 62333"/>
                <a:gd name="connsiteY6" fmla="*/ 28546 h 57374"/>
                <a:gd name="connsiteX7" fmla="*/ 9590 w 62333"/>
                <a:gd name="connsiteY7" fmla="*/ 48896 h 57374"/>
                <a:gd name="connsiteX8" fmla="*/ 24256 w 62333"/>
                <a:gd name="connsiteY8" fmla="*/ 48896 h 57374"/>
                <a:gd name="connsiteX9" fmla="*/ 33000 w 62333"/>
                <a:gd name="connsiteY9" fmla="*/ 46069 h 57374"/>
                <a:gd name="connsiteX10" fmla="*/ 35256 w 62333"/>
                <a:gd name="connsiteY10" fmla="*/ 38438 h 57374"/>
                <a:gd name="connsiteX11" fmla="*/ 33000 w 62333"/>
                <a:gd name="connsiteY11" fmla="*/ 31090 h 57374"/>
                <a:gd name="connsiteX12" fmla="*/ 24256 w 62333"/>
                <a:gd name="connsiteY12" fmla="*/ 28546 h 57374"/>
                <a:gd name="connsiteX13" fmla="*/ 0 w 62333"/>
                <a:gd name="connsiteY13" fmla="*/ 57375 h 57374"/>
                <a:gd name="connsiteX14" fmla="*/ 0 w 62333"/>
                <a:gd name="connsiteY14" fmla="*/ 0 h 57374"/>
                <a:gd name="connsiteX15" fmla="*/ 9590 w 62333"/>
                <a:gd name="connsiteY15" fmla="*/ 0 h 57374"/>
                <a:gd name="connsiteX16" fmla="*/ 9590 w 62333"/>
                <a:gd name="connsiteY16" fmla="*/ 19784 h 57374"/>
                <a:gd name="connsiteX17" fmla="*/ 24256 w 62333"/>
                <a:gd name="connsiteY17" fmla="*/ 19784 h 57374"/>
                <a:gd name="connsiteX18" fmla="*/ 39205 w 62333"/>
                <a:gd name="connsiteY18" fmla="*/ 24589 h 57374"/>
                <a:gd name="connsiteX19" fmla="*/ 44282 w 62333"/>
                <a:gd name="connsiteY19" fmla="*/ 38156 h 57374"/>
                <a:gd name="connsiteX20" fmla="*/ 39205 w 62333"/>
                <a:gd name="connsiteY20" fmla="*/ 52287 h 57374"/>
                <a:gd name="connsiteX21" fmla="*/ 23974 w 62333"/>
                <a:gd name="connsiteY21" fmla="*/ 57375 h 57374"/>
                <a:gd name="connsiteX22" fmla="*/ 0 w 62333"/>
                <a:gd name="connsiteY22"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333" h="57374">
                  <a:moveTo>
                    <a:pt x="52744" y="0"/>
                  </a:moveTo>
                  <a:lnTo>
                    <a:pt x="62333" y="0"/>
                  </a:lnTo>
                  <a:lnTo>
                    <a:pt x="62333" y="57375"/>
                  </a:lnTo>
                  <a:lnTo>
                    <a:pt x="52744" y="57375"/>
                  </a:lnTo>
                  <a:lnTo>
                    <a:pt x="52744" y="0"/>
                  </a:lnTo>
                  <a:close/>
                  <a:moveTo>
                    <a:pt x="24256" y="28546"/>
                  </a:moveTo>
                  <a:lnTo>
                    <a:pt x="9590" y="28546"/>
                  </a:lnTo>
                  <a:lnTo>
                    <a:pt x="9590" y="48896"/>
                  </a:lnTo>
                  <a:lnTo>
                    <a:pt x="24256" y="48896"/>
                  </a:lnTo>
                  <a:cubicBezTo>
                    <a:pt x="28487" y="48896"/>
                    <a:pt x="31590" y="47765"/>
                    <a:pt x="33000" y="46069"/>
                  </a:cubicBezTo>
                  <a:cubicBezTo>
                    <a:pt x="34692" y="44091"/>
                    <a:pt x="35256" y="41547"/>
                    <a:pt x="35256" y="38438"/>
                  </a:cubicBezTo>
                  <a:cubicBezTo>
                    <a:pt x="35256" y="35329"/>
                    <a:pt x="34410" y="32786"/>
                    <a:pt x="33000" y="31090"/>
                  </a:cubicBezTo>
                  <a:cubicBezTo>
                    <a:pt x="31590" y="29394"/>
                    <a:pt x="28769" y="28546"/>
                    <a:pt x="24256" y="28546"/>
                  </a:cubicBezTo>
                  <a:moveTo>
                    <a:pt x="0" y="57375"/>
                  </a:moveTo>
                  <a:lnTo>
                    <a:pt x="0" y="0"/>
                  </a:lnTo>
                  <a:lnTo>
                    <a:pt x="9590" y="0"/>
                  </a:lnTo>
                  <a:lnTo>
                    <a:pt x="9590" y="19784"/>
                  </a:lnTo>
                  <a:lnTo>
                    <a:pt x="24256" y="19784"/>
                  </a:lnTo>
                  <a:cubicBezTo>
                    <a:pt x="30744" y="19784"/>
                    <a:pt x="35821" y="21480"/>
                    <a:pt x="39205" y="24589"/>
                  </a:cubicBezTo>
                  <a:cubicBezTo>
                    <a:pt x="42590" y="27698"/>
                    <a:pt x="44282" y="32220"/>
                    <a:pt x="44282" y="38156"/>
                  </a:cubicBezTo>
                  <a:cubicBezTo>
                    <a:pt x="44282" y="44091"/>
                    <a:pt x="42590" y="48896"/>
                    <a:pt x="39205" y="52287"/>
                  </a:cubicBezTo>
                  <a:cubicBezTo>
                    <a:pt x="35821" y="55679"/>
                    <a:pt x="30744" y="57375"/>
                    <a:pt x="23974" y="57375"/>
                  </a:cubicBezTo>
                  <a:lnTo>
                    <a:pt x="0" y="57375"/>
                  </a:lnTo>
                  <a:close/>
                </a:path>
              </a:pathLst>
            </a:custGeom>
            <a:solidFill>
              <a:srgbClr val="7F8183"/>
            </a:solidFill>
            <a:ln w="2790" cap="flat">
              <a:noFill/>
              <a:prstDash val="solid"/>
              <a:miter/>
            </a:ln>
          </p:spPr>
          <p:txBody>
            <a:bodyPr rtlCol="0" anchor="ctr"/>
            <a:lstStyle/>
            <a:p>
              <a:endParaRPr lang="x-none" sz="1905"/>
            </a:p>
          </p:txBody>
        </p:sp>
        <p:sp>
          <p:nvSpPr>
            <p:cNvPr id="37" name="Freeform 36">
              <a:extLst>
                <a:ext uri="{FF2B5EF4-FFF2-40B4-BE49-F238E27FC236}">
                  <a16:creationId xmlns:a16="http://schemas.microsoft.com/office/drawing/2014/main" id="{89A9CC34-F2CB-DA43-84FC-102D6C342923}"/>
                </a:ext>
              </a:extLst>
            </p:cNvPr>
            <p:cNvSpPr/>
            <p:nvPr/>
          </p:nvSpPr>
          <p:spPr>
            <a:xfrm>
              <a:off x="1941542" y="5935383"/>
              <a:ext cx="54435" cy="57374"/>
            </a:xfrm>
            <a:custGeom>
              <a:avLst/>
              <a:gdLst>
                <a:gd name="connsiteX0" fmla="*/ 42872 w 54435"/>
                <a:gd name="connsiteY0" fmla="*/ 57375 h 57374"/>
                <a:gd name="connsiteX1" fmla="*/ 26795 w 54435"/>
                <a:gd name="connsiteY1" fmla="*/ 34481 h 57374"/>
                <a:gd name="connsiteX2" fmla="*/ 11282 w 54435"/>
                <a:gd name="connsiteY2" fmla="*/ 57375 h 57374"/>
                <a:gd name="connsiteX3" fmla="*/ 0 w 54435"/>
                <a:gd name="connsiteY3" fmla="*/ 57375 h 57374"/>
                <a:gd name="connsiteX4" fmla="*/ 21154 w 54435"/>
                <a:gd name="connsiteY4" fmla="*/ 27981 h 57374"/>
                <a:gd name="connsiteX5" fmla="*/ 1410 w 54435"/>
                <a:gd name="connsiteY5" fmla="*/ 0 h 57374"/>
                <a:gd name="connsiteX6" fmla="*/ 12410 w 54435"/>
                <a:gd name="connsiteY6" fmla="*/ 0 h 57374"/>
                <a:gd name="connsiteX7" fmla="*/ 26795 w 54435"/>
                <a:gd name="connsiteY7" fmla="*/ 21198 h 57374"/>
                <a:gd name="connsiteX8" fmla="*/ 41462 w 54435"/>
                <a:gd name="connsiteY8" fmla="*/ 0 h 57374"/>
                <a:gd name="connsiteX9" fmla="*/ 52462 w 54435"/>
                <a:gd name="connsiteY9" fmla="*/ 0 h 57374"/>
                <a:gd name="connsiteX10" fmla="*/ 32436 w 54435"/>
                <a:gd name="connsiteY10" fmla="*/ 27416 h 57374"/>
                <a:gd name="connsiteX11" fmla="*/ 54436 w 54435"/>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35" h="57374">
                  <a:moveTo>
                    <a:pt x="42872" y="57375"/>
                  </a:moveTo>
                  <a:lnTo>
                    <a:pt x="26795" y="34481"/>
                  </a:lnTo>
                  <a:lnTo>
                    <a:pt x="11282" y="57375"/>
                  </a:lnTo>
                  <a:lnTo>
                    <a:pt x="0" y="57375"/>
                  </a:lnTo>
                  <a:lnTo>
                    <a:pt x="21154" y="27981"/>
                  </a:lnTo>
                  <a:lnTo>
                    <a:pt x="1410" y="0"/>
                  </a:lnTo>
                  <a:lnTo>
                    <a:pt x="12410" y="0"/>
                  </a:lnTo>
                  <a:lnTo>
                    <a:pt x="26795" y="21198"/>
                  </a:lnTo>
                  <a:lnTo>
                    <a:pt x="41462" y="0"/>
                  </a:lnTo>
                  <a:lnTo>
                    <a:pt x="52462" y="0"/>
                  </a:lnTo>
                  <a:lnTo>
                    <a:pt x="32436" y="27416"/>
                  </a:lnTo>
                  <a:lnTo>
                    <a:pt x="54436" y="57375"/>
                  </a:lnTo>
                  <a:close/>
                </a:path>
              </a:pathLst>
            </a:custGeom>
            <a:solidFill>
              <a:srgbClr val="7F8183"/>
            </a:solidFill>
            <a:ln w="2790" cap="flat">
              <a:noFill/>
              <a:prstDash val="solid"/>
              <a:miter/>
            </a:ln>
          </p:spPr>
          <p:txBody>
            <a:bodyPr rtlCol="0" anchor="ctr"/>
            <a:lstStyle/>
            <a:p>
              <a:endParaRPr lang="x-none" sz="1905"/>
            </a:p>
          </p:txBody>
        </p:sp>
        <p:grpSp>
          <p:nvGrpSpPr>
            <p:cNvPr id="38" name="Graphic 13">
              <a:extLst>
                <a:ext uri="{FF2B5EF4-FFF2-40B4-BE49-F238E27FC236}">
                  <a16:creationId xmlns:a16="http://schemas.microsoft.com/office/drawing/2014/main" id="{07D8688A-A1C6-824F-9702-4CAFEFF7A0AA}"/>
                </a:ext>
              </a:extLst>
            </p:cNvPr>
            <p:cNvGrpSpPr/>
            <p:nvPr/>
          </p:nvGrpSpPr>
          <p:grpSpPr>
            <a:xfrm>
              <a:off x="1266593" y="6057199"/>
              <a:ext cx="116205" cy="82246"/>
              <a:chOff x="1266593" y="6057199"/>
              <a:chExt cx="116205" cy="82246"/>
            </a:xfrm>
            <a:solidFill>
              <a:srgbClr val="CFD4D9"/>
            </a:solidFill>
          </p:grpSpPr>
          <p:sp>
            <p:nvSpPr>
              <p:cNvPr id="39" name="Freeform 38">
                <a:extLst>
                  <a:ext uri="{FF2B5EF4-FFF2-40B4-BE49-F238E27FC236}">
                    <a16:creationId xmlns:a16="http://schemas.microsoft.com/office/drawing/2014/main" id="{2E98A8DD-9977-C940-817A-9C02F17BECE4}"/>
                  </a:ext>
                </a:extLst>
              </p:cNvPr>
              <p:cNvSpPr/>
              <p:nvPr/>
            </p:nvSpPr>
            <p:spPr>
              <a:xfrm>
                <a:off x="1266593" y="6057199"/>
                <a:ext cx="54153" cy="82246"/>
              </a:xfrm>
              <a:custGeom>
                <a:avLst/>
                <a:gdLst>
                  <a:gd name="connsiteX0" fmla="*/ 9308 w 54153"/>
                  <a:gd name="connsiteY0" fmla="*/ 34764 h 82246"/>
                  <a:gd name="connsiteX1" fmla="*/ 14667 w 54153"/>
                  <a:gd name="connsiteY1" fmla="*/ 46917 h 82246"/>
                  <a:gd name="connsiteX2" fmla="*/ 27359 w 54153"/>
                  <a:gd name="connsiteY2" fmla="*/ 51439 h 82246"/>
                  <a:gd name="connsiteX3" fmla="*/ 39769 w 54153"/>
                  <a:gd name="connsiteY3" fmla="*/ 45504 h 82246"/>
                  <a:gd name="connsiteX4" fmla="*/ 44282 w 54153"/>
                  <a:gd name="connsiteY4" fmla="*/ 29677 h 82246"/>
                  <a:gd name="connsiteX5" fmla="*/ 39769 w 54153"/>
                  <a:gd name="connsiteY5" fmla="*/ 14414 h 82246"/>
                  <a:gd name="connsiteX6" fmla="*/ 27077 w 54153"/>
                  <a:gd name="connsiteY6" fmla="*/ 8479 h 82246"/>
                  <a:gd name="connsiteX7" fmla="*/ 20590 w 54153"/>
                  <a:gd name="connsiteY7" fmla="*/ 9610 h 82246"/>
                  <a:gd name="connsiteX8" fmla="*/ 14949 w 54153"/>
                  <a:gd name="connsiteY8" fmla="*/ 13284 h 82246"/>
                  <a:gd name="connsiteX9" fmla="*/ 11000 w 54153"/>
                  <a:gd name="connsiteY9" fmla="*/ 19219 h 82246"/>
                  <a:gd name="connsiteX10" fmla="*/ 9590 w 54153"/>
                  <a:gd name="connsiteY10" fmla="*/ 27416 h 82246"/>
                  <a:gd name="connsiteX11" fmla="*/ 9590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308" y="34764"/>
                    </a:moveTo>
                    <a:cubicBezTo>
                      <a:pt x="9308" y="40134"/>
                      <a:pt x="11000" y="44091"/>
                      <a:pt x="14667" y="46917"/>
                    </a:cubicBezTo>
                    <a:cubicBezTo>
                      <a:pt x="18333" y="49744"/>
                      <a:pt x="22564" y="51439"/>
                      <a:pt x="27359" y="51439"/>
                    </a:cubicBezTo>
                    <a:cubicBezTo>
                      <a:pt x="32718" y="51439"/>
                      <a:pt x="36667" y="49461"/>
                      <a:pt x="39769" y="45504"/>
                    </a:cubicBezTo>
                    <a:cubicBezTo>
                      <a:pt x="42872" y="41547"/>
                      <a:pt x="44282" y="36460"/>
                      <a:pt x="44282" y="29677"/>
                    </a:cubicBezTo>
                    <a:cubicBezTo>
                      <a:pt x="44282" y="23459"/>
                      <a:pt x="42872" y="18371"/>
                      <a:pt x="39769" y="14414"/>
                    </a:cubicBezTo>
                    <a:cubicBezTo>
                      <a:pt x="36667" y="10457"/>
                      <a:pt x="32436" y="8479"/>
                      <a:pt x="27077" y="8479"/>
                    </a:cubicBezTo>
                    <a:cubicBezTo>
                      <a:pt x="24821" y="8479"/>
                      <a:pt x="22564" y="8762"/>
                      <a:pt x="20590" y="9610"/>
                    </a:cubicBezTo>
                    <a:cubicBezTo>
                      <a:pt x="18615" y="10457"/>
                      <a:pt x="16641" y="11588"/>
                      <a:pt x="14949" y="13284"/>
                    </a:cubicBezTo>
                    <a:cubicBezTo>
                      <a:pt x="13256" y="14980"/>
                      <a:pt x="11846" y="16958"/>
                      <a:pt x="11000" y="19219"/>
                    </a:cubicBezTo>
                    <a:cubicBezTo>
                      <a:pt x="9872" y="21763"/>
                      <a:pt x="9590" y="24307"/>
                      <a:pt x="9590" y="27416"/>
                    </a:cubicBezTo>
                    <a:lnTo>
                      <a:pt x="9590" y="34764"/>
                    </a:lnTo>
                    <a:close/>
                    <a:moveTo>
                      <a:pt x="0" y="82247"/>
                    </a:moveTo>
                    <a:lnTo>
                      <a:pt x="0" y="1413"/>
                    </a:lnTo>
                    <a:lnTo>
                      <a:pt x="9590" y="1413"/>
                    </a:lnTo>
                    <a:lnTo>
                      <a:pt x="9590" y="9044"/>
                    </a:lnTo>
                    <a:cubicBezTo>
                      <a:pt x="11564" y="5935"/>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sp>
            <p:nvSpPr>
              <p:cNvPr id="40" name="Freeform 39">
                <a:extLst>
                  <a:ext uri="{FF2B5EF4-FFF2-40B4-BE49-F238E27FC236}">
                    <a16:creationId xmlns:a16="http://schemas.microsoft.com/office/drawing/2014/main" id="{8C6780E2-6CE2-BE48-A223-F1BECDCB9E65}"/>
                  </a:ext>
                </a:extLst>
              </p:cNvPr>
              <p:cNvSpPr/>
              <p:nvPr/>
            </p:nvSpPr>
            <p:spPr>
              <a:xfrm>
                <a:off x="1331465" y="6057764"/>
                <a:ext cx="51333" cy="59635"/>
              </a:xfrm>
              <a:custGeom>
                <a:avLst/>
                <a:gdLst>
                  <a:gd name="connsiteX0" fmla="*/ 26513 w 51333"/>
                  <a:gd name="connsiteY0" fmla="*/ 7914 h 59635"/>
                  <a:gd name="connsiteX1" fmla="*/ 15513 w 51333"/>
                  <a:gd name="connsiteY1" fmla="*/ 12153 h 59635"/>
                  <a:gd name="connsiteX2" fmla="*/ 9872 w 51333"/>
                  <a:gd name="connsiteY2" fmla="*/ 23176 h 59635"/>
                  <a:gd name="connsiteX3" fmla="*/ 42026 w 51333"/>
                  <a:gd name="connsiteY3" fmla="*/ 23176 h 59635"/>
                  <a:gd name="connsiteX4" fmla="*/ 38077 w 51333"/>
                  <a:gd name="connsiteY4" fmla="*/ 12153 h 59635"/>
                  <a:gd name="connsiteX5" fmla="*/ 26513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9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513" y="7914"/>
                    </a:moveTo>
                    <a:cubicBezTo>
                      <a:pt x="22000" y="7914"/>
                      <a:pt x="18333" y="9327"/>
                      <a:pt x="15513" y="12153"/>
                    </a:cubicBezTo>
                    <a:cubicBezTo>
                      <a:pt x="12410" y="14980"/>
                      <a:pt x="10718" y="18654"/>
                      <a:pt x="9872" y="23176"/>
                    </a:cubicBezTo>
                    <a:lnTo>
                      <a:pt x="42026" y="23176"/>
                    </a:lnTo>
                    <a:cubicBezTo>
                      <a:pt x="41744" y="18654"/>
                      <a:pt x="40333" y="14980"/>
                      <a:pt x="38077" y="12153"/>
                    </a:cubicBezTo>
                    <a:cubicBezTo>
                      <a:pt x="35256" y="9327"/>
                      <a:pt x="31590" y="7914"/>
                      <a:pt x="26513"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9"/>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grpSp>
        <p:sp>
          <p:nvSpPr>
            <p:cNvPr id="41" name="Freeform 40">
              <a:extLst>
                <a:ext uri="{FF2B5EF4-FFF2-40B4-BE49-F238E27FC236}">
                  <a16:creationId xmlns:a16="http://schemas.microsoft.com/office/drawing/2014/main" id="{879C8422-73CC-E442-8BFD-28563DA6B8D7}"/>
                </a:ext>
              </a:extLst>
            </p:cNvPr>
            <p:cNvSpPr/>
            <p:nvPr/>
          </p:nvSpPr>
          <p:spPr>
            <a:xfrm>
              <a:off x="1396901" y="6058612"/>
              <a:ext cx="75307" cy="57374"/>
            </a:xfrm>
            <a:custGeom>
              <a:avLst/>
              <a:gdLst>
                <a:gd name="connsiteX0" fmla="*/ 75308 w 75307"/>
                <a:gd name="connsiteY0" fmla="*/ 0 h 57374"/>
                <a:gd name="connsiteX1" fmla="*/ 75308 w 75307"/>
                <a:gd name="connsiteY1" fmla="*/ 57375 h 57374"/>
                <a:gd name="connsiteX2" fmla="*/ 0 w 75307"/>
                <a:gd name="connsiteY2" fmla="*/ 57375 h 57374"/>
                <a:gd name="connsiteX3" fmla="*/ 0 w 75307"/>
                <a:gd name="connsiteY3" fmla="*/ 0 h 57374"/>
                <a:gd name="connsiteX4" fmla="*/ 9308 w 75307"/>
                <a:gd name="connsiteY4" fmla="*/ 0 h 57374"/>
                <a:gd name="connsiteX5" fmla="*/ 9308 w 75307"/>
                <a:gd name="connsiteY5" fmla="*/ 48613 h 57374"/>
                <a:gd name="connsiteX6" fmla="*/ 32718 w 75307"/>
                <a:gd name="connsiteY6" fmla="*/ 48613 h 57374"/>
                <a:gd name="connsiteX7" fmla="*/ 32718 w 75307"/>
                <a:gd name="connsiteY7" fmla="*/ 0 h 57374"/>
                <a:gd name="connsiteX8" fmla="*/ 42308 w 75307"/>
                <a:gd name="connsiteY8" fmla="*/ 0 h 57374"/>
                <a:gd name="connsiteX9" fmla="*/ 42308 w 75307"/>
                <a:gd name="connsiteY9" fmla="*/ 48613 h 57374"/>
                <a:gd name="connsiteX10" fmla="*/ 65718 w 75307"/>
                <a:gd name="connsiteY10" fmla="*/ 48613 h 57374"/>
                <a:gd name="connsiteX11" fmla="*/ 65718 w 75307"/>
                <a:gd name="connsiteY11" fmla="*/ 0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307" h="57374">
                  <a:moveTo>
                    <a:pt x="75308" y="0"/>
                  </a:moveTo>
                  <a:lnTo>
                    <a:pt x="75308" y="57375"/>
                  </a:lnTo>
                  <a:lnTo>
                    <a:pt x="0" y="57375"/>
                  </a:lnTo>
                  <a:lnTo>
                    <a:pt x="0" y="0"/>
                  </a:lnTo>
                  <a:lnTo>
                    <a:pt x="9308" y="0"/>
                  </a:lnTo>
                  <a:lnTo>
                    <a:pt x="9308" y="48613"/>
                  </a:lnTo>
                  <a:lnTo>
                    <a:pt x="32718" y="48613"/>
                  </a:lnTo>
                  <a:lnTo>
                    <a:pt x="32718" y="0"/>
                  </a:lnTo>
                  <a:lnTo>
                    <a:pt x="42308" y="0"/>
                  </a:lnTo>
                  <a:lnTo>
                    <a:pt x="42308" y="48613"/>
                  </a:lnTo>
                  <a:lnTo>
                    <a:pt x="65718" y="48613"/>
                  </a:lnTo>
                  <a:lnTo>
                    <a:pt x="65718" y="0"/>
                  </a:lnTo>
                  <a:close/>
                </a:path>
              </a:pathLst>
            </a:custGeom>
            <a:solidFill>
              <a:srgbClr val="7F8183"/>
            </a:solidFill>
            <a:ln w="2790" cap="flat">
              <a:noFill/>
              <a:prstDash val="solid"/>
              <a:miter/>
            </a:ln>
          </p:spPr>
          <p:txBody>
            <a:bodyPr rtlCol="0" anchor="ctr"/>
            <a:lstStyle/>
            <a:p>
              <a:endParaRPr lang="x-none" sz="1905"/>
            </a:p>
          </p:txBody>
        </p:sp>
        <p:sp>
          <p:nvSpPr>
            <p:cNvPr id="42" name="Freeform 41">
              <a:extLst>
                <a:ext uri="{FF2B5EF4-FFF2-40B4-BE49-F238E27FC236}">
                  <a16:creationId xmlns:a16="http://schemas.microsoft.com/office/drawing/2014/main" id="{EA455DA5-2853-E840-8124-C7F1466F2A9B}"/>
                </a:ext>
              </a:extLst>
            </p:cNvPr>
            <p:cNvSpPr/>
            <p:nvPr/>
          </p:nvSpPr>
          <p:spPr>
            <a:xfrm>
              <a:off x="1486311" y="6057764"/>
              <a:ext cx="51333" cy="59635"/>
            </a:xfrm>
            <a:custGeom>
              <a:avLst/>
              <a:gdLst>
                <a:gd name="connsiteX0" fmla="*/ 26513 w 51333"/>
                <a:gd name="connsiteY0" fmla="*/ 7914 h 59635"/>
                <a:gd name="connsiteX1" fmla="*/ 15513 w 51333"/>
                <a:gd name="connsiteY1" fmla="*/ 12153 h 59635"/>
                <a:gd name="connsiteX2" fmla="*/ 9872 w 51333"/>
                <a:gd name="connsiteY2" fmla="*/ 23176 h 59635"/>
                <a:gd name="connsiteX3" fmla="*/ 41744 w 51333"/>
                <a:gd name="connsiteY3" fmla="*/ 23176 h 59635"/>
                <a:gd name="connsiteX4" fmla="*/ 37795 w 51333"/>
                <a:gd name="connsiteY4" fmla="*/ 12153 h 59635"/>
                <a:gd name="connsiteX5" fmla="*/ 26513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9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513" y="7914"/>
                  </a:moveTo>
                  <a:cubicBezTo>
                    <a:pt x="22000" y="7914"/>
                    <a:pt x="18333" y="9327"/>
                    <a:pt x="15513" y="12153"/>
                  </a:cubicBezTo>
                  <a:cubicBezTo>
                    <a:pt x="12410" y="14980"/>
                    <a:pt x="10718" y="18654"/>
                    <a:pt x="9872" y="23176"/>
                  </a:cubicBezTo>
                  <a:lnTo>
                    <a:pt x="41744" y="23176"/>
                  </a:lnTo>
                  <a:cubicBezTo>
                    <a:pt x="41462" y="18654"/>
                    <a:pt x="40051" y="14980"/>
                    <a:pt x="37795" y="12153"/>
                  </a:cubicBezTo>
                  <a:cubicBezTo>
                    <a:pt x="35256" y="9327"/>
                    <a:pt x="31590" y="7914"/>
                    <a:pt x="26513"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9"/>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43" name="Freeform 42">
              <a:extLst>
                <a:ext uri="{FF2B5EF4-FFF2-40B4-BE49-F238E27FC236}">
                  <a16:creationId xmlns:a16="http://schemas.microsoft.com/office/drawing/2014/main" id="{B2ACC8BE-4AB8-E645-9D0F-C4CC3134B68E}"/>
                </a:ext>
              </a:extLst>
            </p:cNvPr>
            <p:cNvSpPr/>
            <p:nvPr/>
          </p:nvSpPr>
          <p:spPr>
            <a:xfrm>
              <a:off x="1551747" y="6058612"/>
              <a:ext cx="49076" cy="57374"/>
            </a:xfrm>
            <a:custGeom>
              <a:avLst/>
              <a:gdLst>
                <a:gd name="connsiteX0" fmla="*/ 0 w 49076"/>
                <a:gd name="connsiteY0" fmla="*/ 57375 h 57374"/>
                <a:gd name="connsiteX1" fmla="*/ 0 w 49076"/>
                <a:gd name="connsiteY1" fmla="*/ 0 h 57374"/>
                <a:gd name="connsiteX2" fmla="*/ 9308 w 49076"/>
                <a:gd name="connsiteY2" fmla="*/ 0 h 57374"/>
                <a:gd name="connsiteX3" fmla="*/ 9308 w 49076"/>
                <a:gd name="connsiteY3" fmla="*/ 23459 h 57374"/>
                <a:gd name="connsiteX4" fmla="*/ 39769 w 49076"/>
                <a:gd name="connsiteY4" fmla="*/ 23459 h 57374"/>
                <a:gd name="connsiteX5" fmla="*/ 39769 w 49076"/>
                <a:gd name="connsiteY5" fmla="*/ 0 h 57374"/>
                <a:gd name="connsiteX6" fmla="*/ 49077 w 49076"/>
                <a:gd name="connsiteY6" fmla="*/ 0 h 57374"/>
                <a:gd name="connsiteX7" fmla="*/ 49077 w 49076"/>
                <a:gd name="connsiteY7" fmla="*/ 57375 h 57374"/>
                <a:gd name="connsiteX8" fmla="*/ 39769 w 49076"/>
                <a:gd name="connsiteY8" fmla="*/ 57375 h 57374"/>
                <a:gd name="connsiteX9" fmla="*/ 39769 w 49076"/>
                <a:gd name="connsiteY9" fmla="*/ 32503 h 57374"/>
                <a:gd name="connsiteX10" fmla="*/ 9308 w 49076"/>
                <a:gd name="connsiteY10" fmla="*/ 32503 h 57374"/>
                <a:gd name="connsiteX11" fmla="*/ 9308 w 49076"/>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076" h="57374">
                  <a:moveTo>
                    <a:pt x="0" y="57375"/>
                  </a:moveTo>
                  <a:lnTo>
                    <a:pt x="0" y="0"/>
                  </a:lnTo>
                  <a:lnTo>
                    <a:pt x="9308" y="0"/>
                  </a:lnTo>
                  <a:lnTo>
                    <a:pt x="9308" y="23459"/>
                  </a:lnTo>
                  <a:lnTo>
                    <a:pt x="39769" y="23459"/>
                  </a:lnTo>
                  <a:lnTo>
                    <a:pt x="39769" y="0"/>
                  </a:lnTo>
                  <a:lnTo>
                    <a:pt x="49077" y="0"/>
                  </a:lnTo>
                  <a:lnTo>
                    <a:pt x="49077" y="57375"/>
                  </a:lnTo>
                  <a:lnTo>
                    <a:pt x="39769" y="57375"/>
                  </a:lnTo>
                  <a:lnTo>
                    <a:pt x="39769" y="32503"/>
                  </a:lnTo>
                  <a:lnTo>
                    <a:pt x="9308" y="32503"/>
                  </a:lnTo>
                  <a:lnTo>
                    <a:pt x="9308" y="57375"/>
                  </a:lnTo>
                  <a:close/>
                </a:path>
              </a:pathLst>
            </a:custGeom>
            <a:solidFill>
              <a:srgbClr val="7F8183"/>
            </a:solidFill>
            <a:ln w="2790" cap="flat">
              <a:noFill/>
              <a:prstDash val="solid"/>
              <a:miter/>
            </a:ln>
          </p:spPr>
          <p:txBody>
            <a:bodyPr rtlCol="0" anchor="ctr"/>
            <a:lstStyle/>
            <a:p>
              <a:endParaRPr lang="x-none" sz="1905"/>
            </a:p>
          </p:txBody>
        </p:sp>
        <p:sp>
          <p:nvSpPr>
            <p:cNvPr id="44" name="Freeform 43">
              <a:extLst>
                <a:ext uri="{FF2B5EF4-FFF2-40B4-BE49-F238E27FC236}">
                  <a16:creationId xmlns:a16="http://schemas.microsoft.com/office/drawing/2014/main" id="{1CA3E67C-098E-0948-A982-BC9E6402B975}"/>
                </a:ext>
              </a:extLst>
            </p:cNvPr>
            <p:cNvSpPr/>
            <p:nvPr/>
          </p:nvSpPr>
          <p:spPr>
            <a:xfrm>
              <a:off x="1618875" y="6058612"/>
              <a:ext cx="47948" cy="57374"/>
            </a:xfrm>
            <a:custGeom>
              <a:avLst/>
              <a:gdLst>
                <a:gd name="connsiteX0" fmla="*/ 10154 w 47948"/>
                <a:gd name="connsiteY0" fmla="*/ 57375 h 57374"/>
                <a:gd name="connsiteX1" fmla="*/ 0 w 47948"/>
                <a:gd name="connsiteY1" fmla="*/ 57375 h 57374"/>
                <a:gd name="connsiteX2" fmla="*/ 0 w 47948"/>
                <a:gd name="connsiteY2" fmla="*/ 0 h 57374"/>
                <a:gd name="connsiteX3" fmla="*/ 9026 w 47948"/>
                <a:gd name="connsiteY3" fmla="*/ 0 h 57374"/>
                <a:gd name="connsiteX4" fmla="*/ 9026 w 47948"/>
                <a:gd name="connsiteY4" fmla="*/ 44939 h 57374"/>
                <a:gd name="connsiteX5" fmla="*/ 37513 w 47948"/>
                <a:gd name="connsiteY5" fmla="*/ 0 h 57374"/>
                <a:gd name="connsiteX6" fmla="*/ 47949 w 47948"/>
                <a:gd name="connsiteY6" fmla="*/ 0 h 57374"/>
                <a:gd name="connsiteX7" fmla="*/ 47949 w 47948"/>
                <a:gd name="connsiteY7" fmla="*/ 57375 h 57374"/>
                <a:gd name="connsiteX8" fmla="*/ 38923 w 47948"/>
                <a:gd name="connsiteY8" fmla="*/ 57375 h 57374"/>
                <a:gd name="connsiteX9" fmla="*/ 38923 w 47948"/>
                <a:gd name="connsiteY9" fmla="*/ 12153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48" h="57374">
                  <a:moveTo>
                    <a:pt x="10154" y="57375"/>
                  </a:moveTo>
                  <a:lnTo>
                    <a:pt x="0" y="57375"/>
                  </a:lnTo>
                  <a:lnTo>
                    <a:pt x="0" y="0"/>
                  </a:lnTo>
                  <a:lnTo>
                    <a:pt x="9026" y="0"/>
                  </a:lnTo>
                  <a:lnTo>
                    <a:pt x="9026" y="44939"/>
                  </a:lnTo>
                  <a:lnTo>
                    <a:pt x="37513" y="0"/>
                  </a:lnTo>
                  <a:lnTo>
                    <a:pt x="47949" y="0"/>
                  </a:lnTo>
                  <a:lnTo>
                    <a:pt x="47949" y="57375"/>
                  </a:lnTo>
                  <a:lnTo>
                    <a:pt x="38923" y="57375"/>
                  </a:lnTo>
                  <a:lnTo>
                    <a:pt x="38923" y="12153"/>
                  </a:lnTo>
                  <a:close/>
                </a:path>
              </a:pathLst>
            </a:custGeom>
            <a:solidFill>
              <a:srgbClr val="7F8183"/>
            </a:solidFill>
            <a:ln w="2790" cap="flat">
              <a:noFill/>
              <a:prstDash val="solid"/>
              <a:miter/>
            </a:ln>
          </p:spPr>
          <p:txBody>
            <a:bodyPr rtlCol="0" anchor="ctr"/>
            <a:lstStyle/>
            <a:p>
              <a:endParaRPr lang="x-none" sz="1905"/>
            </a:p>
          </p:txBody>
        </p:sp>
        <p:sp>
          <p:nvSpPr>
            <p:cNvPr id="45" name="Freeform 44">
              <a:extLst>
                <a:ext uri="{FF2B5EF4-FFF2-40B4-BE49-F238E27FC236}">
                  <a16:creationId xmlns:a16="http://schemas.microsoft.com/office/drawing/2014/main" id="{5235B930-F4AF-9044-9C2F-93969269A01D}"/>
                </a:ext>
              </a:extLst>
            </p:cNvPr>
            <p:cNvSpPr/>
            <p:nvPr/>
          </p:nvSpPr>
          <p:spPr>
            <a:xfrm>
              <a:off x="1684875" y="6036849"/>
              <a:ext cx="48230" cy="79137"/>
            </a:xfrm>
            <a:custGeom>
              <a:avLst/>
              <a:gdLst>
                <a:gd name="connsiteX0" fmla="*/ 24256 w 48230"/>
                <a:gd name="connsiteY0" fmla="*/ 15545 h 79137"/>
                <a:gd name="connsiteX1" fmla="*/ 11282 w 48230"/>
                <a:gd name="connsiteY1" fmla="*/ 11305 h 79137"/>
                <a:gd name="connsiteX2" fmla="*/ 7051 w 48230"/>
                <a:gd name="connsiteY2" fmla="*/ 0 h 79137"/>
                <a:gd name="connsiteX3" fmla="*/ 14949 w 48230"/>
                <a:gd name="connsiteY3" fmla="*/ 0 h 79137"/>
                <a:gd name="connsiteX4" fmla="*/ 17487 w 48230"/>
                <a:gd name="connsiteY4" fmla="*/ 6218 h 79137"/>
                <a:gd name="connsiteX5" fmla="*/ 23974 w 48230"/>
                <a:gd name="connsiteY5" fmla="*/ 8479 h 79137"/>
                <a:gd name="connsiteX6" fmla="*/ 30462 w 48230"/>
                <a:gd name="connsiteY6" fmla="*/ 6218 h 79137"/>
                <a:gd name="connsiteX7" fmla="*/ 33000 w 48230"/>
                <a:gd name="connsiteY7" fmla="*/ 0 h 79137"/>
                <a:gd name="connsiteX8" fmla="*/ 40897 w 48230"/>
                <a:gd name="connsiteY8" fmla="*/ 0 h 79137"/>
                <a:gd name="connsiteX9" fmla="*/ 36667 w 48230"/>
                <a:gd name="connsiteY9" fmla="*/ 11305 h 79137"/>
                <a:gd name="connsiteX10" fmla="*/ 24256 w 48230"/>
                <a:gd name="connsiteY10" fmla="*/ 15545 h 79137"/>
                <a:gd name="connsiteX11" fmla="*/ 10154 w 48230"/>
                <a:gd name="connsiteY11" fmla="*/ 79138 h 79137"/>
                <a:gd name="connsiteX12" fmla="*/ 0 w 48230"/>
                <a:gd name="connsiteY12" fmla="*/ 79138 h 79137"/>
                <a:gd name="connsiteX13" fmla="*/ 0 w 48230"/>
                <a:gd name="connsiteY13" fmla="*/ 21763 h 79137"/>
                <a:gd name="connsiteX14" fmla="*/ 9308 w 48230"/>
                <a:gd name="connsiteY14" fmla="*/ 21763 h 79137"/>
                <a:gd name="connsiteX15" fmla="*/ 9308 w 48230"/>
                <a:gd name="connsiteY15" fmla="*/ 66702 h 79137"/>
                <a:gd name="connsiteX16" fmla="*/ 37795 w 48230"/>
                <a:gd name="connsiteY16" fmla="*/ 21763 h 79137"/>
                <a:gd name="connsiteX17" fmla="*/ 48231 w 48230"/>
                <a:gd name="connsiteY17" fmla="*/ 21763 h 79137"/>
                <a:gd name="connsiteX18" fmla="*/ 48231 w 48230"/>
                <a:gd name="connsiteY18" fmla="*/ 79138 h 79137"/>
                <a:gd name="connsiteX19" fmla="*/ 38923 w 48230"/>
                <a:gd name="connsiteY19" fmla="*/ 79138 h 79137"/>
                <a:gd name="connsiteX20" fmla="*/ 38923 w 48230"/>
                <a:gd name="connsiteY20" fmla="*/ 33916 h 79137"/>
                <a:gd name="connsiteX21" fmla="*/ 10154 w 48230"/>
                <a:gd name="connsiteY21" fmla="*/ 79138 h 7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230" h="79137">
                  <a:moveTo>
                    <a:pt x="24256" y="15545"/>
                  </a:moveTo>
                  <a:cubicBezTo>
                    <a:pt x="18333" y="15545"/>
                    <a:pt x="14103" y="14132"/>
                    <a:pt x="11282" y="11305"/>
                  </a:cubicBezTo>
                  <a:cubicBezTo>
                    <a:pt x="8462" y="8479"/>
                    <a:pt x="7051" y="4805"/>
                    <a:pt x="7051" y="0"/>
                  </a:cubicBezTo>
                  <a:lnTo>
                    <a:pt x="14949" y="0"/>
                  </a:lnTo>
                  <a:cubicBezTo>
                    <a:pt x="15231" y="2544"/>
                    <a:pt x="16077" y="4805"/>
                    <a:pt x="17487" y="6218"/>
                  </a:cubicBezTo>
                  <a:cubicBezTo>
                    <a:pt x="18897" y="7631"/>
                    <a:pt x="21154" y="8479"/>
                    <a:pt x="23974" y="8479"/>
                  </a:cubicBezTo>
                  <a:cubicBezTo>
                    <a:pt x="26795" y="8479"/>
                    <a:pt x="29051" y="7631"/>
                    <a:pt x="30462" y="6218"/>
                  </a:cubicBezTo>
                  <a:cubicBezTo>
                    <a:pt x="31872" y="4805"/>
                    <a:pt x="32718" y="2544"/>
                    <a:pt x="33000" y="0"/>
                  </a:cubicBezTo>
                  <a:lnTo>
                    <a:pt x="40897" y="0"/>
                  </a:lnTo>
                  <a:cubicBezTo>
                    <a:pt x="40615" y="4522"/>
                    <a:pt x="39205" y="8196"/>
                    <a:pt x="36667" y="11305"/>
                  </a:cubicBezTo>
                  <a:cubicBezTo>
                    <a:pt x="34128" y="14132"/>
                    <a:pt x="29897" y="15545"/>
                    <a:pt x="24256" y="15545"/>
                  </a:cubicBezTo>
                  <a:moveTo>
                    <a:pt x="10154" y="79138"/>
                  </a:moveTo>
                  <a:lnTo>
                    <a:pt x="0" y="79138"/>
                  </a:lnTo>
                  <a:lnTo>
                    <a:pt x="0" y="21763"/>
                  </a:lnTo>
                  <a:lnTo>
                    <a:pt x="9308" y="21763"/>
                  </a:lnTo>
                  <a:lnTo>
                    <a:pt x="9308" y="66702"/>
                  </a:lnTo>
                  <a:lnTo>
                    <a:pt x="37795" y="21763"/>
                  </a:lnTo>
                  <a:lnTo>
                    <a:pt x="48231" y="21763"/>
                  </a:lnTo>
                  <a:lnTo>
                    <a:pt x="48231" y="79138"/>
                  </a:lnTo>
                  <a:lnTo>
                    <a:pt x="38923" y="79138"/>
                  </a:lnTo>
                  <a:lnTo>
                    <a:pt x="38923" y="33916"/>
                  </a:lnTo>
                  <a:lnTo>
                    <a:pt x="10154" y="79138"/>
                  </a:lnTo>
                  <a:close/>
                </a:path>
              </a:pathLst>
            </a:custGeom>
            <a:solidFill>
              <a:srgbClr val="7F8183"/>
            </a:solidFill>
            <a:ln w="2790" cap="flat">
              <a:noFill/>
              <a:prstDash val="solid"/>
              <a:miter/>
            </a:ln>
          </p:spPr>
          <p:txBody>
            <a:bodyPr rtlCol="0" anchor="ctr"/>
            <a:lstStyle/>
            <a:p>
              <a:endParaRPr lang="x-none" sz="1905"/>
            </a:p>
          </p:txBody>
        </p:sp>
        <p:sp>
          <p:nvSpPr>
            <p:cNvPr id="46" name="Freeform 45">
              <a:extLst>
                <a:ext uri="{FF2B5EF4-FFF2-40B4-BE49-F238E27FC236}">
                  <a16:creationId xmlns:a16="http://schemas.microsoft.com/office/drawing/2014/main" id="{0B5BD2DA-8C99-714A-8DD4-0648E4667B1A}"/>
                </a:ext>
              </a:extLst>
            </p:cNvPr>
            <p:cNvSpPr/>
            <p:nvPr/>
          </p:nvSpPr>
          <p:spPr>
            <a:xfrm>
              <a:off x="1260952" y="5466493"/>
              <a:ext cx="483718" cy="255784"/>
            </a:xfrm>
            <a:custGeom>
              <a:avLst/>
              <a:gdLst>
                <a:gd name="connsiteX0" fmla="*/ 483718 w 483718"/>
                <a:gd name="connsiteY0" fmla="*/ 0 h 255784"/>
                <a:gd name="connsiteX1" fmla="*/ 0 w 483718"/>
                <a:gd name="connsiteY1" fmla="*/ 212541 h 255784"/>
                <a:gd name="connsiteX2" fmla="*/ 0 w 483718"/>
                <a:gd name="connsiteY2" fmla="*/ 255784 h 255784"/>
                <a:gd name="connsiteX3" fmla="*/ 483718 w 483718"/>
                <a:gd name="connsiteY3" fmla="*/ 43243 h 255784"/>
              </a:gdLst>
              <a:ahLst/>
              <a:cxnLst>
                <a:cxn ang="0">
                  <a:pos x="connsiteX0" y="connsiteY0"/>
                </a:cxn>
                <a:cxn ang="0">
                  <a:pos x="connsiteX1" y="connsiteY1"/>
                </a:cxn>
                <a:cxn ang="0">
                  <a:pos x="connsiteX2" y="connsiteY2"/>
                </a:cxn>
                <a:cxn ang="0">
                  <a:pos x="connsiteX3" y="connsiteY3"/>
                </a:cxn>
              </a:cxnLst>
              <a:rect l="l" t="t" r="r" b="b"/>
              <a:pathLst>
                <a:path w="483718" h="255784">
                  <a:moveTo>
                    <a:pt x="483718" y="0"/>
                  </a:moveTo>
                  <a:lnTo>
                    <a:pt x="0" y="212541"/>
                  </a:lnTo>
                  <a:lnTo>
                    <a:pt x="0" y="255784"/>
                  </a:lnTo>
                  <a:lnTo>
                    <a:pt x="483718" y="43243"/>
                  </a:lnTo>
                  <a:close/>
                </a:path>
              </a:pathLst>
            </a:custGeom>
            <a:solidFill>
              <a:srgbClr val="E22B26"/>
            </a:solidFill>
            <a:ln w="2790" cap="flat">
              <a:noFill/>
              <a:prstDash val="solid"/>
              <a:miter/>
            </a:ln>
          </p:spPr>
          <p:txBody>
            <a:bodyPr rtlCol="0" anchor="ctr"/>
            <a:lstStyle/>
            <a:p>
              <a:endParaRPr lang="x-none" sz="1905"/>
            </a:p>
          </p:txBody>
        </p:sp>
      </p:grpSp>
    </p:spTree>
    <p:extLst>
      <p:ext uri="{BB962C8B-B14F-4D97-AF65-F5344CB8AC3E}">
        <p14:creationId xmlns:p14="http://schemas.microsoft.com/office/powerpoint/2010/main" val="1522896036"/>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Content">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B144694-7FC2-824B-ACAA-93D4B0E2FE77}"/>
              </a:ext>
            </a:extLst>
          </p:cNvPr>
          <p:cNvSpPr>
            <a:spLocks noGrp="1"/>
          </p:cNvSpPr>
          <p:nvPr>
            <p:ph type="body" sz="quarter" idx="11" hasCustomPrompt="1"/>
          </p:nvPr>
        </p:nvSpPr>
        <p:spPr>
          <a:xfrm>
            <a:off x="381316" y="1424123"/>
            <a:ext cx="5639093" cy="913952"/>
          </a:xfrm>
          <a:prstGeom prst="rect">
            <a:avLst/>
          </a:prstGeom>
        </p:spPr>
        <p:txBody>
          <a:bodyPr/>
          <a:lstStyle>
            <a:lvl1pPr marL="0" indent="0">
              <a:buFontTx/>
              <a:buNone/>
              <a:defRPr sz="359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ead text slide</a:t>
            </a:r>
            <a:endParaRPr lang="x-none" dirty="0"/>
          </a:p>
        </p:txBody>
      </p:sp>
      <p:sp>
        <p:nvSpPr>
          <p:cNvPr id="11" name="Text Placeholder 8">
            <a:extLst>
              <a:ext uri="{FF2B5EF4-FFF2-40B4-BE49-F238E27FC236}">
                <a16:creationId xmlns:a16="http://schemas.microsoft.com/office/drawing/2014/main" id="{498AB53B-2108-4743-AC4F-B1874EB3FB72}"/>
              </a:ext>
            </a:extLst>
          </p:cNvPr>
          <p:cNvSpPr>
            <a:spLocks noGrp="1"/>
          </p:cNvSpPr>
          <p:nvPr>
            <p:ph type="body" sz="quarter" idx="15" hasCustomPrompt="1"/>
          </p:nvPr>
        </p:nvSpPr>
        <p:spPr>
          <a:xfrm>
            <a:off x="381315" y="2476407"/>
            <a:ext cx="4686646" cy="426735"/>
          </a:xfrm>
          <a:prstGeom prst="rect">
            <a:avLst/>
          </a:prstGeom>
        </p:spPr>
        <p:txBody>
          <a:bodyPr/>
          <a:lstStyle>
            <a:lvl1pPr marL="0" indent="0">
              <a:buFontTx/>
              <a:buNone/>
              <a:defRPr sz="1905"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p>
        </p:txBody>
      </p:sp>
      <p:cxnSp>
        <p:nvCxnSpPr>
          <p:cNvPr id="8" name="Straight Connector 7">
            <a:extLst>
              <a:ext uri="{FF2B5EF4-FFF2-40B4-BE49-F238E27FC236}">
                <a16:creationId xmlns:a16="http://schemas.microsoft.com/office/drawing/2014/main" id="{F8DE9EE9-182D-4E45-8D06-E69B6D119999}"/>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10" name="Text Placeholder 13">
            <a:extLst>
              <a:ext uri="{FF2B5EF4-FFF2-40B4-BE49-F238E27FC236}">
                <a16:creationId xmlns:a16="http://schemas.microsoft.com/office/drawing/2014/main" id="{E9F005A9-80EA-F448-B480-B42CA8E154DA}"/>
              </a:ext>
            </a:extLst>
          </p:cNvPr>
          <p:cNvSpPr>
            <a:spLocks noGrp="1"/>
          </p:cNvSpPr>
          <p:nvPr>
            <p:ph type="body" sz="quarter" idx="14" hasCustomPrompt="1"/>
          </p:nvPr>
        </p:nvSpPr>
        <p:spPr>
          <a:xfrm>
            <a:off x="295483"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12" name="Slide Number Placeholder 1">
            <a:extLst>
              <a:ext uri="{FF2B5EF4-FFF2-40B4-BE49-F238E27FC236}">
                <a16:creationId xmlns:a16="http://schemas.microsoft.com/office/drawing/2014/main" id="{E54E0486-F9F5-7A4B-8D77-90BF9D5CC619}"/>
              </a:ext>
            </a:extLst>
          </p:cNvPr>
          <p:cNvSpPr txBox="1">
            <a:spLocks/>
          </p:cNvSpPr>
          <p:nvPr userDrawn="1"/>
        </p:nvSpPr>
        <p:spPr>
          <a:xfrm>
            <a:off x="11108818" y="395811"/>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8">
            <a:extLst>
              <a:ext uri="{FF2B5EF4-FFF2-40B4-BE49-F238E27FC236}">
                <a16:creationId xmlns:a16="http://schemas.microsoft.com/office/drawing/2014/main" id="{C5522A4A-85D5-7D4F-B104-DC1E4CB76B5B}"/>
              </a:ext>
            </a:extLst>
          </p:cNvPr>
          <p:cNvSpPr>
            <a:spLocks noGrp="1"/>
          </p:cNvSpPr>
          <p:nvPr>
            <p:ph type="body" sz="quarter" idx="26" hasCustomPrompt="1"/>
          </p:nvPr>
        </p:nvSpPr>
        <p:spPr>
          <a:xfrm>
            <a:off x="381316" y="5163794"/>
            <a:ext cx="4686646" cy="426735"/>
          </a:xfrm>
          <a:prstGeom prst="rect">
            <a:avLst/>
          </a:prstGeom>
        </p:spPr>
        <p:txBody>
          <a:bodyPr/>
          <a:lstStyle>
            <a:lvl1pPr marL="0" indent="0">
              <a:buFontTx/>
              <a:buNone/>
              <a:defRPr sz="1905" b="0" i="0">
                <a:solidFill>
                  <a:srgbClr val="E41910"/>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p>
        </p:txBody>
      </p:sp>
      <p:sp>
        <p:nvSpPr>
          <p:cNvPr id="17" name="Picture Placeholder 5">
            <a:extLst>
              <a:ext uri="{FF2B5EF4-FFF2-40B4-BE49-F238E27FC236}">
                <a16:creationId xmlns:a16="http://schemas.microsoft.com/office/drawing/2014/main" id="{20D27B0A-492E-FE46-BD33-E5439E44145F}"/>
              </a:ext>
            </a:extLst>
          </p:cNvPr>
          <p:cNvSpPr>
            <a:spLocks noGrp="1"/>
          </p:cNvSpPr>
          <p:nvPr>
            <p:ph type="pic" sz="quarter" idx="16"/>
          </p:nvPr>
        </p:nvSpPr>
        <p:spPr>
          <a:xfrm>
            <a:off x="9067570" y="1424122"/>
            <a:ext cx="2732623" cy="1929274"/>
          </a:xfrm>
          <a:prstGeom prst="rect">
            <a:avLst/>
          </a:prstGeom>
        </p:spPr>
        <p:txBody>
          <a:bodyPr anchor="ctr"/>
          <a:lstStyle>
            <a:lvl1pPr algn="ctr">
              <a:buFontTx/>
              <a:buNone/>
              <a:defRPr sz="2963"/>
            </a:lvl1pPr>
          </a:lstStyle>
          <a:p>
            <a:endParaRPr lang="x-none"/>
          </a:p>
        </p:txBody>
      </p:sp>
      <p:sp>
        <p:nvSpPr>
          <p:cNvPr id="18" name="Picture Placeholder 5">
            <a:extLst>
              <a:ext uri="{FF2B5EF4-FFF2-40B4-BE49-F238E27FC236}">
                <a16:creationId xmlns:a16="http://schemas.microsoft.com/office/drawing/2014/main" id="{62E12031-D7D1-794A-833C-26A9FD16281B}"/>
              </a:ext>
            </a:extLst>
          </p:cNvPr>
          <p:cNvSpPr>
            <a:spLocks noGrp="1"/>
          </p:cNvSpPr>
          <p:nvPr>
            <p:ph type="pic" sz="quarter" idx="27"/>
          </p:nvPr>
        </p:nvSpPr>
        <p:spPr>
          <a:xfrm>
            <a:off x="9082119" y="3519622"/>
            <a:ext cx="2732623" cy="1929274"/>
          </a:xfrm>
          <a:prstGeom prst="rect">
            <a:avLst/>
          </a:prstGeom>
        </p:spPr>
        <p:txBody>
          <a:bodyPr anchor="ctr"/>
          <a:lstStyle>
            <a:lvl1pPr algn="ctr">
              <a:buFontTx/>
              <a:buNone/>
              <a:defRPr sz="2963"/>
            </a:lvl1pPr>
          </a:lstStyle>
          <a:p>
            <a:endParaRPr lang="x-none"/>
          </a:p>
        </p:txBody>
      </p:sp>
      <p:cxnSp>
        <p:nvCxnSpPr>
          <p:cNvPr id="20" name="Straight Connector 19">
            <a:extLst>
              <a:ext uri="{FF2B5EF4-FFF2-40B4-BE49-F238E27FC236}">
                <a16:creationId xmlns:a16="http://schemas.microsoft.com/office/drawing/2014/main" id="{0474057F-E124-9547-ABAD-B42AA5B7B37B}"/>
              </a:ext>
            </a:extLst>
          </p:cNvPr>
          <p:cNvCxnSpPr>
            <a:cxnSpLocks/>
          </p:cNvCxnSpPr>
          <p:nvPr userDrawn="1"/>
        </p:nvCxnSpPr>
        <p:spPr>
          <a:xfrm>
            <a:off x="6171591" y="1401956"/>
            <a:ext cx="2743117" cy="0"/>
          </a:xfrm>
          <a:prstGeom prst="line">
            <a:avLst/>
          </a:prstGeom>
          <a:ln w="9525">
            <a:solidFill>
              <a:srgbClr val="D1D5DA"/>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B2AB1DB-971D-8747-BFAE-5CE0B3C7F392}"/>
              </a:ext>
            </a:extLst>
          </p:cNvPr>
          <p:cNvCxnSpPr>
            <a:cxnSpLocks/>
          </p:cNvCxnSpPr>
          <p:nvPr userDrawn="1"/>
        </p:nvCxnSpPr>
        <p:spPr>
          <a:xfrm>
            <a:off x="6171591" y="3512009"/>
            <a:ext cx="2743117" cy="0"/>
          </a:xfrm>
          <a:prstGeom prst="line">
            <a:avLst/>
          </a:prstGeom>
          <a:ln w="9525">
            <a:solidFill>
              <a:srgbClr val="D1D5DA"/>
            </a:solidFill>
          </a:ln>
        </p:spPr>
        <p:style>
          <a:lnRef idx="1">
            <a:schemeClr val="accent1"/>
          </a:lnRef>
          <a:fillRef idx="0">
            <a:schemeClr val="accent1"/>
          </a:fillRef>
          <a:effectRef idx="0">
            <a:schemeClr val="accent1"/>
          </a:effectRef>
          <a:fontRef idx="minor">
            <a:schemeClr val="tx1"/>
          </a:fontRef>
        </p:style>
      </p:cxnSp>
      <p:sp>
        <p:nvSpPr>
          <p:cNvPr id="26" name="Text Placeholder 8">
            <a:extLst>
              <a:ext uri="{FF2B5EF4-FFF2-40B4-BE49-F238E27FC236}">
                <a16:creationId xmlns:a16="http://schemas.microsoft.com/office/drawing/2014/main" id="{D7878CDD-7378-184E-8786-ED51770EBB33}"/>
              </a:ext>
            </a:extLst>
          </p:cNvPr>
          <p:cNvSpPr>
            <a:spLocks noGrp="1"/>
          </p:cNvSpPr>
          <p:nvPr>
            <p:ph type="body" sz="quarter" idx="28" hasCustomPrompt="1"/>
          </p:nvPr>
        </p:nvSpPr>
        <p:spPr>
          <a:xfrm>
            <a:off x="388591" y="3531888"/>
            <a:ext cx="4679372" cy="1474030"/>
          </a:xfrm>
          <a:prstGeom prst="rect">
            <a:avLst/>
          </a:prstGeom>
        </p:spPr>
        <p:txBody>
          <a:bodyPr/>
          <a:lstStyle>
            <a:lvl1pPr marL="0" indent="0">
              <a:buFontTx/>
              <a:buNone/>
              <a:defRPr sz="1376"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a:t>text</a:t>
            </a:r>
            <a:endParaRPr lang="x-none" dirty="0"/>
          </a:p>
        </p:txBody>
      </p:sp>
      <p:sp>
        <p:nvSpPr>
          <p:cNvPr id="27" name="Text Placeholder 13">
            <a:extLst>
              <a:ext uri="{FF2B5EF4-FFF2-40B4-BE49-F238E27FC236}">
                <a16:creationId xmlns:a16="http://schemas.microsoft.com/office/drawing/2014/main" id="{B1C9016C-BCCA-B845-8CCF-7A68B5C3D4AF}"/>
              </a:ext>
            </a:extLst>
          </p:cNvPr>
          <p:cNvSpPr>
            <a:spLocks noGrp="1"/>
          </p:cNvSpPr>
          <p:nvPr>
            <p:ph type="body" sz="quarter" idx="25" hasCustomPrompt="1"/>
          </p:nvPr>
        </p:nvSpPr>
        <p:spPr>
          <a:xfrm>
            <a:off x="10020017" y="6319800"/>
            <a:ext cx="1790667" cy="374160"/>
          </a:xfrm>
          <a:prstGeom prst="rect">
            <a:avLst/>
          </a:prstGeom>
        </p:spPr>
        <p:txBody>
          <a:bodyPr/>
          <a:lstStyle>
            <a:lvl1pPr marL="0" indent="0" algn="r">
              <a:buFontTx/>
              <a:buNone/>
              <a:defRPr sz="846"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sp>
        <p:nvSpPr>
          <p:cNvPr id="16" name="Text Placeholder 8">
            <a:extLst>
              <a:ext uri="{FF2B5EF4-FFF2-40B4-BE49-F238E27FC236}">
                <a16:creationId xmlns:a16="http://schemas.microsoft.com/office/drawing/2014/main" id="{9A93F06D-AAA5-0840-883D-A275989DDA82}"/>
              </a:ext>
            </a:extLst>
          </p:cNvPr>
          <p:cNvSpPr>
            <a:spLocks noGrp="1"/>
          </p:cNvSpPr>
          <p:nvPr>
            <p:ph type="body" sz="quarter" idx="29" hasCustomPrompt="1"/>
          </p:nvPr>
        </p:nvSpPr>
        <p:spPr>
          <a:xfrm>
            <a:off x="6171591" y="3577577"/>
            <a:ext cx="2732623" cy="804017"/>
          </a:xfrm>
          <a:prstGeom prst="rect">
            <a:avLst/>
          </a:prstGeom>
        </p:spPr>
        <p:txBody>
          <a:bodyPr/>
          <a:lstStyle>
            <a:lvl1pPr marL="0" indent="0">
              <a:buFontTx/>
              <a:buNone/>
              <a:defRPr lang="x-none" sz="1058" kern="1200" dirty="0">
                <a:solidFill>
                  <a:srgbClr val="7F8183"/>
                </a:solidFill>
                <a:latin typeface="+mn-lt"/>
                <a:ea typeface="+mn-ea"/>
                <a:cs typeface="+mn-cs"/>
              </a:defRPr>
            </a:lvl1pPr>
          </a:lstStyle>
          <a:p>
            <a:pPr lvl="0"/>
            <a:r>
              <a:rPr lang="en-US" dirty="0"/>
              <a:t>LIST TEXT SLIDE</a:t>
            </a:r>
            <a:endParaRPr lang="x-none" dirty="0"/>
          </a:p>
        </p:txBody>
      </p:sp>
      <p:sp>
        <p:nvSpPr>
          <p:cNvPr id="19" name="Text Placeholder 8">
            <a:extLst>
              <a:ext uri="{FF2B5EF4-FFF2-40B4-BE49-F238E27FC236}">
                <a16:creationId xmlns:a16="http://schemas.microsoft.com/office/drawing/2014/main" id="{7DFAF5D3-F8A2-0543-AD13-8CBE1B38E68E}"/>
              </a:ext>
            </a:extLst>
          </p:cNvPr>
          <p:cNvSpPr>
            <a:spLocks noGrp="1"/>
          </p:cNvSpPr>
          <p:nvPr>
            <p:ph type="body" sz="quarter" idx="30" hasCustomPrompt="1"/>
          </p:nvPr>
        </p:nvSpPr>
        <p:spPr>
          <a:xfrm>
            <a:off x="6171591" y="1519795"/>
            <a:ext cx="2732623" cy="804017"/>
          </a:xfrm>
          <a:prstGeom prst="rect">
            <a:avLst/>
          </a:prstGeom>
        </p:spPr>
        <p:txBody>
          <a:bodyPr/>
          <a:lstStyle>
            <a:lvl1pPr marL="0" indent="0">
              <a:buFontTx/>
              <a:buNone/>
              <a:defRPr lang="x-none" sz="1058" kern="1200" dirty="0">
                <a:solidFill>
                  <a:srgbClr val="7F8183"/>
                </a:solidFill>
                <a:latin typeface="+mn-lt"/>
                <a:ea typeface="+mn-ea"/>
                <a:cs typeface="+mn-cs"/>
              </a:defRPr>
            </a:lvl1pPr>
          </a:lstStyle>
          <a:p>
            <a:pPr lvl="0"/>
            <a:r>
              <a:rPr lang="en-US" dirty="0"/>
              <a:t>LIST TEXT SLIDE</a:t>
            </a:r>
            <a:endParaRPr lang="x-none" dirty="0"/>
          </a:p>
        </p:txBody>
      </p:sp>
    </p:spTree>
    <p:extLst>
      <p:ext uri="{BB962C8B-B14F-4D97-AF65-F5344CB8AC3E}">
        <p14:creationId xmlns:p14="http://schemas.microsoft.com/office/powerpoint/2010/main" val="2337513611"/>
      </p:ext>
    </p:extLst>
  </p:cSld>
  <p:clrMapOvr>
    <a:masterClrMapping/>
  </p:clrMapOvr>
  <p:transition>
    <p:fade/>
  </p:transition>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ontent">
    <p:bg>
      <p:bgPr>
        <a:solidFill>
          <a:srgbClr val="FFFFFF"/>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470952E2-095A-2E44-83CA-549CAE021D6A}"/>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12" name="Text Placeholder 13">
            <a:extLst>
              <a:ext uri="{FF2B5EF4-FFF2-40B4-BE49-F238E27FC236}">
                <a16:creationId xmlns:a16="http://schemas.microsoft.com/office/drawing/2014/main" id="{55B4424F-E9A4-B64A-A121-FAF1DC93A540}"/>
              </a:ext>
            </a:extLst>
          </p:cNvPr>
          <p:cNvSpPr>
            <a:spLocks noGrp="1"/>
          </p:cNvSpPr>
          <p:nvPr>
            <p:ph type="body" sz="quarter" idx="14" hasCustomPrompt="1"/>
          </p:nvPr>
        </p:nvSpPr>
        <p:spPr>
          <a:xfrm>
            <a:off x="295483"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14" name="Slide Number Placeholder 1">
            <a:extLst>
              <a:ext uri="{FF2B5EF4-FFF2-40B4-BE49-F238E27FC236}">
                <a16:creationId xmlns:a16="http://schemas.microsoft.com/office/drawing/2014/main" id="{D66A5C7E-634F-7E4E-A121-EAA66A298BFD}"/>
              </a:ext>
            </a:extLst>
          </p:cNvPr>
          <p:cNvSpPr txBox="1">
            <a:spLocks/>
          </p:cNvSpPr>
          <p:nvPr userDrawn="1"/>
        </p:nvSpPr>
        <p:spPr>
          <a:xfrm>
            <a:off x="11108818" y="395811"/>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17" name="Text Placeholder 8">
            <a:extLst>
              <a:ext uri="{FF2B5EF4-FFF2-40B4-BE49-F238E27FC236}">
                <a16:creationId xmlns:a16="http://schemas.microsoft.com/office/drawing/2014/main" id="{8DD911FC-486A-3949-80D0-AD9DA57ED579}"/>
              </a:ext>
            </a:extLst>
          </p:cNvPr>
          <p:cNvSpPr>
            <a:spLocks noGrp="1"/>
          </p:cNvSpPr>
          <p:nvPr>
            <p:ph type="body" sz="quarter" idx="11" hasCustomPrompt="1"/>
          </p:nvPr>
        </p:nvSpPr>
        <p:spPr>
          <a:xfrm>
            <a:off x="381316" y="888236"/>
            <a:ext cx="9485839" cy="777968"/>
          </a:xfrm>
          <a:prstGeom prst="rect">
            <a:avLst/>
          </a:prstGeom>
        </p:spPr>
        <p:txBody>
          <a:bodyPr/>
          <a:lstStyle>
            <a:lvl1pPr marL="0" indent="0">
              <a:buFontTx/>
              <a:buNone/>
              <a:defRPr sz="2539"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ist text slide</a:t>
            </a:r>
            <a:endParaRPr lang="x-none" dirty="0"/>
          </a:p>
        </p:txBody>
      </p:sp>
      <p:cxnSp>
        <p:nvCxnSpPr>
          <p:cNvPr id="21" name="Straight Connector 20">
            <a:extLst>
              <a:ext uri="{FF2B5EF4-FFF2-40B4-BE49-F238E27FC236}">
                <a16:creationId xmlns:a16="http://schemas.microsoft.com/office/drawing/2014/main" id="{50F420DA-FEA2-1346-9F42-53BB8EF03F1E}"/>
              </a:ext>
            </a:extLst>
          </p:cNvPr>
          <p:cNvCxnSpPr>
            <a:cxnSpLocks/>
          </p:cNvCxnSpPr>
          <p:nvPr userDrawn="1"/>
        </p:nvCxnSpPr>
        <p:spPr>
          <a:xfrm flipV="1">
            <a:off x="2171984" y="3353398"/>
            <a:ext cx="0" cy="3123230"/>
          </a:xfrm>
          <a:prstGeom prst="line">
            <a:avLst/>
          </a:prstGeom>
          <a:ln w="9525">
            <a:solidFill>
              <a:srgbClr val="D1D5DA"/>
            </a:solidFill>
          </a:ln>
        </p:spPr>
        <p:style>
          <a:lnRef idx="1">
            <a:schemeClr val="accent1"/>
          </a:lnRef>
          <a:fillRef idx="0">
            <a:schemeClr val="accent1"/>
          </a:fillRef>
          <a:effectRef idx="0">
            <a:schemeClr val="accent1"/>
          </a:effectRef>
          <a:fontRef idx="minor">
            <a:schemeClr val="tx1"/>
          </a:fontRef>
        </p:style>
      </p:cxnSp>
      <p:sp>
        <p:nvSpPr>
          <p:cNvPr id="26" name="Picture Placeholder 5">
            <a:extLst>
              <a:ext uri="{FF2B5EF4-FFF2-40B4-BE49-F238E27FC236}">
                <a16:creationId xmlns:a16="http://schemas.microsoft.com/office/drawing/2014/main" id="{51633BB1-389F-1144-8C7B-97796644B04D}"/>
              </a:ext>
            </a:extLst>
          </p:cNvPr>
          <p:cNvSpPr>
            <a:spLocks noGrp="1"/>
          </p:cNvSpPr>
          <p:nvPr>
            <p:ph type="pic" sz="quarter" idx="27"/>
          </p:nvPr>
        </p:nvSpPr>
        <p:spPr>
          <a:xfrm>
            <a:off x="381315" y="3514691"/>
            <a:ext cx="1641114" cy="1338431"/>
          </a:xfrm>
          <a:prstGeom prst="rect">
            <a:avLst/>
          </a:prstGeom>
        </p:spPr>
        <p:txBody>
          <a:bodyPr anchor="ctr"/>
          <a:lstStyle>
            <a:lvl1pPr algn="ctr">
              <a:buFontTx/>
              <a:buNone/>
              <a:defRPr sz="2963"/>
            </a:lvl1pPr>
          </a:lstStyle>
          <a:p>
            <a:endParaRPr lang="x-none"/>
          </a:p>
        </p:txBody>
      </p:sp>
      <p:cxnSp>
        <p:nvCxnSpPr>
          <p:cNvPr id="29" name="Straight Connector 28">
            <a:extLst>
              <a:ext uri="{FF2B5EF4-FFF2-40B4-BE49-F238E27FC236}">
                <a16:creationId xmlns:a16="http://schemas.microsoft.com/office/drawing/2014/main" id="{11C36B5D-585F-2A4A-BA6D-D2340411F9ED}"/>
              </a:ext>
            </a:extLst>
          </p:cNvPr>
          <p:cNvCxnSpPr>
            <a:cxnSpLocks/>
          </p:cNvCxnSpPr>
          <p:nvPr userDrawn="1"/>
        </p:nvCxnSpPr>
        <p:spPr>
          <a:xfrm flipV="1">
            <a:off x="4076879" y="3353398"/>
            <a:ext cx="0" cy="3133318"/>
          </a:xfrm>
          <a:prstGeom prst="line">
            <a:avLst/>
          </a:prstGeom>
          <a:ln w="9525">
            <a:solidFill>
              <a:srgbClr val="D1D5DA"/>
            </a:solidFill>
          </a:ln>
        </p:spPr>
        <p:style>
          <a:lnRef idx="1">
            <a:schemeClr val="accent1"/>
          </a:lnRef>
          <a:fillRef idx="0">
            <a:schemeClr val="accent1"/>
          </a:fillRef>
          <a:effectRef idx="0">
            <a:schemeClr val="accent1"/>
          </a:effectRef>
          <a:fontRef idx="minor">
            <a:schemeClr val="tx1"/>
          </a:fontRef>
        </p:style>
      </p:cxnSp>
      <p:sp>
        <p:nvSpPr>
          <p:cNvPr id="30" name="Picture Placeholder 5">
            <a:extLst>
              <a:ext uri="{FF2B5EF4-FFF2-40B4-BE49-F238E27FC236}">
                <a16:creationId xmlns:a16="http://schemas.microsoft.com/office/drawing/2014/main" id="{4C3700DC-A432-4B43-B826-E3A8F547B9E9}"/>
              </a:ext>
            </a:extLst>
          </p:cNvPr>
          <p:cNvSpPr>
            <a:spLocks noGrp="1"/>
          </p:cNvSpPr>
          <p:nvPr>
            <p:ph type="pic" sz="quarter" idx="28"/>
          </p:nvPr>
        </p:nvSpPr>
        <p:spPr>
          <a:xfrm>
            <a:off x="2338272" y="3514691"/>
            <a:ext cx="1641114" cy="1338431"/>
          </a:xfrm>
          <a:prstGeom prst="rect">
            <a:avLst/>
          </a:prstGeom>
        </p:spPr>
        <p:txBody>
          <a:bodyPr anchor="ctr"/>
          <a:lstStyle>
            <a:lvl1pPr algn="ctr">
              <a:buFontTx/>
              <a:buNone/>
              <a:defRPr sz="2963"/>
            </a:lvl1pPr>
          </a:lstStyle>
          <a:p>
            <a:endParaRPr lang="x-none"/>
          </a:p>
        </p:txBody>
      </p:sp>
      <p:cxnSp>
        <p:nvCxnSpPr>
          <p:cNvPr id="34" name="Straight Connector 33">
            <a:extLst>
              <a:ext uri="{FF2B5EF4-FFF2-40B4-BE49-F238E27FC236}">
                <a16:creationId xmlns:a16="http://schemas.microsoft.com/office/drawing/2014/main" id="{0F0ADDC1-EE47-1C4E-942C-58CC5BD7757A}"/>
              </a:ext>
            </a:extLst>
          </p:cNvPr>
          <p:cNvCxnSpPr>
            <a:cxnSpLocks/>
          </p:cNvCxnSpPr>
          <p:nvPr userDrawn="1"/>
        </p:nvCxnSpPr>
        <p:spPr>
          <a:xfrm flipV="1">
            <a:off x="6020423" y="3367949"/>
            <a:ext cx="0" cy="3123230"/>
          </a:xfrm>
          <a:prstGeom prst="line">
            <a:avLst/>
          </a:prstGeom>
          <a:ln w="9525">
            <a:solidFill>
              <a:srgbClr val="D1D5DA"/>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FECF624-364C-4340-8042-F2FE8E5EC0AD}"/>
              </a:ext>
            </a:extLst>
          </p:cNvPr>
          <p:cNvCxnSpPr>
            <a:cxnSpLocks/>
          </p:cNvCxnSpPr>
          <p:nvPr userDrawn="1"/>
        </p:nvCxnSpPr>
        <p:spPr>
          <a:xfrm flipV="1">
            <a:off x="7962260" y="3367949"/>
            <a:ext cx="0" cy="3133318"/>
          </a:xfrm>
          <a:prstGeom prst="line">
            <a:avLst/>
          </a:prstGeom>
          <a:ln w="9525">
            <a:solidFill>
              <a:srgbClr val="D1D5DA"/>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A6A269A-8815-054F-85B6-22982CD32CF2}"/>
              </a:ext>
            </a:extLst>
          </p:cNvPr>
          <p:cNvCxnSpPr>
            <a:cxnSpLocks/>
          </p:cNvCxnSpPr>
          <p:nvPr userDrawn="1"/>
        </p:nvCxnSpPr>
        <p:spPr>
          <a:xfrm flipV="1">
            <a:off x="9868291" y="3382502"/>
            <a:ext cx="0" cy="3133318"/>
          </a:xfrm>
          <a:prstGeom prst="line">
            <a:avLst/>
          </a:prstGeom>
          <a:ln w="9525">
            <a:solidFill>
              <a:srgbClr val="D1D5DA"/>
            </a:solidFill>
          </a:ln>
        </p:spPr>
        <p:style>
          <a:lnRef idx="1">
            <a:schemeClr val="accent1"/>
          </a:lnRef>
          <a:fillRef idx="0">
            <a:schemeClr val="accent1"/>
          </a:fillRef>
          <a:effectRef idx="0">
            <a:schemeClr val="accent1"/>
          </a:effectRef>
          <a:fontRef idx="minor">
            <a:schemeClr val="tx1"/>
          </a:fontRef>
        </p:style>
      </p:cxnSp>
      <p:sp>
        <p:nvSpPr>
          <p:cNvPr id="37" name="Picture Placeholder 5">
            <a:extLst>
              <a:ext uri="{FF2B5EF4-FFF2-40B4-BE49-F238E27FC236}">
                <a16:creationId xmlns:a16="http://schemas.microsoft.com/office/drawing/2014/main" id="{764CD148-00F8-FE40-A2B3-8AB5A343BF30}"/>
              </a:ext>
            </a:extLst>
          </p:cNvPr>
          <p:cNvSpPr>
            <a:spLocks noGrp="1"/>
          </p:cNvSpPr>
          <p:nvPr>
            <p:ph type="pic" sz="quarter" idx="29"/>
          </p:nvPr>
        </p:nvSpPr>
        <p:spPr>
          <a:xfrm>
            <a:off x="4237029" y="3514691"/>
            <a:ext cx="1641114" cy="1338431"/>
          </a:xfrm>
          <a:prstGeom prst="rect">
            <a:avLst/>
          </a:prstGeom>
        </p:spPr>
        <p:txBody>
          <a:bodyPr anchor="ctr"/>
          <a:lstStyle>
            <a:lvl1pPr algn="ctr">
              <a:buFontTx/>
              <a:buNone/>
              <a:defRPr sz="2963"/>
            </a:lvl1pPr>
          </a:lstStyle>
          <a:p>
            <a:endParaRPr lang="x-none"/>
          </a:p>
        </p:txBody>
      </p:sp>
      <p:sp>
        <p:nvSpPr>
          <p:cNvPr id="38" name="Picture Placeholder 5">
            <a:extLst>
              <a:ext uri="{FF2B5EF4-FFF2-40B4-BE49-F238E27FC236}">
                <a16:creationId xmlns:a16="http://schemas.microsoft.com/office/drawing/2014/main" id="{5D40EB24-AD09-7F4C-969E-B3BE68A77155}"/>
              </a:ext>
            </a:extLst>
          </p:cNvPr>
          <p:cNvSpPr>
            <a:spLocks noGrp="1"/>
          </p:cNvSpPr>
          <p:nvPr>
            <p:ph type="pic" sz="quarter" idx="30"/>
          </p:nvPr>
        </p:nvSpPr>
        <p:spPr>
          <a:xfrm>
            <a:off x="6193985" y="3514691"/>
            <a:ext cx="1641114" cy="1338431"/>
          </a:xfrm>
          <a:prstGeom prst="rect">
            <a:avLst/>
          </a:prstGeom>
        </p:spPr>
        <p:txBody>
          <a:bodyPr anchor="ctr"/>
          <a:lstStyle>
            <a:lvl1pPr algn="ctr">
              <a:buFontTx/>
              <a:buNone/>
              <a:defRPr sz="2963"/>
            </a:lvl1pPr>
          </a:lstStyle>
          <a:p>
            <a:endParaRPr lang="x-none"/>
          </a:p>
        </p:txBody>
      </p:sp>
      <p:sp>
        <p:nvSpPr>
          <p:cNvPr id="39" name="Picture Placeholder 5">
            <a:extLst>
              <a:ext uri="{FF2B5EF4-FFF2-40B4-BE49-F238E27FC236}">
                <a16:creationId xmlns:a16="http://schemas.microsoft.com/office/drawing/2014/main" id="{FFF68ACD-A616-3844-9D66-B22C8BF8B734}"/>
              </a:ext>
            </a:extLst>
          </p:cNvPr>
          <p:cNvSpPr>
            <a:spLocks noGrp="1"/>
          </p:cNvSpPr>
          <p:nvPr>
            <p:ph type="pic" sz="quarter" idx="31"/>
          </p:nvPr>
        </p:nvSpPr>
        <p:spPr>
          <a:xfrm>
            <a:off x="8129117" y="3514691"/>
            <a:ext cx="1641114" cy="1338431"/>
          </a:xfrm>
          <a:prstGeom prst="rect">
            <a:avLst/>
          </a:prstGeom>
        </p:spPr>
        <p:txBody>
          <a:bodyPr anchor="ctr"/>
          <a:lstStyle>
            <a:lvl1pPr algn="ctr">
              <a:buFontTx/>
              <a:buNone/>
              <a:defRPr sz="2963"/>
            </a:lvl1pPr>
          </a:lstStyle>
          <a:p>
            <a:endParaRPr lang="x-none"/>
          </a:p>
        </p:txBody>
      </p:sp>
      <p:sp>
        <p:nvSpPr>
          <p:cNvPr id="40" name="Picture Placeholder 5">
            <a:extLst>
              <a:ext uri="{FF2B5EF4-FFF2-40B4-BE49-F238E27FC236}">
                <a16:creationId xmlns:a16="http://schemas.microsoft.com/office/drawing/2014/main" id="{5B0AA984-A5D6-B742-9BB7-E99EDDCB0F10}"/>
              </a:ext>
            </a:extLst>
          </p:cNvPr>
          <p:cNvSpPr>
            <a:spLocks noGrp="1"/>
          </p:cNvSpPr>
          <p:nvPr>
            <p:ph type="pic" sz="quarter" idx="32"/>
          </p:nvPr>
        </p:nvSpPr>
        <p:spPr>
          <a:xfrm>
            <a:off x="10035148" y="3514691"/>
            <a:ext cx="1641114" cy="1338431"/>
          </a:xfrm>
          <a:prstGeom prst="rect">
            <a:avLst/>
          </a:prstGeom>
        </p:spPr>
        <p:txBody>
          <a:bodyPr anchor="ctr"/>
          <a:lstStyle>
            <a:lvl1pPr algn="ctr">
              <a:buFontTx/>
              <a:buNone/>
              <a:defRPr sz="2963"/>
            </a:lvl1pPr>
          </a:lstStyle>
          <a:p>
            <a:endParaRPr lang="x-none"/>
          </a:p>
        </p:txBody>
      </p:sp>
      <p:sp>
        <p:nvSpPr>
          <p:cNvPr id="51" name="Text Placeholder 13">
            <a:extLst>
              <a:ext uri="{FF2B5EF4-FFF2-40B4-BE49-F238E27FC236}">
                <a16:creationId xmlns:a16="http://schemas.microsoft.com/office/drawing/2014/main" id="{14851BAA-B6AD-D245-823D-E08B4F2A8B53}"/>
              </a:ext>
            </a:extLst>
          </p:cNvPr>
          <p:cNvSpPr>
            <a:spLocks noGrp="1"/>
          </p:cNvSpPr>
          <p:nvPr>
            <p:ph type="body" sz="quarter" idx="25" hasCustomPrompt="1"/>
          </p:nvPr>
        </p:nvSpPr>
        <p:spPr>
          <a:xfrm>
            <a:off x="10020017" y="6319800"/>
            <a:ext cx="1790667" cy="374160"/>
          </a:xfrm>
          <a:prstGeom prst="rect">
            <a:avLst/>
          </a:prstGeom>
        </p:spPr>
        <p:txBody>
          <a:bodyPr/>
          <a:lstStyle>
            <a:lvl1pPr marL="0" indent="0" algn="r">
              <a:buFontTx/>
              <a:buNone/>
              <a:defRPr sz="846"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sp>
        <p:nvSpPr>
          <p:cNvPr id="3" name="Text Placeholder 2">
            <a:extLst>
              <a:ext uri="{FF2B5EF4-FFF2-40B4-BE49-F238E27FC236}">
                <a16:creationId xmlns:a16="http://schemas.microsoft.com/office/drawing/2014/main" id="{33BB5014-32B3-124F-9DB5-51C37BEAA849}"/>
              </a:ext>
            </a:extLst>
          </p:cNvPr>
          <p:cNvSpPr>
            <a:spLocks noGrp="1"/>
          </p:cNvSpPr>
          <p:nvPr>
            <p:ph type="body" sz="quarter" idx="44" hasCustomPrompt="1"/>
          </p:nvPr>
        </p:nvSpPr>
        <p:spPr>
          <a:xfrm>
            <a:off x="381316" y="5614290"/>
            <a:ext cx="1783949" cy="372973"/>
          </a:xfrm>
          <a:prstGeom prst="rect">
            <a:avLst/>
          </a:prstGeom>
        </p:spPr>
        <p:txBody>
          <a:bodyPr/>
          <a:lstStyle>
            <a:lvl1pPr>
              <a:buFontTx/>
              <a:buNone/>
              <a:defRPr sz="846">
                <a:solidFill>
                  <a:srgbClr val="7F8183"/>
                </a:solidFill>
              </a:defRPr>
            </a:lvl1pPr>
            <a:lvl2pPr>
              <a:buFontTx/>
              <a:buNone/>
              <a:defRPr/>
            </a:lvl2pPr>
            <a:lvl3pPr>
              <a:buFontTx/>
              <a:buNone/>
              <a:defRPr/>
            </a:lvl3pPr>
            <a:lvl4pPr>
              <a:buFontTx/>
              <a:buNone/>
              <a:defRPr/>
            </a:lvl4pPr>
            <a:lvl5pPr>
              <a:buFontTx/>
              <a:buNone/>
              <a:defRPr/>
            </a:lvl5pPr>
          </a:lstStyle>
          <a:p>
            <a:pPr lvl="0"/>
            <a:r>
              <a:rPr lang="en-US" sz="846" dirty="0"/>
              <a:t>LIST TEXT SLIDE</a:t>
            </a:r>
            <a:endParaRPr lang="x-none" dirty="0"/>
          </a:p>
        </p:txBody>
      </p:sp>
      <p:sp>
        <p:nvSpPr>
          <p:cNvPr id="55" name="Text Placeholder 2">
            <a:extLst>
              <a:ext uri="{FF2B5EF4-FFF2-40B4-BE49-F238E27FC236}">
                <a16:creationId xmlns:a16="http://schemas.microsoft.com/office/drawing/2014/main" id="{70E7893C-6B53-3B40-9CCB-4CD0797E0614}"/>
              </a:ext>
            </a:extLst>
          </p:cNvPr>
          <p:cNvSpPr>
            <a:spLocks noGrp="1"/>
          </p:cNvSpPr>
          <p:nvPr>
            <p:ph type="body" sz="quarter" idx="45" hasCustomPrompt="1"/>
          </p:nvPr>
        </p:nvSpPr>
        <p:spPr>
          <a:xfrm>
            <a:off x="2327569" y="5614290"/>
            <a:ext cx="1783949" cy="372973"/>
          </a:xfrm>
          <a:prstGeom prst="rect">
            <a:avLst/>
          </a:prstGeom>
        </p:spPr>
        <p:txBody>
          <a:bodyPr/>
          <a:lstStyle>
            <a:lvl1pPr>
              <a:buFontTx/>
              <a:buNone/>
              <a:defRPr sz="846">
                <a:solidFill>
                  <a:srgbClr val="7F8183"/>
                </a:solidFill>
              </a:defRPr>
            </a:lvl1pPr>
            <a:lvl2pPr>
              <a:buFontTx/>
              <a:buNone/>
              <a:defRPr/>
            </a:lvl2pPr>
            <a:lvl3pPr>
              <a:buFontTx/>
              <a:buNone/>
              <a:defRPr/>
            </a:lvl3pPr>
            <a:lvl4pPr>
              <a:buFontTx/>
              <a:buNone/>
              <a:defRPr/>
            </a:lvl4pPr>
            <a:lvl5pPr>
              <a:buFontTx/>
              <a:buNone/>
              <a:defRPr/>
            </a:lvl5pPr>
          </a:lstStyle>
          <a:p>
            <a:pPr lvl="0"/>
            <a:r>
              <a:rPr lang="en-US" sz="846" dirty="0"/>
              <a:t>LIST TEXT SLIDE</a:t>
            </a:r>
            <a:endParaRPr lang="x-none" dirty="0"/>
          </a:p>
        </p:txBody>
      </p:sp>
      <p:sp>
        <p:nvSpPr>
          <p:cNvPr id="56" name="Text Placeholder 2">
            <a:extLst>
              <a:ext uri="{FF2B5EF4-FFF2-40B4-BE49-F238E27FC236}">
                <a16:creationId xmlns:a16="http://schemas.microsoft.com/office/drawing/2014/main" id="{C353D03F-1C7E-CE4D-B6E1-C4A4483E7049}"/>
              </a:ext>
            </a:extLst>
          </p:cNvPr>
          <p:cNvSpPr>
            <a:spLocks noGrp="1"/>
          </p:cNvSpPr>
          <p:nvPr>
            <p:ph type="body" sz="quarter" idx="46" hasCustomPrompt="1"/>
          </p:nvPr>
        </p:nvSpPr>
        <p:spPr>
          <a:xfrm>
            <a:off x="4229336" y="5614290"/>
            <a:ext cx="1783949" cy="372973"/>
          </a:xfrm>
          <a:prstGeom prst="rect">
            <a:avLst/>
          </a:prstGeom>
        </p:spPr>
        <p:txBody>
          <a:bodyPr/>
          <a:lstStyle>
            <a:lvl1pPr>
              <a:buFontTx/>
              <a:buNone/>
              <a:defRPr sz="846">
                <a:solidFill>
                  <a:srgbClr val="7F8183"/>
                </a:solidFill>
              </a:defRPr>
            </a:lvl1pPr>
            <a:lvl2pPr>
              <a:buFontTx/>
              <a:buNone/>
              <a:defRPr/>
            </a:lvl2pPr>
            <a:lvl3pPr>
              <a:buFontTx/>
              <a:buNone/>
              <a:defRPr/>
            </a:lvl3pPr>
            <a:lvl4pPr>
              <a:buFontTx/>
              <a:buNone/>
              <a:defRPr/>
            </a:lvl4pPr>
            <a:lvl5pPr>
              <a:buFontTx/>
              <a:buNone/>
              <a:defRPr/>
            </a:lvl5pPr>
          </a:lstStyle>
          <a:p>
            <a:pPr lvl="0"/>
            <a:r>
              <a:rPr lang="en-US" sz="846" dirty="0"/>
              <a:t>LIST TEXT SLIDE</a:t>
            </a:r>
            <a:endParaRPr lang="x-none" dirty="0"/>
          </a:p>
        </p:txBody>
      </p:sp>
      <p:sp>
        <p:nvSpPr>
          <p:cNvPr id="57" name="Text Placeholder 2">
            <a:extLst>
              <a:ext uri="{FF2B5EF4-FFF2-40B4-BE49-F238E27FC236}">
                <a16:creationId xmlns:a16="http://schemas.microsoft.com/office/drawing/2014/main" id="{3337F8D4-84BD-FE42-A3A9-941C6CB1194E}"/>
              </a:ext>
            </a:extLst>
          </p:cNvPr>
          <p:cNvSpPr>
            <a:spLocks noGrp="1"/>
          </p:cNvSpPr>
          <p:nvPr>
            <p:ph type="body" sz="quarter" idx="47" hasCustomPrompt="1"/>
          </p:nvPr>
        </p:nvSpPr>
        <p:spPr>
          <a:xfrm>
            <a:off x="6175588" y="5614290"/>
            <a:ext cx="1783949" cy="372973"/>
          </a:xfrm>
          <a:prstGeom prst="rect">
            <a:avLst/>
          </a:prstGeom>
        </p:spPr>
        <p:txBody>
          <a:bodyPr/>
          <a:lstStyle>
            <a:lvl1pPr>
              <a:buFontTx/>
              <a:buNone/>
              <a:defRPr sz="846">
                <a:solidFill>
                  <a:srgbClr val="7F8183"/>
                </a:solidFill>
              </a:defRPr>
            </a:lvl1pPr>
            <a:lvl2pPr>
              <a:buFontTx/>
              <a:buNone/>
              <a:defRPr/>
            </a:lvl2pPr>
            <a:lvl3pPr>
              <a:buFontTx/>
              <a:buNone/>
              <a:defRPr/>
            </a:lvl3pPr>
            <a:lvl4pPr>
              <a:buFontTx/>
              <a:buNone/>
              <a:defRPr/>
            </a:lvl4pPr>
            <a:lvl5pPr>
              <a:buFontTx/>
              <a:buNone/>
              <a:defRPr/>
            </a:lvl5pPr>
          </a:lstStyle>
          <a:p>
            <a:pPr lvl="0"/>
            <a:r>
              <a:rPr lang="en-US" sz="846" dirty="0"/>
              <a:t>LIST TEXT SLIDE</a:t>
            </a:r>
            <a:endParaRPr lang="x-none" dirty="0"/>
          </a:p>
        </p:txBody>
      </p:sp>
      <p:sp>
        <p:nvSpPr>
          <p:cNvPr id="58" name="Text Placeholder 2">
            <a:extLst>
              <a:ext uri="{FF2B5EF4-FFF2-40B4-BE49-F238E27FC236}">
                <a16:creationId xmlns:a16="http://schemas.microsoft.com/office/drawing/2014/main" id="{D78732E4-A209-8549-BF80-46348B740FB2}"/>
              </a:ext>
            </a:extLst>
          </p:cNvPr>
          <p:cNvSpPr>
            <a:spLocks noGrp="1"/>
          </p:cNvSpPr>
          <p:nvPr>
            <p:ph type="body" sz="quarter" idx="48" hasCustomPrompt="1"/>
          </p:nvPr>
        </p:nvSpPr>
        <p:spPr>
          <a:xfrm>
            <a:off x="8121842" y="5614290"/>
            <a:ext cx="1641694" cy="372973"/>
          </a:xfrm>
          <a:prstGeom prst="rect">
            <a:avLst/>
          </a:prstGeom>
        </p:spPr>
        <p:txBody>
          <a:bodyPr/>
          <a:lstStyle>
            <a:lvl1pPr>
              <a:buFontTx/>
              <a:buNone/>
              <a:defRPr sz="846">
                <a:solidFill>
                  <a:srgbClr val="7F8183"/>
                </a:solidFill>
              </a:defRPr>
            </a:lvl1pPr>
            <a:lvl2pPr>
              <a:buFontTx/>
              <a:buNone/>
              <a:defRPr/>
            </a:lvl2pPr>
            <a:lvl3pPr>
              <a:buFontTx/>
              <a:buNone/>
              <a:defRPr/>
            </a:lvl3pPr>
            <a:lvl4pPr>
              <a:buFontTx/>
              <a:buNone/>
              <a:defRPr/>
            </a:lvl4pPr>
            <a:lvl5pPr>
              <a:buFontTx/>
              <a:buNone/>
              <a:defRPr/>
            </a:lvl5pPr>
          </a:lstStyle>
          <a:p>
            <a:pPr lvl="0"/>
            <a:r>
              <a:rPr lang="en-US" sz="846" dirty="0"/>
              <a:t>LIST TEXT SLIDE</a:t>
            </a:r>
            <a:endParaRPr lang="x-none" dirty="0"/>
          </a:p>
        </p:txBody>
      </p:sp>
      <p:sp>
        <p:nvSpPr>
          <p:cNvPr id="59" name="Text Placeholder 2">
            <a:extLst>
              <a:ext uri="{FF2B5EF4-FFF2-40B4-BE49-F238E27FC236}">
                <a16:creationId xmlns:a16="http://schemas.microsoft.com/office/drawing/2014/main" id="{AB3D9B9F-A9DA-6748-9B2E-2A7FAAF395B1}"/>
              </a:ext>
            </a:extLst>
          </p:cNvPr>
          <p:cNvSpPr>
            <a:spLocks noGrp="1"/>
          </p:cNvSpPr>
          <p:nvPr>
            <p:ph type="body" sz="quarter" idx="49" hasCustomPrompt="1"/>
          </p:nvPr>
        </p:nvSpPr>
        <p:spPr>
          <a:xfrm>
            <a:off x="10023609" y="5614290"/>
            <a:ext cx="1641694" cy="372973"/>
          </a:xfrm>
          <a:prstGeom prst="rect">
            <a:avLst/>
          </a:prstGeom>
        </p:spPr>
        <p:txBody>
          <a:bodyPr/>
          <a:lstStyle>
            <a:lvl1pPr>
              <a:buFontTx/>
              <a:buNone/>
              <a:defRPr sz="846">
                <a:solidFill>
                  <a:srgbClr val="7F8183"/>
                </a:solidFill>
              </a:defRPr>
            </a:lvl1pPr>
            <a:lvl2pPr>
              <a:buFontTx/>
              <a:buNone/>
              <a:defRPr/>
            </a:lvl2pPr>
            <a:lvl3pPr>
              <a:buFontTx/>
              <a:buNone/>
              <a:defRPr/>
            </a:lvl3pPr>
            <a:lvl4pPr>
              <a:buFontTx/>
              <a:buNone/>
              <a:defRPr/>
            </a:lvl4pPr>
            <a:lvl5pPr>
              <a:buFontTx/>
              <a:buNone/>
              <a:defRPr/>
            </a:lvl5pPr>
          </a:lstStyle>
          <a:p>
            <a:pPr lvl="0"/>
            <a:r>
              <a:rPr lang="en-US" sz="846" dirty="0"/>
              <a:t>LIST TEXT SLIDE</a:t>
            </a:r>
            <a:endParaRPr lang="x-none" dirty="0"/>
          </a:p>
        </p:txBody>
      </p:sp>
      <p:sp>
        <p:nvSpPr>
          <p:cNvPr id="31" name="Text Placeholder 8">
            <a:extLst>
              <a:ext uri="{FF2B5EF4-FFF2-40B4-BE49-F238E27FC236}">
                <a16:creationId xmlns:a16="http://schemas.microsoft.com/office/drawing/2014/main" id="{0792B98F-E053-9B41-A695-D88F2071F37F}"/>
              </a:ext>
            </a:extLst>
          </p:cNvPr>
          <p:cNvSpPr>
            <a:spLocks noGrp="1"/>
          </p:cNvSpPr>
          <p:nvPr>
            <p:ph type="body" sz="quarter" idx="15" hasCustomPrompt="1"/>
          </p:nvPr>
        </p:nvSpPr>
        <p:spPr>
          <a:xfrm>
            <a:off x="381316" y="1955554"/>
            <a:ext cx="9485839" cy="913952"/>
          </a:xfrm>
          <a:prstGeom prst="rect">
            <a:avLst/>
          </a:prstGeom>
        </p:spPr>
        <p:txBody>
          <a:bodyPr anchor="t"/>
          <a:lstStyle>
            <a:lvl1pPr marL="0" indent="0">
              <a:buFontTx/>
              <a:buNone/>
              <a:defRPr sz="1376"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p>
        </p:txBody>
      </p:sp>
      <p:sp>
        <p:nvSpPr>
          <p:cNvPr id="32" name="Text Placeholder 8">
            <a:extLst>
              <a:ext uri="{FF2B5EF4-FFF2-40B4-BE49-F238E27FC236}">
                <a16:creationId xmlns:a16="http://schemas.microsoft.com/office/drawing/2014/main" id="{844FC93D-94CE-FA4A-8AB4-A75C81CF62E8}"/>
              </a:ext>
            </a:extLst>
          </p:cNvPr>
          <p:cNvSpPr>
            <a:spLocks noGrp="1"/>
          </p:cNvSpPr>
          <p:nvPr>
            <p:ph type="body" sz="quarter" idx="26" hasCustomPrompt="1"/>
          </p:nvPr>
        </p:nvSpPr>
        <p:spPr>
          <a:xfrm>
            <a:off x="388591" y="4873387"/>
            <a:ext cx="1776119" cy="292005"/>
          </a:xfrm>
          <a:prstGeom prst="rect">
            <a:avLst/>
          </a:prstGeom>
        </p:spPr>
        <p:txBody>
          <a:bodyPr anchor="t"/>
          <a:lstStyle>
            <a:lvl1pPr marL="0" indent="0">
              <a:buFontTx/>
              <a:buNone/>
              <a:defRPr sz="1164"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p>
        </p:txBody>
      </p:sp>
      <p:sp>
        <p:nvSpPr>
          <p:cNvPr id="33" name="Text Placeholder 8">
            <a:extLst>
              <a:ext uri="{FF2B5EF4-FFF2-40B4-BE49-F238E27FC236}">
                <a16:creationId xmlns:a16="http://schemas.microsoft.com/office/drawing/2014/main" id="{093E4E4E-81A6-1947-A3A0-3A9BB955324A}"/>
              </a:ext>
            </a:extLst>
          </p:cNvPr>
          <p:cNvSpPr>
            <a:spLocks noGrp="1"/>
          </p:cNvSpPr>
          <p:nvPr>
            <p:ph type="body" sz="quarter" idx="33" hasCustomPrompt="1"/>
          </p:nvPr>
        </p:nvSpPr>
        <p:spPr>
          <a:xfrm>
            <a:off x="2338272" y="4873387"/>
            <a:ext cx="1776119" cy="292005"/>
          </a:xfrm>
          <a:prstGeom prst="rect">
            <a:avLst/>
          </a:prstGeom>
        </p:spPr>
        <p:txBody>
          <a:bodyPr anchor="t"/>
          <a:lstStyle>
            <a:lvl1pPr marL="0" indent="0">
              <a:buFontTx/>
              <a:buNone/>
              <a:defRPr sz="1164"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p>
        </p:txBody>
      </p:sp>
      <p:sp>
        <p:nvSpPr>
          <p:cNvPr id="42" name="Text Placeholder 8">
            <a:extLst>
              <a:ext uri="{FF2B5EF4-FFF2-40B4-BE49-F238E27FC236}">
                <a16:creationId xmlns:a16="http://schemas.microsoft.com/office/drawing/2014/main" id="{92906C78-7CBE-BD4F-A712-5984395875D6}"/>
              </a:ext>
            </a:extLst>
          </p:cNvPr>
          <p:cNvSpPr>
            <a:spLocks noGrp="1"/>
          </p:cNvSpPr>
          <p:nvPr>
            <p:ph type="body" sz="quarter" idx="34" hasCustomPrompt="1"/>
          </p:nvPr>
        </p:nvSpPr>
        <p:spPr>
          <a:xfrm>
            <a:off x="4244304" y="4873387"/>
            <a:ext cx="1776119" cy="292005"/>
          </a:xfrm>
          <a:prstGeom prst="rect">
            <a:avLst/>
          </a:prstGeom>
        </p:spPr>
        <p:txBody>
          <a:bodyPr anchor="t"/>
          <a:lstStyle>
            <a:lvl1pPr marL="0" indent="0">
              <a:buFontTx/>
              <a:buNone/>
              <a:defRPr sz="1164"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p>
        </p:txBody>
      </p:sp>
      <p:sp>
        <p:nvSpPr>
          <p:cNvPr id="44" name="Text Placeholder 8">
            <a:extLst>
              <a:ext uri="{FF2B5EF4-FFF2-40B4-BE49-F238E27FC236}">
                <a16:creationId xmlns:a16="http://schemas.microsoft.com/office/drawing/2014/main" id="{1535D0ED-197B-6943-B155-922CD6C35DB8}"/>
              </a:ext>
            </a:extLst>
          </p:cNvPr>
          <p:cNvSpPr>
            <a:spLocks noGrp="1"/>
          </p:cNvSpPr>
          <p:nvPr>
            <p:ph type="body" sz="quarter" idx="35" hasCustomPrompt="1"/>
          </p:nvPr>
        </p:nvSpPr>
        <p:spPr>
          <a:xfrm>
            <a:off x="6179436" y="4873387"/>
            <a:ext cx="1776119" cy="292005"/>
          </a:xfrm>
          <a:prstGeom prst="rect">
            <a:avLst/>
          </a:prstGeom>
        </p:spPr>
        <p:txBody>
          <a:bodyPr anchor="t"/>
          <a:lstStyle>
            <a:lvl1pPr marL="0" indent="0">
              <a:buFontTx/>
              <a:buNone/>
              <a:defRPr sz="1164"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p>
        </p:txBody>
      </p:sp>
      <p:sp>
        <p:nvSpPr>
          <p:cNvPr id="46" name="Text Placeholder 8">
            <a:extLst>
              <a:ext uri="{FF2B5EF4-FFF2-40B4-BE49-F238E27FC236}">
                <a16:creationId xmlns:a16="http://schemas.microsoft.com/office/drawing/2014/main" id="{ABE019FB-8D6D-954A-8A33-C742E888B23C}"/>
              </a:ext>
            </a:extLst>
          </p:cNvPr>
          <p:cNvSpPr>
            <a:spLocks noGrp="1"/>
          </p:cNvSpPr>
          <p:nvPr>
            <p:ph type="body" sz="quarter" idx="36" hasCustomPrompt="1"/>
          </p:nvPr>
        </p:nvSpPr>
        <p:spPr>
          <a:xfrm>
            <a:off x="8129118" y="4873387"/>
            <a:ext cx="1634419" cy="292005"/>
          </a:xfrm>
          <a:prstGeom prst="rect">
            <a:avLst/>
          </a:prstGeom>
        </p:spPr>
        <p:txBody>
          <a:bodyPr anchor="t"/>
          <a:lstStyle>
            <a:lvl1pPr marL="0" indent="0">
              <a:buFontTx/>
              <a:buNone/>
              <a:defRPr sz="1164"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p>
        </p:txBody>
      </p:sp>
      <p:sp>
        <p:nvSpPr>
          <p:cNvPr id="48" name="Text Placeholder 8">
            <a:extLst>
              <a:ext uri="{FF2B5EF4-FFF2-40B4-BE49-F238E27FC236}">
                <a16:creationId xmlns:a16="http://schemas.microsoft.com/office/drawing/2014/main" id="{5E7DC241-A9BE-A846-8179-1BB3D5F402B5}"/>
              </a:ext>
            </a:extLst>
          </p:cNvPr>
          <p:cNvSpPr>
            <a:spLocks noGrp="1"/>
          </p:cNvSpPr>
          <p:nvPr>
            <p:ph type="body" sz="quarter" idx="37" hasCustomPrompt="1"/>
          </p:nvPr>
        </p:nvSpPr>
        <p:spPr>
          <a:xfrm>
            <a:off x="10027874" y="4873387"/>
            <a:ext cx="1634419" cy="292005"/>
          </a:xfrm>
          <a:prstGeom prst="rect">
            <a:avLst/>
          </a:prstGeom>
        </p:spPr>
        <p:txBody>
          <a:bodyPr anchor="t"/>
          <a:lstStyle>
            <a:lvl1pPr marL="0" indent="0">
              <a:buFontTx/>
              <a:buNone/>
              <a:defRPr sz="1164"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p>
        </p:txBody>
      </p:sp>
    </p:spTree>
    <p:extLst>
      <p:ext uri="{BB962C8B-B14F-4D97-AF65-F5344CB8AC3E}">
        <p14:creationId xmlns:p14="http://schemas.microsoft.com/office/powerpoint/2010/main" val="570598554"/>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Content">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B144694-7FC2-824B-ACAA-93D4B0E2FE77}"/>
              </a:ext>
            </a:extLst>
          </p:cNvPr>
          <p:cNvSpPr>
            <a:spLocks noGrp="1"/>
          </p:cNvSpPr>
          <p:nvPr>
            <p:ph type="body" sz="quarter" idx="11" hasCustomPrompt="1"/>
          </p:nvPr>
        </p:nvSpPr>
        <p:spPr>
          <a:xfrm>
            <a:off x="1341037" y="4534481"/>
            <a:ext cx="9478565" cy="913951"/>
          </a:xfrm>
          <a:prstGeom prst="rect">
            <a:avLst/>
          </a:prstGeom>
        </p:spPr>
        <p:txBody>
          <a:bodyPr/>
          <a:lstStyle>
            <a:lvl1pPr marL="0" indent="0" algn="ctr">
              <a:buFontTx/>
              <a:buNone/>
              <a:defRPr sz="2539"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ist text slide</a:t>
            </a:r>
            <a:endParaRPr lang="x-none" dirty="0"/>
          </a:p>
        </p:txBody>
      </p:sp>
      <p:sp>
        <p:nvSpPr>
          <p:cNvPr id="3" name="Picture Placeholder 2">
            <a:extLst>
              <a:ext uri="{FF2B5EF4-FFF2-40B4-BE49-F238E27FC236}">
                <a16:creationId xmlns:a16="http://schemas.microsoft.com/office/drawing/2014/main" id="{6DB3FB19-848E-CB42-A250-50BFE3733C90}"/>
              </a:ext>
            </a:extLst>
          </p:cNvPr>
          <p:cNvSpPr>
            <a:spLocks noGrp="1"/>
          </p:cNvSpPr>
          <p:nvPr>
            <p:ph type="pic" sz="quarter" idx="21"/>
          </p:nvPr>
        </p:nvSpPr>
        <p:spPr>
          <a:xfrm>
            <a:off x="1333763" y="1409571"/>
            <a:ext cx="1790669" cy="1943827"/>
          </a:xfrm>
          <a:prstGeom prst="rect">
            <a:avLst/>
          </a:prstGeom>
        </p:spPr>
        <p:txBody>
          <a:bodyPr anchor="ctr"/>
          <a:lstStyle>
            <a:lvl1pPr algn="ctr">
              <a:buFontTx/>
              <a:buNone/>
              <a:defRPr sz="2116" b="1"/>
            </a:lvl1pPr>
          </a:lstStyle>
          <a:p>
            <a:endParaRPr lang="x-none" dirty="0"/>
          </a:p>
        </p:txBody>
      </p:sp>
      <p:sp>
        <p:nvSpPr>
          <p:cNvPr id="16" name="Picture Placeholder 2">
            <a:extLst>
              <a:ext uri="{FF2B5EF4-FFF2-40B4-BE49-F238E27FC236}">
                <a16:creationId xmlns:a16="http://schemas.microsoft.com/office/drawing/2014/main" id="{133D6222-9800-8D43-9D80-0E2EC5A8DC6D}"/>
              </a:ext>
            </a:extLst>
          </p:cNvPr>
          <p:cNvSpPr>
            <a:spLocks noGrp="1"/>
          </p:cNvSpPr>
          <p:nvPr>
            <p:ph type="pic" sz="quarter" idx="22"/>
          </p:nvPr>
        </p:nvSpPr>
        <p:spPr>
          <a:xfrm>
            <a:off x="5219144" y="1409571"/>
            <a:ext cx="1790669" cy="1943827"/>
          </a:xfrm>
          <a:prstGeom prst="rect">
            <a:avLst/>
          </a:prstGeom>
        </p:spPr>
        <p:txBody>
          <a:bodyPr anchor="ctr"/>
          <a:lstStyle>
            <a:lvl1pPr algn="ctr">
              <a:buFontTx/>
              <a:buNone/>
              <a:defRPr sz="2116" b="1"/>
            </a:lvl1pPr>
          </a:lstStyle>
          <a:p>
            <a:endParaRPr lang="x-none" dirty="0"/>
          </a:p>
        </p:txBody>
      </p:sp>
      <p:sp>
        <p:nvSpPr>
          <p:cNvPr id="18" name="Picture Placeholder 2">
            <a:extLst>
              <a:ext uri="{FF2B5EF4-FFF2-40B4-BE49-F238E27FC236}">
                <a16:creationId xmlns:a16="http://schemas.microsoft.com/office/drawing/2014/main" id="{BBB33A9A-57E1-A549-8745-8EC438FB048B}"/>
              </a:ext>
            </a:extLst>
          </p:cNvPr>
          <p:cNvSpPr>
            <a:spLocks noGrp="1"/>
          </p:cNvSpPr>
          <p:nvPr>
            <p:ph type="pic" sz="quarter" idx="23"/>
          </p:nvPr>
        </p:nvSpPr>
        <p:spPr>
          <a:xfrm>
            <a:off x="9067570" y="1409571"/>
            <a:ext cx="1752033" cy="1943826"/>
          </a:xfrm>
          <a:prstGeom prst="rect">
            <a:avLst/>
          </a:prstGeom>
        </p:spPr>
        <p:txBody>
          <a:bodyPr anchor="ctr"/>
          <a:lstStyle>
            <a:lvl1pPr algn="ctr">
              <a:buFontTx/>
              <a:buNone/>
              <a:defRPr sz="2116" b="1"/>
            </a:lvl1pPr>
          </a:lstStyle>
          <a:p>
            <a:endParaRPr lang="x-none" dirty="0"/>
          </a:p>
        </p:txBody>
      </p:sp>
      <p:sp>
        <p:nvSpPr>
          <p:cNvPr id="19" name="Text Placeholder 8">
            <a:extLst>
              <a:ext uri="{FF2B5EF4-FFF2-40B4-BE49-F238E27FC236}">
                <a16:creationId xmlns:a16="http://schemas.microsoft.com/office/drawing/2014/main" id="{9B905518-2D7F-0240-A1D8-DA8BBE84B016}"/>
              </a:ext>
            </a:extLst>
          </p:cNvPr>
          <p:cNvSpPr>
            <a:spLocks noGrp="1"/>
          </p:cNvSpPr>
          <p:nvPr>
            <p:ph type="body" sz="quarter" idx="26" hasCustomPrompt="1"/>
          </p:nvPr>
        </p:nvSpPr>
        <p:spPr>
          <a:xfrm>
            <a:off x="1341037" y="5608591"/>
            <a:ext cx="9478565" cy="386414"/>
          </a:xfrm>
          <a:prstGeom prst="rect">
            <a:avLst/>
          </a:prstGeom>
        </p:spPr>
        <p:txBody>
          <a:bodyPr anchor="b"/>
          <a:lstStyle>
            <a:lvl1pPr marL="0" indent="0" algn="ctr">
              <a:buFontTx/>
              <a:buNone/>
              <a:defRPr sz="1164"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p>
        </p:txBody>
      </p:sp>
      <p:cxnSp>
        <p:nvCxnSpPr>
          <p:cNvPr id="21" name="Straight Connector 20">
            <a:extLst>
              <a:ext uri="{FF2B5EF4-FFF2-40B4-BE49-F238E27FC236}">
                <a16:creationId xmlns:a16="http://schemas.microsoft.com/office/drawing/2014/main" id="{5E3C393C-3885-0E44-A85A-ECDB39A626E4}"/>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24" name="Text Placeholder 13">
            <a:extLst>
              <a:ext uri="{FF2B5EF4-FFF2-40B4-BE49-F238E27FC236}">
                <a16:creationId xmlns:a16="http://schemas.microsoft.com/office/drawing/2014/main" id="{E231F51B-9E6C-E842-B5E8-31A30E7C1E39}"/>
              </a:ext>
            </a:extLst>
          </p:cNvPr>
          <p:cNvSpPr>
            <a:spLocks noGrp="1"/>
          </p:cNvSpPr>
          <p:nvPr>
            <p:ph type="body" sz="quarter" idx="14" hasCustomPrompt="1"/>
          </p:nvPr>
        </p:nvSpPr>
        <p:spPr>
          <a:xfrm>
            <a:off x="295483"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25" name="Slide Number Placeholder 1">
            <a:extLst>
              <a:ext uri="{FF2B5EF4-FFF2-40B4-BE49-F238E27FC236}">
                <a16:creationId xmlns:a16="http://schemas.microsoft.com/office/drawing/2014/main" id="{C9BAF930-1688-BF49-BE52-26E5F367F213}"/>
              </a:ext>
            </a:extLst>
          </p:cNvPr>
          <p:cNvSpPr txBox="1">
            <a:spLocks/>
          </p:cNvSpPr>
          <p:nvPr userDrawn="1"/>
        </p:nvSpPr>
        <p:spPr>
          <a:xfrm>
            <a:off x="11108818" y="395811"/>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27" name="Text Placeholder 13">
            <a:extLst>
              <a:ext uri="{FF2B5EF4-FFF2-40B4-BE49-F238E27FC236}">
                <a16:creationId xmlns:a16="http://schemas.microsoft.com/office/drawing/2014/main" id="{DD0DB3B0-9E26-FD42-8EF7-C67E9992F4BB}"/>
              </a:ext>
            </a:extLst>
          </p:cNvPr>
          <p:cNvSpPr>
            <a:spLocks noGrp="1"/>
          </p:cNvSpPr>
          <p:nvPr>
            <p:ph type="body" sz="quarter" idx="25" hasCustomPrompt="1"/>
          </p:nvPr>
        </p:nvSpPr>
        <p:spPr>
          <a:xfrm>
            <a:off x="10020017" y="6319800"/>
            <a:ext cx="1790667" cy="374160"/>
          </a:xfrm>
          <a:prstGeom prst="rect">
            <a:avLst/>
          </a:prstGeom>
        </p:spPr>
        <p:txBody>
          <a:bodyPr/>
          <a:lstStyle>
            <a:lvl1pPr marL="0" indent="0" algn="r">
              <a:buFontTx/>
              <a:buNone/>
              <a:defRPr sz="846"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sp>
        <p:nvSpPr>
          <p:cNvPr id="14" name="Text Placeholder 2">
            <a:extLst>
              <a:ext uri="{FF2B5EF4-FFF2-40B4-BE49-F238E27FC236}">
                <a16:creationId xmlns:a16="http://schemas.microsoft.com/office/drawing/2014/main" id="{769812B3-4792-8040-A022-DC10D37E5D1E}"/>
              </a:ext>
            </a:extLst>
          </p:cNvPr>
          <p:cNvSpPr>
            <a:spLocks noGrp="1"/>
          </p:cNvSpPr>
          <p:nvPr>
            <p:ph type="body" sz="quarter" idx="44" hasCustomPrompt="1"/>
          </p:nvPr>
        </p:nvSpPr>
        <p:spPr>
          <a:xfrm>
            <a:off x="1333763" y="3513558"/>
            <a:ext cx="1783949" cy="372973"/>
          </a:xfrm>
          <a:prstGeom prst="rect">
            <a:avLst/>
          </a:prstGeom>
        </p:spPr>
        <p:txBody>
          <a:bodyPr/>
          <a:lstStyle>
            <a:lvl1pPr algn="ctr">
              <a:buFontTx/>
              <a:buNone/>
              <a:defRPr sz="846">
                <a:solidFill>
                  <a:srgbClr val="E41910"/>
                </a:solidFill>
              </a:defRPr>
            </a:lvl1pPr>
            <a:lvl2pPr>
              <a:buFontTx/>
              <a:buNone/>
              <a:defRPr/>
            </a:lvl2pPr>
            <a:lvl3pPr>
              <a:buFontTx/>
              <a:buNone/>
              <a:defRPr/>
            </a:lvl3pPr>
            <a:lvl4pPr>
              <a:buFontTx/>
              <a:buNone/>
              <a:defRPr/>
            </a:lvl4pPr>
            <a:lvl5pPr>
              <a:buFontTx/>
              <a:buNone/>
              <a:defRPr/>
            </a:lvl5pPr>
          </a:lstStyle>
          <a:p>
            <a:pPr lvl="0"/>
            <a:r>
              <a:rPr lang="en-US" sz="846" dirty="0"/>
              <a:t>LIST TEXT SLIDE</a:t>
            </a:r>
            <a:endParaRPr lang="x-none" dirty="0"/>
          </a:p>
        </p:txBody>
      </p:sp>
      <p:sp>
        <p:nvSpPr>
          <p:cNvPr id="15" name="Text Placeholder 2">
            <a:extLst>
              <a:ext uri="{FF2B5EF4-FFF2-40B4-BE49-F238E27FC236}">
                <a16:creationId xmlns:a16="http://schemas.microsoft.com/office/drawing/2014/main" id="{7A6114E0-B038-3440-A1CF-C88076BA92D4}"/>
              </a:ext>
            </a:extLst>
          </p:cNvPr>
          <p:cNvSpPr>
            <a:spLocks noGrp="1"/>
          </p:cNvSpPr>
          <p:nvPr>
            <p:ph type="body" sz="quarter" idx="45" hasCustomPrompt="1"/>
          </p:nvPr>
        </p:nvSpPr>
        <p:spPr>
          <a:xfrm>
            <a:off x="5226268" y="3513558"/>
            <a:ext cx="1783949" cy="372973"/>
          </a:xfrm>
          <a:prstGeom prst="rect">
            <a:avLst/>
          </a:prstGeom>
        </p:spPr>
        <p:txBody>
          <a:bodyPr/>
          <a:lstStyle>
            <a:lvl1pPr algn="ctr">
              <a:buFontTx/>
              <a:buNone/>
              <a:defRPr sz="846">
                <a:solidFill>
                  <a:srgbClr val="E41910"/>
                </a:solidFill>
              </a:defRPr>
            </a:lvl1pPr>
            <a:lvl2pPr>
              <a:buFontTx/>
              <a:buNone/>
              <a:defRPr/>
            </a:lvl2pPr>
            <a:lvl3pPr>
              <a:buFontTx/>
              <a:buNone/>
              <a:defRPr/>
            </a:lvl3pPr>
            <a:lvl4pPr>
              <a:buFontTx/>
              <a:buNone/>
              <a:defRPr/>
            </a:lvl4pPr>
            <a:lvl5pPr>
              <a:buFontTx/>
              <a:buNone/>
              <a:defRPr/>
            </a:lvl5pPr>
          </a:lstStyle>
          <a:p>
            <a:pPr lvl="0"/>
            <a:r>
              <a:rPr lang="en-US" sz="846" dirty="0"/>
              <a:t>LIST TEXT SLIDE</a:t>
            </a:r>
            <a:endParaRPr lang="x-none" dirty="0"/>
          </a:p>
        </p:txBody>
      </p:sp>
      <p:sp>
        <p:nvSpPr>
          <p:cNvPr id="20" name="Text Placeholder 2">
            <a:extLst>
              <a:ext uri="{FF2B5EF4-FFF2-40B4-BE49-F238E27FC236}">
                <a16:creationId xmlns:a16="http://schemas.microsoft.com/office/drawing/2014/main" id="{EC63FA3E-FD0F-E54F-B9B7-B88D361207BF}"/>
              </a:ext>
            </a:extLst>
          </p:cNvPr>
          <p:cNvSpPr>
            <a:spLocks noGrp="1"/>
          </p:cNvSpPr>
          <p:nvPr>
            <p:ph type="body" sz="quarter" idx="46" hasCustomPrompt="1"/>
          </p:nvPr>
        </p:nvSpPr>
        <p:spPr>
          <a:xfrm>
            <a:off x="9074287" y="3513558"/>
            <a:ext cx="1783950" cy="372973"/>
          </a:xfrm>
          <a:prstGeom prst="rect">
            <a:avLst/>
          </a:prstGeom>
        </p:spPr>
        <p:txBody>
          <a:bodyPr/>
          <a:lstStyle>
            <a:lvl1pPr algn="ctr">
              <a:buFontTx/>
              <a:buNone/>
              <a:defRPr sz="846">
                <a:solidFill>
                  <a:srgbClr val="E41910"/>
                </a:solidFill>
              </a:defRPr>
            </a:lvl1pPr>
            <a:lvl2pPr>
              <a:buFontTx/>
              <a:buNone/>
              <a:defRPr/>
            </a:lvl2pPr>
            <a:lvl3pPr>
              <a:buFontTx/>
              <a:buNone/>
              <a:defRPr/>
            </a:lvl3pPr>
            <a:lvl4pPr>
              <a:buFontTx/>
              <a:buNone/>
              <a:defRPr/>
            </a:lvl4pPr>
            <a:lvl5pPr>
              <a:buFontTx/>
              <a:buNone/>
              <a:defRPr/>
            </a:lvl5pPr>
          </a:lstStyle>
          <a:p>
            <a:pPr lvl="0"/>
            <a:r>
              <a:rPr lang="en-US" sz="846" dirty="0"/>
              <a:t>LIST TEXT SLIDE</a:t>
            </a:r>
            <a:endParaRPr lang="x-none" dirty="0"/>
          </a:p>
        </p:txBody>
      </p:sp>
    </p:spTree>
    <p:extLst>
      <p:ext uri="{BB962C8B-B14F-4D97-AF65-F5344CB8AC3E}">
        <p14:creationId xmlns:p14="http://schemas.microsoft.com/office/powerpoint/2010/main" val="3412168036"/>
      </p:ext>
    </p:extLst>
  </p:cSld>
  <p:clrMapOvr>
    <a:masterClrMapping/>
  </p:clrMapOvr>
  <p:transition>
    <p:fade/>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6_Content">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B144694-7FC2-824B-ACAA-93D4B0E2FE77}"/>
              </a:ext>
            </a:extLst>
          </p:cNvPr>
          <p:cNvSpPr>
            <a:spLocks noGrp="1"/>
          </p:cNvSpPr>
          <p:nvPr>
            <p:ph type="body" sz="quarter" idx="11" hasCustomPrompt="1"/>
          </p:nvPr>
        </p:nvSpPr>
        <p:spPr>
          <a:xfrm>
            <a:off x="4229741" y="1421294"/>
            <a:ext cx="7573669" cy="902228"/>
          </a:xfrm>
          <a:prstGeom prst="rect">
            <a:avLst/>
          </a:prstGeom>
        </p:spPr>
        <p:txBody>
          <a:bodyPr/>
          <a:lstStyle>
            <a:lvl1pPr marL="0" indent="0">
              <a:buFontTx/>
              <a:buNone/>
              <a:defRPr sz="1693"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ist text slide</a:t>
            </a:r>
            <a:endParaRPr lang="x-none" dirty="0"/>
          </a:p>
        </p:txBody>
      </p:sp>
      <p:sp>
        <p:nvSpPr>
          <p:cNvPr id="19" name="Picture Placeholder 2">
            <a:extLst>
              <a:ext uri="{FF2B5EF4-FFF2-40B4-BE49-F238E27FC236}">
                <a16:creationId xmlns:a16="http://schemas.microsoft.com/office/drawing/2014/main" id="{C451E8F1-06AC-5E48-82A9-E50EF6EE0356}"/>
              </a:ext>
            </a:extLst>
          </p:cNvPr>
          <p:cNvSpPr>
            <a:spLocks noGrp="1"/>
          </p:cNvSpPr>
          <p:nvPr>
            <p:ph type="pic" sz="quarter" idx="27"/>
          </p:nvPr>
        </p:nvSpPr>
        <p:spPr>
          <a:xfrm>
            <a:off x="381315" y="4534480"/>
            <a:ext cx="3695564" cy="1942148"/>
          </a:xfrm>
          <a:prstGeom prst="rect">
            <a:avLst/>
          </a:prstGeom>
        </p:spPr>
        <p:txBody>
          <a:bodyPr anchor="ctr"/>
          <a:lstStyle>
            <a:lvl1pPr algn="ctr">
              <a:buFontTx/>
              <a:buNone/>
              <a:defRPr sz="2116" b="1"/>
            </a:lvl1pPr>
          </a:lstStyle>
          <a:p>
            <a:endParaRPr lang="x-none" dirty="0"/>
          </a:p>
        </p:txBody>
      </p:sp>
      <p:sp>
        <p:nvSpPr>
          <p:cNvPr id="21" name="Text Placeholder 8">
            <a:extLst>
              <a:ext uri="{FF2B5EF4-FFF2-40B4-BE49-F238E27FC236}">
                <a16:creationId xmlns:a16="http://schemas.microsoft.com/office/drawing/2014/main" id="{A3728B20-05DF-8D48-9BC9-AD82435F5820}"/>
              </a:ext>
            </a:extLst>
          </p:cNvPr>
          <p:cNvSpPr>
            <a:spLocks noGrp="1"/>
          </p:cNvSpPr>
          <p:nvPr>
            <p:ph type="body" sz="quarter" idx="28" hasCustomPrompt="1"/>
          </p:nvPr>
        </p:nvSpPr>
        <p:spPr>
          <a:xfrm>
            <a:off x="4229740" y="2483684"/>
            <a:ext cx="3732519" cy="1520650"/>
          </a:xfrm>
          <a:prstGeom prst="rect">
            <a:avLst/>
          </a:prstGeom>
        </p:spPr>
        <p:txBody>
          <a:bodyPr/>
          <a:lstStyle>
            <a:lvl1pPr marL="181411" indent="-181411">
              <a:buFont typeface="Arial" panose="020B0604020202020204" pitchFamily="34" charset="0"/>
              <a:buChar char="•"/>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ist text slide</a:t>
            </a:r>
            <a:endParaRPr lang="x-none" dirty="0"/>
          </a:p>
        </p:txBody>
      </p:sp>
      <p:sp>
        <p:nvSpPr>
          <p:cNvPr id="26" name="Picture Placeholder 2">
            <a:extLst>
              <a:ext uri="{FF2B5EF4-FFF2-40B4-BE49-F238E27FC236}">
                <a16:creationId xmlns:a16="http://schemas.microsoft.com/office/drawing/2014/main" id="{95BB0516-65D5-6E44-AB28-CF1B7A61745A}"/>
              </a:ext>
            </a:extLst>
          </p:cNvPr>
          <p:cNvSpPr>
            <a:spLocks noGrp="1"/>
          </p:cNvSpPr>
          <p:nvPr>
            <p:ph type="pic" sz="quarter" idx="31"/>
          </p:nvPr>
        </p:nvSpPr>
        <p:spPr>
          <a:xfrm>
            <a:off x="4229741" y="4534480"/>
            <a:ext cx="7580943" cy="1930171"/>
          </a:xfrm>
          <a:prstGeom prst="rect">
            <a:avLst/>
          </a:prstGeom>
        </p:spPr>
        <p:txBody>
          <a:bodyPr anchor="ctr"/>
          <a:lstStyle>
            <a:lvl1pPr algn="ctr">
              <a:buFontTx/>
              <a:buNone/>
              <a:defRPr sz="2116" b="1"/>
            </a:lvl1pPr>
          </a:lstStyle>
          <a:p>
            <a:endParaRPr lang="x-none" dirty="0"/>
          </a:p>
        </p:txBody>
      </p:sp>
      <p:sp>
        <p:nvSpPr>
          <p:cNvPr id="27" name="Text Placeholder 8">
            <a:extLst>
              <a:ext uri="{FF2B5EF4-FFF2-40B4-BE49-F238E27FC236}">
                <a16:creationId xmlns:a16="http://schemas.microsoft.com/office/drawing/2014/main" id="{A20F3548-A10E-6A4F-B50B-684D6187D9F3}"/>
              </a:ext>
            </a:extLst>
          </p:cNvPr>
          <p:cNvSpPr>
            <a:spLocks noGrp="1"/>
          </p:cNvSpPr>
          <p:nvPr>
            <p:ph type="body" sz="quarter" idx="32" hasCustomPrompt="1"/>
          </p:nvPr>
        </p:nvSpPr>
        <p:spPr>
          <a:xfrm>
            <a:off x="388590" y="1425005"/>
            <a:ext cx="3688286" cy="1928393"/>
          </a:xfrm>
          <a:prstGeom prst="rect">
            <a:avLst/>
          </a:prstGeom>
        </p:spPr>
        <p:txBody>
          <a:bodyPr anchor="t"/>
          <a:lstStyle>
            <a:lvl1pPr marL="0" indent="0">
              <a:buFontTx/>
              <a:buNone/>
              <a:defRPr lang="en-GB" sz="2539" b="0" i="0" smtClean="0">
                <a:effectLst/>
              </a:defRPr>
            </a:lvl1pPr>
          </a:lstStyle>
          <a:p>
            <a:pPr lvl="0"/>
            <a:r>
              <a:rPr lang="en-US" dirty="0"/>
              <a:t>Lorem ipsum dolor sit </a:t>
            </a:r>
            <a:r>
              <a:rPr lang="en-US" dirty="0" err="1"/>
              <a:t>amet,tetur</a:t>
            </a:r>
            <a:r>
              <a:rPr lang="en-US" dirty="0"/>
              <a:t> </a:t>
            </a:r>
            <a:r>
              <a:rPr lang="en-US" dirty="0" err="1"/>
              <a:t>adipiscing</a:t>
            </a:r>
            <a:endParaRPr lang="x-none" dirty="0"/>
          </a:p>
        </p:txBody>
      </p:sp>
      <p:sp>
        <p:nvSpPr>
          <p:cNvPr id="18" name="Text Placeholder 8">
            <a:extLst>
              <a:ext uri="{FF2B5EF4-FFF2-40B4-BE49-F238E27FC236}">
                <a16:creationId xmlns:a16="http://schemas.microsoft.com/office/drawing/2014/main" id="{8B81A5F8-97CA-E243-8010-1A3C14C34823}"/>
              </a:ext>
            </a:extLst>
          </p:cNvPr>
          <p:cNvSpPr>
            <a:spLocks noGrp="1"/>
          </p:cNvSpPr>
          <p:nvPr>
            <p:ph type="body" sz="quarter" idx="33" hasCustomPrompt="1"/>
          </p:nvPr>
        </p:nvSpPr>
        <p:spPr>
          <a:xfrm>
            <a:off x="8115122" y="2483684"/>
            <a:ext cx="3688288" cy="1520650"/>
          </a:xfrm>
          <a:prstGeom prst="rect">
            <a:avLst/>
          </a:prstGeom>
        </p:spPr>
        <p:txBody>
          <a:bodyPr/>
          <a:lstStyle>
            <a:lvl1pPr marL="181411" indent="-181411">
              <a:buFont typeface="Arial" panose="020B0604020202020204" pitchFamily="34" charset="0"/>
              <a:buChar char="•"/>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ist text slide</a:t>
            </a:r>
            <a:endParaRPr lang="x-none" dirty="0"/>
          </a:p>
        </p:txBody>
      </p:sp>
      <p:cxnSp>
        <p:nvCxnSpPr>
          <p:cNvPr id="20" name="Straight Connector 19">
            <a:extLst>
              <a:ext uri="{FF2B5EF4-FFF2-40B4-BE49-F238E27FC236}">
                <a16:creationId xmlns:a16="http://schemas.microsoft.com/office/drawing/2014/main" id="{93033578-7F9F-3F4D-A7B9-83608E33B45B}"/>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28" name="Text Placeholder 13">
            <a:extLst>
              <a:ext uri="{FF2B5EF4-FFF2-40B4-BE49-F238E27FC236}">
                <a16:creationId xmlns:a16="http://schemas.microsoft.com/office/drawing/2014/main" id="{0D141FB2-ACC8-F840-9FFF-5DFEDC6B5E5D}"/>
              </a:ext>
            </a:extLst>
          </p:cNvPr>
          <p:cNvSpPr>
            <a:spLocks noGrp="1"/>
          </p:cNvSpPr>
          <p:nvPr>
            <p:ph type="body" sz="quarter" idx="14" hasCustomPrompt="1"/>
          </p:nvPr>
        </p:nvSpPr>
        <p:spPr>
          <a:xfrm>
            <a:off x="295483"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30" name="Text Placeholder 13">
            <a:extLst>
              <a:ext uri="{FF2B5EF4-FFF2-40B4-BE49-F238E27FC236}">
                <a16:creationId xmlns:a16="http://schemas.microsoft.com/office/drawing/2014/main" id="{7FEE8271-349B-7F46-84E5-57DB4F6BE182}"/>
              </a:ext>
            </a:extLst>
          </p:cNvPr>
          <p:cNvSpPr>
            <a:spLocks noGrp="1"/>
          </p:cNvSpPr>
          <p:nvPr>
            <p:ph type="body" sz="quarter" idx="25" hasCustomPrompt="1"/>
          </p:nvPr>
        </p:nvSpPr>
        <p:spPr>
          <a:xfrm>
            <a:off x="10020017" y="6319800"/>
            <a:ext cx="1790667" cy="374160"/>
          </a:xfrm>
          <a:prstGeom prst="rect">
            <a:avLst/>
          </a:prstGeom>
        </p:spPr>
        <p:txBody>
          <a:bodyPr/>
          <a:lstStyle>
            <a:lvl1pPr marL="0" indent="0" algn="r">
              <a:buFontTx/>
              <a:buNone/>
              <a:defRPr sz="846"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sp>
        <p:nvSpPr>
          <p:cNvPr id="31" name="Slide Number Placeholder 1">
            <a:extLst>
              <a:ext uri="{FF2B5EF4-FFF2-40B4-BE49-F238E27FC236}">
                <a16:creationId xmlns:a16="http://schemas.microsoft.com/office/drawing/2014/main" id="{10F2E919-487E-A444-B61C-A3EBE0C04671}"/>
              </a:ext>
            </a:extLst>
          </p:cNvPr>
          <p:cNvSpPr txBox="1">
            <a:spLocks/>
          </p:cNvSpPr>
          <p:nvPr userDrawn="1"/>
        </p:nvSpPr>
        <p:spPr>
          <a:xfrm>
            <a:off x="11108818" y="395811"/>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2">
            <a:extLst>
              <a:ext uri="{FF2B5EF4-FFF2-40B4-BE49-F238E27FC236}">
                <a16:creationId xmlns:a16="http://schemas.microsoft.com/office/drawing/2014/main" id="{22091F0F-CB18-734E-8DE8-87F3F185F3F9}"/>
              </a:ext>
            </a:extLst>
          </p:cNvPr>
          <p:cNvSpPr>
            <a:spLocks noGrp="1"/>
          </p:cNvSpPr>
          <p:nvPr>
            <p:ph type="body" sz="quarter" idx="44" hasCustomPrompt="1"/>
          </p:nvPr>
        </p:nvSpPr>
        <p:spPr>
          <a:xfrm>
            <a:off x="381316" y="4023653"/>
            <a:ext cx="1783949" cy="338493"/>
          </a:xfrm>
          <a:prstGeom prst="rect">
            <a:avLst/>
          </a:prstGeom>
        </p:spPr>
        <p:txBody>
          <a:bodyPr anchor="b"/>
          <a:lstStyle>
            <a:lvl1pPr>
              <a:buFontTx/>
              <a:buNone/>
              <a:defRPr sz="846">
                <a:solidFill>
                  <a:srgbClr val="E41910"/>
                </a:solidFill>
              </a:defRPr>
            </a:lvl1pPr>
            <a:lvl2pPr>
              <a:buFontTx/>
              <a:buNone/>
              <a:defRPr/>
            </a:lvl2pPr>
            <a:lvl3pPr>
              <a:buFontTx/>
              <a:buNone/>
              <a:defRPr/>
            </a:lvl3pPr>
            <a:lvl4pPr>
              <a:buFontTx/>
              <a:buNone/>
              <a:defRPr/>
            </a:lvl4pPr>
            <a:lvl5pPr>
              <a:buFontTx/>
              <a:buNone/>
              <a:defRPr/>
            </a:lvl5pPr>
          </a:lstStyle>
          <a:p>
            <a:pPr lvl="0"/>
            <a:r>
              <a:rPr lang="en-US" sz="846" dirty="0"/>
              <a:t>LIST TEXT SLIDE</a:t>
            </a:r>
            <a:endParaRPr lang="x-none" dirty="0"/>
          </a:p>
        </p:txBody>
      </p:sp>
      <p:sp>
        <p:nvSpPr>
          <p:cNvPr id="17" name="Text Placeholder 2">
            <a:extLst>
              <a:ext uri="{FF2B5EF4-FFF2-40B4-BE49-F238E27FC236}">
                <a16:creationId xmlns:a16="http://schemas.microsoft.com/office/drawing/2014/main" id="{53DC2EAD-6ECD-CF4D-B0A3-7D0A6738B9BB}"/>
              </a:ext>
            </a:extLst>
          </p:cNvPr>
          <p:cNvSpPr>
            <a:spLocks noGrp="1"/>
          </p:cNvSpPr>
          <p:nvPr>
            <p:ph type="body" sz="quarter" idx="45" hasCustomPrompt="1"/>
          </p:nvPr>
        </p:nvSpPr>
        <p:spPr>
          <a:xfrm>
            <a:off x="4229337" y="4023653"/>
            <a:ext cx="1783949" cy="338493"/>
          </a:xfrm>
          <a:prstGeom prst="rect">
            <a:avLst/>
          </a:prstGeom>
        </p:spPr>
        <p:txBody>
          <a:bodyPr anchor="b"/>
          <a:lstStyle>
            <a:lvl1pPr>
              <a:buFontTx/>
              <a:buNone/>
              <a:defRPr sz="846">
                <a:solidFill>
                  <a:srgbClr val="E41910"/>
                </a:solidFill>
              </a:defRPr>
            </a:lvl1pPr>
            <a:lvl2pPr>
              <a:buFontTx/>
              <a:buNone/>
              <a:defRPr/>
            </a:lvl2pPr>
            <a:lvl3pPr>
              <a:buFontTx/>
              <a:buNone/>
              <a:defRPr/>
            </a:lvl3pPr>
            <a:lvl4pPr>
              <a:buFontTx/>
              <a:buNone/>
              <a:defRPr/>
            </a:lvl4pPr>
            <a:lvl5pPr>
              <a:buFontTx/>
              <a:buNone/>
              <a:defRPr/>
            </a:lvl5pPr>
          </a:lstStyle>
          <a:p>
            <a:pPr lvl="0"/>
            <a:r>
              <a:rPr lang="en-US" sz="846" dirty="0"/>
              <a:t>LIST TEXT SLIDE</a:t>
            </a:r>
            <a:endParaRPr lang="x-none" dirty="0"/>
          </a:p>
        </p:txBody>
      </p:sp>
    </p:spTree>
    <p:extLst>
      <p:ext uri="{BB962C8B-B14F-4D97-AF65-F5344CB8AC3E}">
        <p14:creationId xmlns:p14="http://schemas.microsoft.com/office/powerpoint/2010/main" val="1741070115"/>
      </p:ext>
    </p:extLst>
  </p:cSld>
  <p:clrMapOvr>
    <a:masterClrMapping/>
  </p:clrMapOvr>
  <p:transition>
    <p:fade/>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_Content">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DB3FB19-848E-CB42-A250-50BFE3733C90}"/>
              </a:ext>
            </a:extLst>
          </p:cNvPr>
          <p:cNvSpPr>
            <a:spLocks noGrp="1"/>
          </p:cNvSpPr>
          <p:nvPr>
            <p:ph type="pic" sz="quarter" idx="21"/>
          </p:nvPr>
        </p:nvSpPr>
        <p:spPr>
          <a:xfrm>
            <a:off x="387217" y="1256685"/>
            <a:ext cx="3689661" cy="5219923"/>
          </a:xfrm>
          <a:prstGeom prst="rect">
            <a:avLst/>
          </a:prstGeom>
        </p:spPr>
        <p:txBody>
          <a:bodyPr anchor="ctr"/>
          <a:lstStyle>
            <a:lvl1pPr algn="ctr">
              <a:buFontTx/>
              <a:buNone/>
              <a:defRPr sz="2539"/>
            </a:lvl1pPr>
          </a:lstStyle>
          <a:p>
            <a:endParaRPr lang="x-none" dirty="0"/>
          </a:p>
        </p:txBody>
      </p:sp>
      <p:sp>
        <p:nvSpPr>
          <p:cNvPr id="16" name="Picture Placeholder 2">
            <a:extLst>
              <a:ext uri="{FF2B5EF4-FFF2-40B4-BE49-F238E27FC236}">
                <a16:creationId xmlns:a16="http://schemas.microsoft.com/office/drawing/2014/main" id="{133D6222-9800-8D43-9D80-0E2EC5A8DC6D}"/>
              </a:ext>
            </a:extLst>
          </p:cNvPr>
          <p:cNvSpPr>
            <a:spLocks noGrp="1"/>
          </p:cNvSpPr>
          <p:nvPr>
            <p:ph type="pic" sz="quarter" idx="22"/>
          </p:nvPr>
        </p:nvSpPr>
        <p:spPr>
          <a:xfrm>
            <a:off x="4229741" y="1256685"/>
            <a:ext cx="3732520" cy="5219933"/>
          </a:xfrm>
          <a:prstGeom prst="rect">
            <a:avLst/>
          </a:prstGeom>
        </p:spPr>
        <p:txBody>
          <a:bodyPr anchor="ctr"/>
          <a:lstStyle>
            <a:lvl1pPr algn="ctr">
              <a:buFontTx/>
              <a:buNone/>
              <a:defRPr sz="2539"/>
            </a:lvl1pPr>
          </a:lstStyle>
          <a:p>
            <a:endParaRPr lang="x-none" dirty="0"/>
          </a:p>
        </p:txBody>
      </p:sp>
      <p:sp>
        <p:nvSpPr>
          <p:cNvPr id="12" name="Text Placeholder 8">
            <a:extLst>
              <a:ext uri="{FF2B5EF4-FFF2-40B4-BE49-F238E27FC236}">
                <a16:creationId xmlns:a16="http://schemas.microsoft.com/office/drawing/2014/main" id="{0B784A6F-340A-2941-87C9-A4B20857D781}"/>
              </a:ext>
            </a:extLst>
          </p:cNvPr>
          <p:cNvSpPr>
            <a:spLocks noGrp="1"/>
          </p:cNvSpPr>
          <p:nvPr>
            <p:ph type="body" sz="quarter" idx="11" hasCustomPrompt="1"/>
          </p:nvPr>
        </p:nvSpPr>
        <p:spPr>
          <a:xfrm>
            <a:off x="8115122" y="1256686"/>
            <a:ext cx="3695564" cy="1029869"/>
          </a:xfrm>
          <a:prstGeom prst="rect">
            <a:avLst/>
          </a:prstGeom>
        </p:spPr>
        <p:txBody>
          <a:bodyPr/>
          <a:lstStyle>
            <a:lvl1pPr marL="0" indent="0">
              <a:buFontTx/>
              <a:buNone/>
              <a:defRPr sz="2539"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Text slide</a:t>
            </a:r>
            <a:endParaRPr lang="x-none" dirty="0"/>
          </a:p>
        </p:txBody>
      </p:sp>
      <p:sp>
        <p:nvSpPr>
          <p:cNvPr id="13" name="Text Placeholder 8">
            <a:extLst>
              <a:ext uri="{FF2B5EF4-FFF2-40B4-BE49-F238E27FC236}">
                <a16:creationId xmlns:a16="http://schemas.microsoft.com/office/drawing/2014/main" id="{2C246C5F-8780-7248-AE97-EF179949CD2B}"/>
              </a:ext>
            </a:extLst>
          </p:cNvPr>
          <p:cNvSpPr>
            <a:spLocks noGrp="1"/>
          </p:cNvSpPr>
          <p:nvPr>
            <p:ph type="body" sz="quarter" idx="27" hasCustomPrompt="1"/>
          </p:nvPr>
        </p:nvSpPr>
        <p:spPr>
          <a:xfrm>
            <a:off x="8122397" y="2483682"/>
            <a:ext cx="3695564" cy="2964750"/>
          </a:xfrm>
          <a:prstGeom prst="rect">
            <a:avLst/>
          </a:prstGeom>
        </p:spPr>
        <p:txBody>
          <a:bodyPr/>
          <a:lstStyle>
            <a:lvl1pPr marL="0" indent="0">
              <a:buFontTx/>
              <a:buNone/>
              <a:defRPr sz="1376"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Text slide</a:t>
            </a:r>
            <a:endParaRPr lang="x-none" dirty="0"/>
          </a:p>
        </p:txBody>
      </p:sp>
      <p:cxnSp>
        <p:nvCxnSpPr>
          <p:cNvPr id="14" name="Straight Connector 13">
            <a:extLst>
              <a:ext uri="{FF2B5EF4-FFF2-40B4-BE49-F238E27FC236}">
                <a16:creationId xmlns:a16="http://schemas.microsoft.com/office/drawing/2014/main" id="{65C7CCEA-8174-CC41-9238-A0D3EA01F3F5}"/>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15" name="Text Placeholder 13">
            <a:extLst>
              <a:ext uri="{FF2B5EF4-FFF2-40B4-BE49-F238E27FC236}">
                <a16:creationId xmlns:a16="http://schemas.microsoft.com/office/drawing/2014/main" id="{4845C9DD-5C7A-874F-8368-FFFC6465A620}"/>
              </a:ext>
            </a:extLst>
          </p:cNvPr>
          <p:cNvSpPr>
            <a:spLocks noGrp="1"/>
          </p:cNvSpPr>
          <p:nvPr>
            <p:ph type="body" sz="quarter" idx="14" hasCustomPrompt="1"/>
          </p:nvPr>
        </p:nvSpPr>
        <p:spPr>
          <a:xfrm>
            <a:off x="295483"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18" name="Text Placeholder 13">
            <a:extLst>
              <a:ext uri="{FF2B5EF4-FFF2-40B4-BE49-F238E27FC236}">
                <a16:creationId xmlns:a16="http://schemas.microsoft.com/office/drawing/2014/main" id="{0591D277-AA9C-EC41-A110-AE8469C88BF9}"/>
              </a:ext>
            </a:extLst>
          </p:cNvPr>
          <p:cNvSpPr>
            <a:spLocks noGrp="1"/>
          </p:cNvSpPr>
          <p:nvPr>
            <p:ph type="body" sz="quarter" idx="25" hasCustomPrompt="1"/>
          </p:nvPr>
        </p:nvSpPr>
        <p:spPr>
          <a:xfrm>
            <a:off x="10020017" y="6319800"/>
            <a:ext cx="1790667" cy="374160"/>
          </a:xfrm>
          <a:prstGeom prst="rect">
            <a:avLst/>
          </a:prstGeom>
        </p:spPr>
        <p:txBody>
          <a:bodyPr/>
          <a:lstStyle>
            <a:lvl1pPr marL="0" indent="0" algn="r">
              <a:buFontTx/>
              <a:buNone/>
              <a:defRPr sz="846"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sp>
        <p:nvSpPr>
          <p:cNvPr id="19" name="Slide Number Placeholder 1">
            <a:extLst>
              <a:ext uri="{FF2B5EF4-FFF2-40B4-BE49-F238E27FC236}">
                <a16:creationId xmlns:a16="http://schemas.microsoft.com/office/drawing/2014/main" id="{21F144B7-C152-F244-9A00-75D92A833EF2}"/>
              </a:ext>
            </a:extLst>
          </p:cNvPr>
          <p:cNvSpPr txBox="1">
            <a:spLocks/>
          </p:cNvSpPr>
          <p:nvPr userDrawn="1"/>
        </p:nvSpPr>
        <p:spPr>
          <a:xfrm>
            <a:off x="11108818" y="395811"/>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261784164"/>
      </p:ext>
    </p:extLst>
  </p:cSld>
  <p:clrMapOvr>
    <a:masterClrMapping/>
  </p:clrMapOvr>
  <p:transition>
    <p:fade/>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0_Content">
    <p:bg>
      <p:bgPr>
        <a:solidFill>
          <a:srgbClr val="FFFFFF"/>
        </a:solidFill>
        <a:effectLst/>
      </p:bgPr>
    </p:bg>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8418BD92-84AF-4747-9337-9C8E4022A63E}"/>
              </a:ext>
            </a:extLst>
          </p:cNvPr>
          <p:cNvSpPr>
            <a:spLocks noGrp="1"/>
          </p:cNvSpPr>
          <p:nvPr>
            <p:ph type="body" sz="quarter" idx="14" hasCustomPrompt="1"/>
          </p:nvPr>
        </p:nvSpPr>
        <p:spPr>
          <a:xfrm>
            <a:off x="295483"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8" name="Picture Placeholder 2">
            <a:extLst>
              <a:ext uri="{FF2B5EF4-FFF2-40B4-BE49-F238E27FC236}">
                <a16:creationId xmlns:a16="http://schemas.microsoft.com/office/drawing/2014/main" id="{A740B27C-16E1-4746-A632-115AF5F0432D}"/>
              </a:ext>
            </a:extLst>
          </p:cNvPr>
          <p:cNvSpPr>
            <a:spLocks noGrp="1"/>
          </p:cNvSpPr>
          <p:nvPr>
            <p:ph type="pic" sz="quarter" idx="21"/>
          </p:nvPr>
        </p:nvSpPr>
        <p:spPr>
          <a:xfrm>
            <a:off x="-1" y="1"/>
            <a:ext cx="12192000" cy="6858000"/>
          </a:xfrm>
          <a:prstGeom prst="rect">
            <a:avLst/>
          </a:prstGeom>
        </p:spPr>
        <p:txBody>
          <a:bodyPr anchor="ctr"/>
          <a:lstStyle>
            <a:lvl1pPr algn="ctr">
              <a:buFontTx/>
              <a:buNone/>
              <a:defRPr sz="2539"/>
            </a:lvl1pPr>
          </a:lstStyle>
          <a:p>
            <a:endParaRPr lang="x-none" dirty="0"/>
          </a:p>
        </p:txBody>
      </p:sp>
      <p:cxnSp>
        <p:nvCxnSpPr>
          <p:cNvPr id="5" name="Straight Connector 4">
            <a:extLst>
              <a:ext uri="{FF2B5EF4-FFF2-40B4-BE49-F238E27FC236}">
                <a16:creationId xmlns:a16="http://schemas.microsoft.com/office/drawing/2014/main" id="{A34E81BE-004C-EA49-818C-F9E3C32F7F47}"/>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7" name="Slide Number Placeholder 1">
            <a:extLst>
              <a:ext uri="{FF2B5EF4-FFF2-40B4-BE49-F238E27FC236}">
                <a16:creationId xmlns:a16="http://schemas.microsoft.com/office/drawing/2014/main" id="{AC15F058-CF3B-5144-9FA3-CA10DA0FBBE9}"/>
              </a:ext>
            </a:extLst>
          </p:cNvPr>
          <p:cNvSpPr txBox="1">
            <a:spLocks/>
          </p:cNvSpPr>
          <p:nvPr userDrawn="1"/>
        </p:nvSpPr>
        <p:spPr>
          <a:xfrm>
            <a:off x="11108818" y="395811"/>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ext Placeholder 13">
            <a:extLst>
              <a:ext uri="{FF2B5EF4-FFF2-40B4-BE49-F238E27FC236}">
                <a16:creationId xmlns:a16="http://schemas.microsoft.com/office/drawing/2014/main" id="{1740A59D-9C0D-5849-B026-0D997150F06C}"/>
              </a:ext>
            </a:extLst>
          </p:cNvPr>
          <p:cNvSpPr>
            <a:spLocks noGrp="1"/>
          </p:cNvSpPr>
          <p:nvPr>
            <p:ph type="body" sz="quarter" idx="25" hasCustomPrompt="1"/>
          </p:nvPr>
        </p:nvSpPr>
        <p:spPr>
          <a:xfrm>
            <a:off x="10020017" y="6319800"/>
            <a:ext cx="1790667" cy="374160"/>
          </a:xfrm>
          <a:prstGeom prst="rect">
            <a:avLst/>
          </a:prstGeom>
        </p:spPr>
        <p:txBody>
          <a:bodyPr/>
          <a:lstStyle>
            <a:lvl1pPr marL="0" indent="0" algn="r">
              <a:buFontTx/>
              <a:buNone/>
              <a:defRPr sz="846"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spTree>
    <p:extLst>
      <p:ext uri="{BB962C8B-B14F-4D97-AF65-F5344CB8AC3E}">
        <p14:creationId xmlns:p14="http://schemas.microsoft.com/office/powerpoint/2010/main" val="427922896"/>
      </p:ext>
    </p:extLst>
  </p:cSld>
  <p:clrMapOvr>
    <a:masterClrMapping/>
  </p:clrMapOvr>
  <p:transition>
    <p:fade/>
  </p:transition>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1_Content">
    <p:bg>
      <p:bgPr>
        <a:solidFill>
          <a:srgbClr val="FFFFFF"/>
        </a:solidFill>
        <a:effectLst/>
      </p:bgPr>
    </p:bg>
    <p:spTree>
      <p:nvGrpSpPr>
        <p:cNvPr id="1" name=""/>
        <p:cNvGrpSpPr/>
        <p:nvPr/>
      </p:nvGrpSpPr>
      <p:grpSpPr>
        <a:xfrm>
          <a:off x="0" y="0"/>
          <a:ext cx="0" cy="0"/>
          <a:chOff x="0" y="0"/>
          <a:chExt cx="0" cy="0"/>
        </a:xfrm>
      </p:grpSpPr>
      <p:sp>
        <p:nvSpPr>
          <p:cNvPr id="4" name="Table Placeholder 3">
            <a:extLst>
              <a:ext uri="{FF2B5EF4-FFF2-40B4-BE49-F238E27FC236}">
                <a16:creationId xmlns:a16="http://schemas.microsoft.com/office/drawing/2014/main" id="{EBDE60C4-C2B7-8C41-806E-0D5A5DEDAFCF}"/>
              </a:ext>
            </a:extLst>
          </p:cNvPr>
          <p:cNvSpPr>
            <a:spLocks noGrp="1"/>
          </p:cNvSpPr>
          <p:nvPr>
            <p:ph type="tbl" sz="quarter" idx="26" hasCustomPrompt="1"/>
          </p:nvPr>
        </p:nvSpPr>
        <p:spPr>
          <a:xfrm>
            <a:off x="381316" y="1256683"/>
            <a:ext cx="11429370" cy="4969614"/>
          </a:xfrm>
          <a:prstGeom prst="rect">
            <a:avLst/>
          </a:prstGeom>
        </p:spPr>
        <p:txBody>
          <a:bodyPr anchor="ctr"/>
          <a:lstStyle>
            <a:lvl1pPr algn="ctr">
              <a:buFontTx/>
              <a:buNone/>
              <a:defRPr sz="2539">
                <a:solidFill>
                  <a:srgbClr val="19212C"/>
                </a:solidFill>
              </a:defRPr>
            </a:lvl1pPr>
          </a:lstStyle>
          <a:p>
            <a:r>
              <a:rPr lang="en-US" dirty="0"/>
              <a:t>Table</a:t>
            </a:r>
            <a:endParaRPr lang="x-none"/>
          </a:p>
        </p:txBody>
      </p:sp>
      <p:sp>
        <p:nvSpPr>
          <p:cNvPr id="7" name="Text Placeholder 13">
            <a:extLst>
              <a:ext uri="{FF2B5EF4-FFF2-40B4-BE49-F238E27FC236}">
                <a16:creationId xmlns:a16="http://schemas.microsoft.com/office/drawing/2014/main" id="{B12095EB-C6DC-DF45-A28C-47AC62736215}"/>
              </a:ext>
            </a:extLst>
          </p:cNvPr>
          <p:cNvSpPr>
            <a:spLocks noGrp="1"/>
          </p:cNvSpPr>
          <p:nvPr>
            <p:ph type="body" sz="quarter" idx="25" hasCustomPrompt="1"/>
          </p:nvPr>
        </p:nvSpPr>
        <p:spPr>
          <a:xfrm>
            <a:off x="10020017" y="6319800"/>
            <a:ext cx="1790667" cy="374160"/>
          </a:xfrm>
          <a:prstGeom prst="rect">
            <a:avLst/>
          </a:prstGeom>
        </p:spPr>
        <p:txBody>
          <a:bodyPr/>
          <a:lstStyle>
            <a:lvl1pPr marL="0" indent="0" algn="r">
              <a:buFontTx/>
              <a:buNone/>
              <a:defRPr sz="846"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cxnSp>
        <p:nvCxnSpPr>
          <p:cNvPr id="8" name="Straight Connector 7">
            <a:extLst>
              <a:ext uri="{FF2B5EF4-FFF2-40B4-BE49-F238E27FC236}">
                <a16:creationId xmlns:a16="http://schemas.microsoft.com/office/drawing/2014/main" id="{AA17BDF6-19DC-4641-BBD7-933EA5F23B01}"/>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10" name="Text Placeholder 13">
            <a:extLst>
              <a:ext uri="{FF2B5EF4-FFF2-40B4-BE49-F238E27FC236}">
                <a16:creationId xmlns:a16="http://schemas.microsoft.com/office/drawing/2014/main" id="{5410309C-CE1A-8746-B6F9-73B9768E4F18}"/>
              </a:ext>
            </a:extLst>
          </p:cNvPr>
          <p:cNvSpPr>
            <a:spLocks noGrp="1"/>
          </p:cNvSpPr>
          <p:nvPr>
            <p:ph type="body" sz="quarter" idx="14" hasCustomPrompt="1"/>
          </p:nvPr>
        </p:nvSpPr>
        <p:spPr>
          <a:xfrm>
            <a:off x="295483"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11" name="Slide Number Placeholder 1">
            <a:extLst>
              <a:ext uri="{FF2B5EF4-FFF2-40B4-BE49-F238E27FC236}">
                <a16:creationId xmlns:a16="http://schemas.microsoft.com/office/drawing/2014/main" id="{FA7D38F3-BC5B-DA45-AF45-B017008F9BDE}"/>
              </a:ext>
            </a:extLst>
          </p:cNvPr>
          <p:cNvSpPr txBox="1">
            <a:spLocks/>
          </p:cNvSpPr>
          <p:nvPr userDrawn="1"/>
        </p:nvSpPr>
        <p:spPr>
          <a:xfrm>
            <a:off x="11108818" y="395811"/>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764256087"/>
      </p:ext>
    </p:extLst>
  </p:cSld>
  <p:clrMapOvr>
    <a:masterClrMapping/>
  </p:clrMapOvr>
  <p:transition>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2_Content">
    <p:bg>
      <p:bgPr>
        <a:solidFill>
          <a:srgbClr val="FFFFFF"/>
        </a:solidFill>
        <a:effectLst/>
      </p:bgPr>
    </p:bg>
    <p:spTree>
      <p:nvGrpSpPr>
        <p:cNvPr id="1" name=""/>
        <p:cNvGrpSpPr/>
        <p:nvPr/>
      </p:nvGrpSpPr>
      <p:grpSpPr>
        <a:xfrm>
          <a:off x="0" y="0"/>
          <a:ext cx="0" cy="0"/>
          <a:chOff x="0" y="0"/>
          <a:chExt cx="0" cy="0"/>
        </a:xfrm>
      </p:grpSpPr>
      <p:sp>
        <p:nvSpPr>
          <p:cNvPr id="3" name="Chart Placeholder 2">
            <a:extLst>
              <a:ext uri="{FF2B5EF4-FFF2-40B4-BE49-F238E27FC236}">
                <a16:creationId xmlns:a16="http://schemas.microsoft.com/office/drawing/2014/main" id="{BDA20B8B-578E-AE4B-ABDA-B36BB0CC5BA4}"/>
              </a:ext>
            </a:extLst>
          </p:cNvPr>
          <p:cNvSpPr>
            <a:spLocks noGrp="1"/>
          </p:cNvSpPr>
          <p:nvPr>
            <p:ph type="chart" sz="quarter" idx="26"/>
          </p:nvPr>
        </p:nvSpPr>
        <p:spPr>
          <a:xfrm>
            <a:off x="381316" y="1256688"/>
            <a:ext cx="11429370" cy="4969609"/>
          </a:xfrm>
          <a:prstGeom prst="rect">
            <a:avLst/>
          </a:prstGeom>
        </p:spPr>
        <p:txBody>
          <a:bodyPr anchor="ctr"/>
          <a:lstStyle>
            <a:lvl1pPr algn="ctr">
              <a:buFontTx/>
              <a:buNone/>
              <a:defRPr sz="2539">
                <a:solidFill>
                  <a:srgbClr val="7F8183"/>
                </a:solidFill>
              </a:defRPr>
            </a:lvl1pPr>
          </a:lstStyle>
          <a:p>
            <a:endParaRPr lang="x-none"/>
          </a:p>
        </p:txBody>
      </p:sp>
      <p:cxnSp>
        <p:nvCxnSpPr>
          <p:cNvPr id="7" name="Straight Connector 6">
            <a:extLst>
              <a:ext uri="{FF2B5EF4-FFF2-40B4-BE49-F238E27FC236}">
                <a16:creationId xmlns:a16="http://schemas.microsoft.com/office/drawing/2014/main" id="{99EA62CA-D0D2-094E-ABA2-DCC2F45F3120}"/>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8" name="Text Placeholder 13">
            <a:extLst>
              <a:ext uri="{FF2B5EF4-FFF2-40B4-BE49-F238E27FC236}">
                <a16:creationId xmlns:a16="http://schemas.microsoft.com/office/drawing/2014/main" id="{481870C3-E2C3-1B41-92AD-2CF0644DEA67}"/>
              </a:ext>
            </a:extLst>
          </p:cNvPr>
          <p:cNvSpPr>
            <a:spLocks noGrp="1"/>
          </p:cNvSpPr>
          <p:nvPr>
            <p:ph type="body" sz="quarter" idx="14" hasCustomPrompt="1"/>
          </p:nvPr>
        </p:nvSpPr>
        <p:spPr>
          <a:xfrm>
            <a:off x="295483"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10" name="Slide Number Placeholder 1">
            <a:extLst>
              <a:ext uri="{FF2B5EF4-FFF2-40B4-BE49-F238E27FC236}">
                <a16:creationId xmlns:a16="http://schemas.microsoft.com/office/drawing/2014/main" id="{7E135D83-F511-CC4E-9D94-E0B2E4F611E1}"/>
              </a:ext>
            </a:extLst>
          </p:cNvPr>
          <p:cNvSpPr txBox="1">
            <a:spLocks/>
          </p:cNvSpPr>
          <p:nvPr userDrawn="1"/>
        </p:nvSpPr>
        <p:spPr>
          <a:xfrm>
            <a:off x="11108818" y="395811"/>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Text Placeholder 13">
            <a:extLst>
              <a:ext uri="{FF2B5EF4-FFF2-40B4-BE49-F238E27FC236}">
                <a16:creationId xmlns:a16="http://schemas.microsoft.com/office/drawing/2014/main" id="{C64C08BD-A6CB-3142-A331-2D2C6916DE56}"/>
              </a:ext>
            </a:extLst>
          </p:cNvPr>
          <p:cNvSpPr>
            <a:spLocks noGrp="1"/>
          </p:cNvSpPr>
          <p:nvPr>
            <p:ph type="body" sz="quarter" idx="25" hasCustomPrompt="1"/>
          </p:nvPr>
        </p:nvSpPr>
        <p:spPr>
          <a:xfrm>
            <a:off x="10020017" y="6319800"/>
            <a:ext cx="1790667" cy="374160"/>
          </a:xfrm>
          <a:prstGeom prst="rect">
            <a:avLst/>
          </a:prstGeom>
        </p:spPr>
        <p:txBody>
          <a:bodyPr/>
          <a:lstStyle>
            <a:lvl1pPr marL="0" indent="0" algn="r">
              <a:buFontTx/>
              <a:buNone/>
              <a:defRPr sz="846"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spTree>
    <p:extLst>
      <p:ext uri="{BB962C8B-B14F-4D97-AF65-F5344CB8AC3E}">
        <p14:creationId xmlns:p14="http://schemas.microsoft.com/office/powerpoint/2010/main" val="2144241968"/>
      </p:ext>
    </p:extLst>
  </p:cSld>
  <p:clrMapOvr>
    <a:masterClrMapping/>
  </p:clrMapOvr>
  <p:transition>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5_Content">
    <p:bg>
      <p:bgPr>
        <a:solidFill>
          <a:srgbClr val="FFFFFF"/>
        </a:solidFill>
        <a:effectLst/>
      </p:bgPr>
    </p:bg>
    <p:spTree>
      <p:nvGrpSpPr>
        <p:cNvPr id="1" name=""/>
        <p:cNvGrpSpPr/>
        <p:nvPr/>
      </p:nvGrpSpPr>
      <p:grpSpPr>
        <a:xfrm>
          <a:off x="0" y="0"/>
          <a:ext cx="0" cy="0"/>
          <a:chOff x="0" y="0"/>
          <a:chExt cx="0" cy="0"/>
        </a:xfrm>
      </p:grpSpPr>
      <p:sp>
        <p:nvSpPr>
          <p:cNvPr id="3" name="Chart Placeholder 2">
            <a:extLst>
              <a:ext uri="{FF2B5EF4-FFF2-40B4-BE49-F238E27FC236}">
                <a16:creationId xmlns:a16="http://schemas.microsoft.com/office/drawing/2014/main" id="{BDA20B8B-578E-AE4B-ABDA-B36BB0CC5BA4}"/>
              </a:ext>
            </a:extLst>
          </p:cNvPr>
          <p:cNvSpPr>
            <a:spLocks noGrp="1"/>
          </p:cNvSpPr>
          <p:nvPr>
            <p:ph type="chart" sz="quarter" idx="26"/>
          </p:nvPr>
        </p:nvSpPr>
        <p:spPr>
          <a:xfrm>
            <a:off x="381316" y="1263961"/>
            <a:ext cx="7580944" cy="4969612"/>
          </a:xfrm>
          <a:prstGeom prst="rect">
            <a:avLst/>
          </a:prstGeom>
        </p:spPr>
        <p:txBody>
          <a:bodyPr anchor="ctr"/>
          <a:lstStyle>
            <a:lvl1pPr algn="ctr">
              <a:buFontTx/>
              <a:buNone/>
              <a:defRPr/>
            </a:lvl1pPr>
          </a:lstStyle>
          <a:p>
            <a:endParaRPr lang="x-none"/>
          </a:p>
        </p:txBody>
      </p:sp>
      <p:sp>
        <p:nvSpPr>
          <p:cNvPr id="7" name="Text Placeholder 8">
            <a:extLst>
              <a:ext uri="{FF2B5EF4-FFF2-40B4-BE49-F238E27FC236}">
                <a16:creationId xmlns:a16="http://schemas.microsoft.com/office/drawing/2014/main" id="{BEB572FF-CA06-4849-8D94-3C3994A45B70}"/>
              </a:ext>
            </a:extLst>
          </p:cNvPr>
          <p:cNvSpPr>
            <a:spLocks noGrp="1"/>
          </p:cNvSpPr>
          <p:nvPr>
            <p:ph type="body" sz="quarter" idx="11" hasCustomPrompt="1"/>
          </p:nvPr>
        </p:nvSpPr>
        <p:spPr>
          <a:xfrm>
            <a:off x="8115122" y="1278513"/>
            <a:ext cx="3695564" cy="1029869"/>
          </a:xfrm>
          <a:prstGeom prst="rect">
            <a:avLst/>
          </a:prstGeom>
        </p:spPr>
        <p:txBody>
          <a:bodyPr/>
          <a:lstStyle>
            <a:lvl1pPr marL="0" indent="0">
              <a:buFontTx/>
              <a:buNone/>
              <a:defRPr sz="2539"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Text slide</a:t>
            </a:r>
            <a:endParaRPr lang="x-none" dirty="0"/>
          </a:p>
        </p:txBody>
      </p:sp>
      <p:sp>
        <p:nvSpPr>
          <p:cNvPr id="8" name="Text Placeholder 8">
            <a:extLst>
              <a:ext uri="{FF2B5EF4-FFF2-40B4-BE49-F238E27FC236}">
                <a16:creationId xmlns:a16="http://schemas.microsoft.com/office/drawing/2014/main" id="{252C4B7C-9670-DF42-BC56-B170DECD75DC}"/>
              </a:ext>
            </a:extLst>
          </p:cNvPr>
          <p:cNvSpPr>
            <a:spLocks noGrp="1"/>
          </p:cNvSpPr>
          <p:nvPr>
            <p:ph type="body" sz="quarter" idx="27" hasCustomPrompt="1"/>
          </p:nvPr>
        </p:nvSpPr>
        <p:spPr>
          <a:xfrm>
            <a:off x="8122397" y="2477728"/>
            <a:ext cx="3695564" cy="2970700"/>
          </a:xfrm>
          <a:prstGeom prst="rect">
            <a:avLst/>
          </a:prstGeom>
        </p:spPr>
        <p:txBody>
          <a:bodyPr/>
          <a:lstStyle>
            <a:lvl1pPr marL="0" indent="0">
              <a:buFontTx/>
              <a:buNone/>
              <a:defRPr sz="1376"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Text slide</a:t>
            </a:r>
            <a:endParaRPr lang="x-none" dirty="0"/>
          </a:p>
        </p:txBody>
      </p:sp>
      <p:cxnSp>
        <p:nvCxnSpPr>
          <p:cNvPr id="10" name="Straight Connector 9">
            <a:extLst>
              <a:ext uri="{FF2B5EF4-FFF2-40B4-BE49-F238E27FC236}">
                <a16:creationId xmlns:a16="http://schemas.microsoft.com/office/drawing/2014/main" id="{E508586F-874B-374D-83C3-AE2D248221F4}"/>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11" name="Text Placeholder 13">
            <a:extLst>
              <a:ext uri="{FF2B5EF4-FFF2-40B4-BE49-F238E27FC236}">
                <a16:creationId xmlns:a16="http://schemas.microsoft.com/office/drawing/2014/main" id="{598649D2-E782-5D48-8FCD-B39D7C72EF41}"/>
              </a:ext>
            </a:extLst>
          </p:cNvPr>
          <p:cNvSpPr>
            <a:spLocks noGrp="1"/>
          </p:cNvSpPr>
          <p:nvPr>
            <p:ph type="body" sz="quarter" idx="14" hasCustomPrompt="1"/>
          </p:nvPr>
        </p:nvSpPr>
        <p:spPr>
          <a:xfrm>
            <a:off x="295483"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13" name="Slide Number Placeholder 1">
            <a:extLst>
              <a:ext uri="{FF2B5EF4-FFF2-40B4-BE49-F238E27FC236}">
                <a16:creationId xmlns:a16="http://schemas.microsoft.com/office/drawing/2014/main" id="{9C321D37-B46B-774E-8AD4-106329636C69}"/>
              </a:ext>
            </a:extLst>
          </p:cNvPr>
          <p:cNvSpPr txBox="1">
            <a:spLocks/>
          </p:cNvSpPr>
          <p:nvPr userDrawn="1"/>
        </p:nvSpPr>
        <p:spPr>
          <a:xfrm>
            <a:off x="11108818" y="395811"/>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13">
            <a:extLst>
              <a:ext uri="{FF2B5EF4-FFF2-40B4-BE49-F238E27FC236}">
                <a16:creationId xmlns:a16="http://schemas.microsoft.com/office/drawing/2014/main" id="{875E4949-D1C2-3648-90A7-64A1873880BB}"/>
              </a:ext>
            </a:extLst>
          </p:cNvPr>
          <p:cNvSpPr>
            <a:spLocks noGrp="1"/>
          </p:cNvSpPr>
          <p:nvPr>
            <p:ph type="body" sz="quarter" idx="25" hasCustomPrompt="1"/>
          </p:nvPr>
        </p:nvSpPr>
        <p:spPr>
          <a:xfrm>
            <a:off x="10020017" y="6319800"/>
            <a:ext cx="1790667" cy="374160"/>
          </a:xfrm>
          <a:prstGeom prst="rect">
            <a:avLst/>
          </a:prstGeom>
        </p:spPr>
        <p:txBody>
          <a:bodyPr/>
          <a:lstStyle>
            <a:lvl1pPr marL="0" indent="0" algn="r">
              <a:buFontTx/>
              <a:buNone/>
              <a:defRPr sz="846"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spTree>
    <p:extLst>
      <p:ext uri="{BB962C8B-B14F-4D97-AF65-F5344CB8AC3E}">
        <p14:creationId xmlns:p14="http://schemas.microsoft.com/office/powerpoint/2010/main" val="3752491353"/>
      </p:ext>
    </p:extLst>
  </p:cSld>
  <p:clrMapOvr>
    <a:masterClrMapping/>
  </p:clrMapOvr>
  <p:transition>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p:bg>
      <p:bgPr>
        <a:solidFill>
          <a:srgbClr val="FFFFFF"/>
        </a:solidFill>
        <a:effectLst/>
      </p:bgPr>
    </p:bg>
    <p:spTree>
      <p:nvGrpSpPr>
        <p:cNvPr id="1" name=""/>
        <p:cNvGrpSpPr/>
        <p:nvPr/>
      </p:nvGrpSpPr>
      <p:grpSpPr>
        <a:xfrm>
          <a:off x="0" y="0"/>
          <a:ext cx="0" cy="0"/>
          <a:chOff x="0" y="0"/>
          <a:chExt cx="0" cy="0"/>
        </a:xfrm>
      </p:grpSpPr>
      <p:sp>
        <p:nvSpPr>
          <p:cNvPr id="16" name="Text Placeholder 10">
            <a:extLst>
              <a:ext uri="{FF2B5EF4-FFF2-40B4-BE49-F238E27FC236}">
                <a16:creationId xmlns:a16="http://schemas.microsoft.com/office/drawing/2014/main" id="{474A4320-3C1A-114D-AA60-FA85EE7C2760}"/>
              </a:ext>
            </a:extLst>
          </p:cNvPr>
          <p:cNvSpPr>
            <a:spLocks noGrp="1"/>
          </p:cNvSpPr>
          <p:nvPr>
            <p:ph type="body" sz="quarter" idx="14" hasCustomPrompt="1"/>
          </p:nvPr>
        </p:nvSpPr>
        <p:spPr>
          <a:xfrm>
            <a:off x="6106115" y="5885456"/>
            <a:ext cx="2110853" cy="898016"/>
          </a:xfrm>
          <a:prstGeom prst="rect">
            <a:avLst/>
          </a:prstGeom>
        </p:spPr>
        <p:txBody>
          <a:bodyPr lIns="180000" rIns="180000" anchor="t"/>
          <a:lstStyle>
            <a:lvl1pPr marL="0" indent="0" algn="l">
              <a:lnSpc>
                <a:spcPct val="100000"/>
              </a:lnSpc>
              <a:buFontTx/>
              <a:buNone/>
              <a:defRPr sz="1058"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r>
              <a:rPr lang="en-US" dirty="0" err="1"/>
              <a:t>Facebook.com</a:t>
            </a:r>
            <a:r>
              <a:rPr lang="en-US" dirty="0"/>
              <a:t>/</a:t>
            </a:r>
            <a:r>
              <a:rPr lang="en-US" dirty="0" err="1"/>
              <a:t>omk.ru</a:t>
            </a:r>
            <a:endParaRPr lang="en-US" dirty="0"/>
          </a:p>
          <a:p>
            <a:pPr lvl="0"/>
            <a:r>
              <a:rPr lang="en-US" dirty="0"/>
              <a:t>@</a:t>
            </a:r>
            <a:r>
              <a:rPr lang="en-US" dirty="0" err="1"/>
              <a:t>instagram.com</a:t>
            </a:r>
            <a:r>
              <a:rPr lang="en-US" dirty="0"/>
              <a:t>/</a:t>
            </a:r>
            <a:r>
              <a:rPr lang="en-US" dirty="0" err="1"/>
              <a:t>oml.ru</a:t>
            </a:r>
            <a:endParaRPr lang="en-US" dirty="0"/>
          </a:p>
          <a:p>
            <a:pPr lvl="0"/>
            <a:r>
              <a:rPr lang="en-US" dirty="0"/>
              <a:t>@</a:t>
            </a:r>
            <a:r>
              <a:rPr lang="en-US" dirty="0" err="1"/>
              <a:t>vk.com</a:t>
            </a:r>
            <a:r>
              <a:rPr lang="en-US" dirty="0"/>
              <a:t>/</a:t>
            </a:r>
            <a:r>
              <a:rPr lang="en-US" dirty="0" err="1"/>
              <a:t>omk_official</a:t>
            </a:r>
            <a:endParaRPr lang="x-none" dirty="0"/>
          </a:p>
        </p:txBody>
      </p:sp>
      <p:sp>
        <p:nvSpPr>
          <p:cNvPr id="21" name="Text Placeholder 8">
            <a:extLst>
              <a:ext uri="{FF2B5EF4-FFF2-40B4-BE49-F238E27FC236}">
                <a16:creationId xmlns:a16="http://schemas.microsoft.com/office/drawing/2014/main" id="{8082DBEF-CBAD-B54A-A0D6-2705122AF9D8}"/>
              </a:ext>
            </a:extLst>
          </p:cNvPr>
          <p:cNvSpPr>
            <a:spLocks noGrp="1"/>
          </p:cNvSpPr>
          <p:nvPr>
            <p:ph type="body" sz="quarter" idx="15" hasCustomPrompt="1"/>
          </p:nvPr>
        </p:nvSpPr>
        <p:spPr>
          <a:xfrm>
            <a:off x="2215722" y="2332100"/>
            <a:ext cx="8082431" cy="1174967"/>
          </a:xfrm>
          <a:prstGeom prst="rect">
            <a:avLst/>
          </a:prstGeom>
        </p:spPr>
        <p:txBody>
          <a:bodyPr anchor="b"/>
          <a:lstStyle>
            <a:lvl1pPr marL="0" indent="0">
              <a:buFontTx/>
              <a:buNone/>
              <a:defRPr sz="359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Спасибо за внимание!</a:t>
            </a:r>
            <a:endParaRPr lang="x-none" dirty="0"/>
          </a:p>
        </p:txBody>
      </p:sp>
      <p:sp>
        <p:nvSpPr>
          <p:cNvPr id="2" name="TextBox 1">
            <a:extLst>
              <a:ext uri="{FF2B5EF4-FFF2-40B4-BE49-F238E27FC236}">
                <a16:creationId xmlns:a16="http://schemas.microsoft.com/office/drawing/2014/main" id="{3B44C52D-F828-E147-91DD-C0937F7A31CE}"/>
              </a:ext>
            </a:extLst>
          </p:cNvPr>
          <p:cNvSpPr txBox="1"/>
          <p:nvPr userDrawn="1"/>
        </p:nvSpPr>
        <p:spPr>
          <a:xfrm>
            <a:off x="2236373" y="5774789"/>
            <a:ext cx="886882" cy="825034"/>
          </a:xfrm>
          <a:prstGeom prst="rect">
            <a:avLst/>
          </a:prstGeom>
          <a:noFill/>
        </p:spPr>
        <p:txBody>
          <a:bodyPr wrap="square" rtlCol="0">
            <a:spAutoFit/>
          </a:bodyPr>
          <a:lstStyle/>
          <a:p>
            <a:pPr>
              <a:lnSpc>
                <a:spcPct val="150000"/>
              </a:lnSpc>
            </a:pPr>
            <a:r>
              <a:rPr lang="ru-RU" sz="1058" kern="1200" dirty="0">
                <a:solidFill>
                  <a:srgbClr val="E41910"/>
                </a:solidFill>
                <a:effectLst/>
                <a:latin typeface="+mn-lt"/>
                <a:ea typeface="+mn-ea"/>
                <a:cs typeface="+mn-cs"/>
              </a:rPr>
              <a:t>Телефон</a:t>
            </a:r>
          </a:p>
          <a:p>
            <a:pPr>
              <a:lnSpc>
                <a:spcPct val="150000"/>
              </a:lnSpc>
            </a:pPr>
            <a:r>
              <a:rPr lang="ru-RU" sz="1058" kern="1200" dirty="0">
                <a:solidFill>
                  <a:srgbClr val="E41910"/>
                </a:solidFill>
                <a:effectLst/>
                <a:latin typeface="+mn-lt"/>
                <a:ea typeface="+mn-ea"/>
                <a:cs typeface="+mn-cs"/>
              </a:rPr>
              <a:t>Почта</a:t>
            </a:r>
          </a:p>
          <a:p>
            <a:pPr>
              <a:lnSpc>
                <a:spcPct val="150000"/>
              </a:lnSpc>
            </a:pPr>
            <a:r>
              <a:rPr lang="ru-RU" sz="1058" kern="1200" dirty="0">
                <a:solidFill>
                  <a:srgbClr val="E41910"/>
                </a:solidFill>
                <a:effectLst/>
                <a:latin typeface="+mn-lt"/>
                <a:ea typeface="+mn-ea"/>
                <a:cs typeface="+mn-cs"/>
              </a:rPr>
              <a:t>Сайт</a:t>
            </a:r>
          </a:p>
        </p:txBody>
      </p:sp>
      <p:sp>
        <p:nvSpPr>
          <p:cNvPr id="24" name="TextBox 23">
            <a:extLst>
              <a:ext uri="{FF2B5EF4-FFF2-40B4-BE49-F238E27FC236}">
                <a16:creationId xmlns:a16="http://schemas.microsoft.com/office/drawing/2014/main" id="{3F26B54D-F66A-C344-AD13-EBD8F068DB36}"/>
              </a:ext>
            </a:extLst>
          </p:cNvPr>
          <p:cNvSpPr txBox="1"/>
          <p:nvPr userDrawn="1"/>
        </p:nvSpPr>
        <p:spPr>
          <a:xfrm>
            <a:off x="5107760" y="5832997"/>
            <a:ext cx="1153134" cy="336567"/>
          </a:xfrm>
          <a:prstGeom prst="rect">
            <a:avLst/>
          </a:prstGeom>
          <a:noFill/>
        </p:spPr>
        <p:txBody>
          <a:bodyPr wrap="square" rtlCol="0">
            <a:spAutoFit/>
          </a:bodyPr>
          <a:lstStyle/>
          <a:p>
            <a:pPr>
              <a:lnSpc>
                <a:spcPct val="150000"/>
              </a:lnSpc>
            </a:pPr>
            <a:r>
              <a:rPr lang="ru-RU" sz="1058" kern="1200" dirty="0">
                <a:solidFill>
                  <a:srgbClr val="E41910"/>
                </a:solidFill>
                <a:effectLst/>
                <a:latin typeface="+mn-lt"/>
                <a:ea typeface="+mn-ea"/>
                <a:cs typeface="+mn-cs"/>
              </a:rPr>
              <a:t>Подписаться</a:t>
            </a:r>
          </a:p>
        </p:txBody>
      </p:sp>
      <p:sp>
        <p:nvSpPr>
          <p:cNvPr id="25" name="Text Placeholder 10">
            <a:extLst>
              <a:ext uri="{FF2B5EF4-FFF2-40B4-BE49-F238E27FC236}">
                <a16:creationId xmlns:a16="http://schemas.microsoft.com/office/drawing/2014/main" id="{7A8121F5-98F3-AC40-97DF-13F1C657C0FC}"/>
              </a:ext>
            </a:extLst>
          </p:cNvPr>
          <p:cNvSpPr>
            <a:spLocks noGrp="1"/>
          </p:cNvSpPr>
          <p:nvPr>
            <p:ph type="body" sz="quarter" idx="16" hasCustomPrompt="1"/>
          </p:nvPr>
        </p:nvSpPr>
        <p:spPr>
          <a:xfrm>
            <a:off x="8216969" y="5885457"/>
            <a:ext cx="3603376" cy="932454"/>
          </a:xfrm>
          <a:prstGeom prst="rect">
            <a:avLst/>
          </a:prstGeom>
        </p:spPr>
        <p:txBody>
          <a:bodyPr lIns="180000" rIns="180000" anchor="t"/>
          <a:lstStyle>
            <a:lvl1pPr marL="0" indent="0" algn="l">
              <a:lnSpc>
                <a:spcPct val="100000"/>
              </a:lnSpc>
              <a:buFontTx/>
              <a:buNone/>
              <a:defRPr sz="1058"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r>
              <a:rPr lang="en-US" dirty="0" err="1"/>
              <a:t>twitter.com</a:t>
            </a:r>
            <a:r>
              <a:rPr lang="en-US" dirty="0"/>
              <a:t>/</a:t>
            </a:r>
            <a:r>
              <a:rPr lang="en-US" dirty="0" err="1"/>
              <a:t>omkru</a:t>
            </a:r>
            <a:endParaRPr lang="en-US" dirty="0"/>
          </a:p>
          <a:p>
            <a:pPr lvl="0"/>
            <a:r>
              <a:rPr lang="en-US" dirty="0" err="1"/>
              <a:t>youtube.com</a:t>
            </a:r>
            <a:r>
              <a:rPr lang="en-US" dirty="0"/>
              <a:t>/user/</a:t>
            </a:r>
            <a:r>
              <a:rPr lang="en-US" dirty="0" err="1"/>
              <a:t>OMKPipeCompany</a:t>
            </a:r>
            <a:endParaRPr lang="x-none" dirty="0"/>
          </a:p>
        </p:txBody>
      </p:sp>
      <p:grpSp>
        <p:nvGrpSpPr>
          <p:cNvPr id="15" name="Graphic 2">
            <a:extLst>
              <a:ext uri="{FF2B5EF4-FFF2-40B4-BE49-F238E27FC236}">
                <a16:creationId xmlns:a16="http://schemas.microsoft.com/office/drawing/2014/main" id="{40F11E44-1AF8-A041-B789-CADF7AA9753D}"/>
              </a:ext>
            </a:extLst>
          </p:cNvPr>
          <p:cNvGrpSpPr/>
          <p:nvPr userDrawn="1"/>
        </p:nvGrpSpPr>
        <p:grpSpPr>
          <a:xfrm>
            <a:off x="365006" y="2462731"/>
            <a:ext cx="838222" cy="890667"/>
            <a:chOff x="4522787" y="1925637"/>
            <a:chExt cx="2472690" cy="2627001"/>
          </a:xfrm>
        </p:grpSpPr>
        <p:sp>
          <p:nvSpPr>
            <p:cNvPr id="17" name="Freeform 16">
              <a:extLst>
                <a:ext uri="{FF2B5EF4-FFF2-40B4-BE49-F238E27FC236}">
                  <a16:creationId xmlns:a16="http://schemas.microsoft.com/office/drawing/2014/main" id="{76D2B971-C16C-8F4A-B71D-1FCAFEF220DB}"/>
                </a:ext>
              </a:extLst>
            </p:cNvPr>
            <p:cNvSpPr/>
            <p:nvPr/>
          </p:nvSpPr>
          <p:spPr>
            <a:xfrm>
              <a:off x="4522787" y="1925637"/>
              <a:ext cx="2472690" cy="1641876"/>
            </a:xfrm>
            <a:custGeom>
              <a:avLst/>
              <a:gdLst>
                <a:gd name="connsiteX0" fmla="*/ 700088 w 2472690"/>
                <a:gd name="connsiteY0" fmla="*/ 820938 h 1641876"/>
                <a:gd name="connsiteX1" fmla="*/ 1235393 w 2472690"/>
                <a:gd name="connsiteY1" fmla="*/ 287566 h 1641876"/>
                <a:gd name="connsiteX2" fmla="*/ 1497330 w 2472690"/>
                <a:gd name="connsiteY2" fmla="*/ 355898 h 1641876"/>
                <a:gd name="connsiteX3" fmla="*/ 1497330 w 2472690"/>
                <a:gd name="connsiteY3" fmla="*/ 0 h 1641876"/>
                <a:gd name="connsiteX4" fmla="*/ 0 w 2472690"/>
                <a:gd name="connsiteY4" fmla="*/ 647260 h 1641876"/>
                <a:gd name="connsiteX5" fmla="*/ 0 w 2472690"/>
                <a:gd name="connsiteY5" fmla="*/ 1641876 h 1641876"/>
                <a:gd name="connsiteX6" fmla="*/ 914400 w 2472690"/>
                <a:gd name="connsiteY6" fmla="*/ 1247067 h 1641876"/>
                <a:gd name="connsiteX7" fmla="*/ 700088 w 2472690"/>
                <a:gd name="connsiteY7" fmla="*/ 820938 h 1641876"/>
                <a:gd name="connsiteX8" fmla="*/ 1558290 w 2472690"/>
                <a:gd name="connsiteY8" fmla="*/ 394810 h 1641876"/>
                <a:gd name="connsiteX9" fmla="*/ 1771650 w 2472690"/>
                <a:gd name="connsiteY9" fmla="*/ 820938 h 1641876"/>
                <a:gd name="connsiteX10" fmla="*/ 1236345 w 2472690"/>
                <a:gd name="connsiteY10" fmla="*/ 1354311 h 1641876"/>
                <a:gd name="connsiteX11" fmla="*/ 974408 w 2472690"/>
                <a:gd name="connsiteY11" fmla="*/ 1285978 h 1641876"/>
                <a:gd name="connsiteX12" fmla="*/ 974408 w 2472690"/>
                <a:gd name="connsiteY12" fmla="*/ 1641876 h 1641876"/>
                <a:gd name="connsiteX13" fmla="*/ 2472690 w 2472690"/>
                <a:gd name="connsiteY13" fmla="*/ 994616 h 1641876"/>
                <a:gd name="connsiteX14" fmla="*/ 2472690 w 2472690"/>
                <a:gd name="connsiteY14" fmla="*/ 0 h 1641876"/>
                <a:gd name="connsiteX15" fmla="*/ 1558290 w 2472690"/>
                <a:gd name="connsiteY15" fmla="*/ 394810 h 164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72690" h="1641876">
                  <a:moveTo>
                    <a:pt x="700088" y="820938"/>
                  </a:moveTo>
                  <a:cubicBezTo>
                    <a:pt x="700088" y="525780"/>
                    <a:pt x="940118" y="287566"/>
                    <a:pt x="1235393" y="287566"/>
                  </a:cubicBezTo>
                  <a:cubicBezTo>
                    <a:pt x="1330643" y="287566"/>
                    <a:pt x="1420178" y="312241"/>
                    <a:pt x="1497330" y="355898"/>
                  </a:cubicBezTo>
                  <a:lnTo>
                    <a:pt x="1497330" y="0"/>
                  </a:lnTo>
                  <a:lnTo>
                    <a:pt x="0" y="647260"/>
                  </a:lnTo>
                  <a:lnTo>
                    <a:pt x="0" y="1641876"/>
                  </a:lnTo>
                  <a:lnTo>
                    <a:pt x="914400" y="1247067"/>
                  </a:lnTo>
                  <a:cubicBezTo>
                    <a:pt x="784860" y="1150262"/>
                    <a:pt x="700088" y="995565"/>
                    <a:pt x="700088" y="820938"/>
                  </a:cubicBezTo>
                  <a:close/>
                  <a:moveTo>
                    <a:pt x="1558290" y="394810"/>
                  </a:moveTo>
                  <a:cubicBezTo>
                    <a:pt x="1687830" y="491614"/>
                    <a:pt x="1771650" y="647260"/>
                    <a:pt x="1771650" y="820938"/>
                  </a:cubicBezTo>
                  <a:cubicBezTo>
                    <a:pt x="1771650" y="1116096"/>
                    <a:pt x="1531620" y="1354311"/>
                    <a:pt x="1236345" y="1354311"/>
                  </a:cubicBezTo>
                  <a:cubicBezTo>
                    <a:pt x="1141095" y="1354311"/>
                    <a:pt x="1051560" y="1329635"/>
                    <a:pt x="974408" y="1285978"/>
                  </a:cubicBezTo>
                  <a:lnTo>
                    <a:pt x="974408" y="1641876"/>
                  </a:lnTo>
                  <a:lnTo>
                    <a:pt x="2472690" y="994616"/>
                  </a:lnTo>
                  <a:lnTo>
                    <a:pt x="2472690" y="0"/>
                  </a:lnTo>
                  <a:lnTo>
                    <a:pt x="1558290" y="394810"/>
                  </a:lnTo>
                  <a:close/>
                </a:path>
              </a:pathLst>
            </a:custGeom>
            <a:solidFill>
              <a:srgbClr val="7F8183"/>
            </a:solidFill>
            <a:ln w="9525" cap="flat">
              <a:noFill/>
              <a:prstDash val="solid"/>
              <a:miter/>
            </a:ln>
          </p:spPr>
          <p:txBody>
            <a:bodyPr rtlCol="0" anchor="ctr"/>
            <a:lstStyle/>
            <a:p>
              <a:endParaRPr lang="x-none" sz="1905"/>
            </a:p>
          </p:txBody>
        </p:sp>
        <p:sp>
          <p:nvSpPr>
            <p:cNvPr id="18" name="Freeform 17">
              <a:extLst>
                <a:ext uri="{FF2B5EF4-FFF2-40B4-BE49-F238E27FC236}">
                  <a16:creationId xmlns:a16="http://schemas.microsoft.com/office/drawing/2014/main" id="{B9B177FA-B9C4-0348-9234-14014F48B60B}"/>
                </a:ext>
              </a:extLst>
            </p:cNvPr>
            <p:cNvSpPr/>
            <p:nvPr/>
          </p:nvSpPr>
          <p:spPr>
            <a:xfrm>
              <a:off x="5470524" y="2459009"/>
              <a:ext cx="577215" cy="575131"/>
            </a:xfrm>
            <a:custGeom>
              <a:avLst/>
              <a:gdLst>
                <a:gd name="connsiteX0" fmla="*/ 577215 w 577215"/>
                <a:gd name="connsiteY0" fmla="*/ 287566 h 575131"/>
                <a:gd name="connsiteX1" fmla="*/ 288608 w 577215"/>
                <a:gd name="connsiteY1" fmla="*/ 575131 h 575131"/>
                <a:gd name="connsiteX2" fmla="*/ 0 w 577215"/>
                <a:gd name="connsiteY2" fmla="*/ 287566 h 575131"/>
                <a:gd name="connsiteX3" fmla="*/ 288608 w 577215"/>
                <a:gd name="connsiteY3" fmla="*/ 0 h 575131"/>
                <a:gd name="connsiteX4" fmla="*/ 577215 w 577215"/>
                <a:gd name="connsiteY4" fmla="*/ 287566 h 57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15" h="575131">
                  <a:moveTo>
                    <a:pt x="577215" y="287566"/>
                  </a:moveTo>
                  <a:cubicBezTo>
                    <a:pt x="577215" y="446059"/>
                    <a:pt x="447675" y="575131"/>
                    <a:pt x="288608" y="575131"/>
                  </a:cubicBezTo>
                  <a:cubicBezTo>
                    <a:pt x="129540" y="575131"/>
                    <a:pt x="0" y="446059"/>
                    <a:pt x="0" y="287566"/>
                  </a:cubicBezTo>
                  <a:cubicBezTo>
                    <a:pt x="0" y="129072"/>
                    <a:pt x="129540" y="0"/>
                    <a:pt x="288608" y="0"/>
                  </a:cubicBezTo>
                  <a:cubicBezTo>
                    <a:pt x="447675" y="0"/>
                    <a:pt x="577215" y="129072"/>
                    <a:pt x="577215" y="287566"/>
                  </a:cubicBezTo>
                  <a:close/>
                </a:path>
              </a:pathLst>
            </a:custGeom>
            <a:solidFill>
              <a:srgbClr val="E72B2B"/>
            </a:solidFill>
            <a:ln w="9525" cap="flat">
              <a:noFill/>
              <a:prstDash val="solid"/>
              <a:miter/>
            </a:ln>
          </p:spPr>
          <p:txBody>
            <a:bodyPr rtlCol="0" anchor="ctr"/>
            <a:lstStyle/>
            <a:p>
              <a:endParaRPr lang="x-none" sz="1905"/>
            </a:p>
          </p:txBody>
        </p:sp>
        <p:sp>
          <p:nvSpPr>
            <p:cNvPr id="19" name="Freeform 18">
              <a:extLst>
                <a:ext uri="{FF2B5EF4-FFF2-40B4-BE49-F238E27FC236}">
                  <a16:creationId xmlns:a16="http://schemas.microsoft.com/office/drawing/2014/main" id="{1CE2FDDC-7DE1-8441-9AD1-C61F46339ECA}"/>
                </a:ext>
              </a:extLst>
            </p:cNvPr>
            <p:cNvSpPr/>
            <p:nvPr/>
          </p:nvSpPr>
          <p:spPr>
            <a:xfrm>
              <a:off x="4522787" y="3863620"/>
              <a:ext cx="2472690" cy="689018"/>
            </a:xfrm>
            <a:custGeom>
              <a:avLst/>
              <a:gdLst>
                <a:gd name="connsiteX0" fmla="*/ 345758 w 2472690"/>
                <a:gd name="connsiteY0" fmla="*/ 0 h 689018"/>
                <a:gd name="connsiteX1" fmla="*/ 0 w 2472690"/>
                <a:gd name="connsiteY1" fmla="*/ 344509 h 689018"/>
                <a:gd name="connsiteX2" fmla="*/ 345758 w 2472690"/>
                <a:gd name="connsiteY2" fmla="*/ 689019 h 689018"/>
                <a:gd name="connsiteX3" fmla="*/ 691515 w 2472690"/>
                <a:gd name="connsiteY3" fmla="*/ 344509 h 689018"/>
                <a:gd name="connsiteX4" fmla="*/ 345758 w 2472690"/>
                <a:gd name="connsiteY4" fmla="*/ 0 h 689018"/>
                <a:gd name="connsiteX5" fmla="*/ 345758 w 2472690"/>
                <a:gd name="connsiteY5" fmla="*/ 525780 h 689018"/>
                <a:gd name="connsiteX6" fmla="*/ 164783 w 2472690"/>
                <a:gd name="connsiteY6" fmla="*/ 345458 h 689018"/>
                <a:gd name="connsiteX7" fmla="*/ 345758 w 2472690"/>
                <a:gd name="connsiteY7" fmla="*/ 165137 h 689018"/>
                <a:gd name="connsiteX8" fmla="*/ 526733 w 2472690"/>
                <a:gd name="connsiteY8" fmla="*/ 345458 h 689018"/>
                <a:gd name="connsiteX9" fmla="*/ 345758 w 2472690"/>
                <a:gd name="connsiteY9" fmla="*/ 525780 h 689018"/>
                <a:gd name="connsiteX10" fmla="*/ 1253490 w 2472690"/>
                <a:gd name="connsiteY10" fmla="*/ 284718 h 689018"/>
                <a:gd name="connsiteX11" fmla="*/ 1063943 w 2472690"/>
                <a:gd name="connsiteY11" fmla="*/ 17083 h 689018"/>
                <a:gd name="connsiteX12" fmla="*/ 899160 w 2472690"/>
                <a:gd name="connsiteY12" fmla="*/ 17083 h 689018"/>
                <a:gd name="connsiteX13" fmla="*/ 899160 w 2472690"/>
                <a:gd name="connsiteY13" fmla="*/ 673834 h 689018"/>
                <a:gd name="connsiteX14" fmla="*/ 1063943 w 2472690"/>
                <a:gd name="connsiteY14" fmla="*/ 673834 h 689018"/>
                <a:gd name="connsiteX15" fmla="*/ 1063943 w 2472690"/>
                <a:gd name="connsiteY15" fmla="*/ 301802 h 689018"/>
                <a:gd name="connsiteX16" fmla="*/ 1152525 w 2472690"/>
                <a:gd name="connsiteY16" fmla="*/ 427078 h 689018"/>
                <a:gd name="connsiteX17" fmla="*/ 1253490 w 2472690"/>
                <a:gd name="connsiteY17" fmla="*/ 569437 h 689018"/>
                <a:gd name="connsiteX18" fmla="*/ 1354455 w 2472690"/>
                <a:gd name="connsiteY18" fmla="*/ 427078 h 689018"/>
                <a:gd name="connsiteX19" fmla="*/ 1443038 w 2472690"/>
                <a:gd name="connsiteY19" fmla="*/ 301802 h 689018"/>
                <a:gd name="connsiteX20" fmla="*/ 1443038 w 2472690"/>
                <a:gd name="connsiteY20" fmla="*/ 673834 h 689018"/>
                <a:gd name="connsiteX21" fmla="*/ 1607820 w 2472690"/>
                <a:gd name="connsiteY21" fmla="*/ 673834 h 689018"/>
                <a:gd name="connsiteX22" fmla="*/ 1607820 w 2472690"/>
                <a:gd name="connsiteY22" fmla="*/ 17083 h 689018"/>
                <a:gd name="connsiteX23" fmla="*/ 1443038 w 2472690"/>
                <a:gd name="connsiteY23" fmla="*/ 17083 h 689018"/>
                <a:gd name="connsiteX24" fmla="*/ 1253490 w 2472690"/>
                <a:gd name="connsiteY24" fmla="*/ 284718 h 689018"/>
                <a:gd name="connsiteX25" fmla="*/ 2472690 w 2472690"/>
                <a:gd name="connsiteY25" fmla="*/ 18032 h 689018"/>
                <a:gd name="connsiteX26" fmla="*/ 2270760 w 2472690"/>
                <a:gd name="connsiteY26" fmla="*/ 18032 h 689018"/>
                <a:gd name="connsiteX27" fmla="*/ 2037398 w 2472690"/>
                <a:gd name="connsiteY27" fmla="*/ 336917 h 689018"/>
                <a:gd name="connsiteX28" fmla="*/ 2037398 w 2472690"/>
                <a:gd name="connsiteY28" fmla="*/ 18032 h 689018"/>
                <a:gd name="connsiteX29" fmla="*/ 1872615 w 2472690"/>
                <a:gd name="connsiteY29" fmla="*/ 18032 h 689018"/>
                <a:gd name="connsiteX30" fmla="*/ 1872615 w 2472690"/>
                <a:gd name="connsiteY30" fmla="*/ 674783 h 689018"/>
                <a:gd name="connsiteX31" fmla="*/ 2037398 w 2472690"/>
                <a:gd name="connsiteY31" fmla="*/ 674783 h 689018"/>
                <a:gd name="connsiteX32" fmla="*/ 2037398 w 2472690"/>
                <a:gd name="connsiteY32" fmla="*/ 354000 h 689018"/>
                <a:gd name="connsiteX33" fmla="*/ 2270760 w 2472690"/>
                <a:gd name="connsiteY33" fmla="*/ 674783 h 689018"/>
                <a:gd name="connsiteX34" fmla="*/ 2472690 w 2472690"/>
                <a:gd name="connsiteY34" fmla="*/ 674783 h 689018"/>
                <a:gd name="connsiteX35" fmla="*/ 2231708 w 2472690"/>
                <a:gd name="connsiteY35" fmla="*/ 346407 h 689018"/>
                <a:gd name="connsiteX36" fmla="*/ 2472690 w 2472690"/>
                <a:gd name="connsiteY36" fmla="*/ 18032 h 68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72690" h="689018">
                  <a:moveTo>
                    <a:pt x="345758" y="0"/>
                  </a:moveTo>
                  <a:cubicBezTo>
                    <a:pt x="155258" y="0"/>
                    <a:pt x="0" y="154697"/>
                    <a:pt x="0" y="344509"/>
                  </a:cubicBezTo>
                  <a:cubicBezTo>
                    <a:pt x="0" y="535271"/>
                    <a:pt x="155258" y="689019"/>
                    <a:pt x="345758" y="689019"/>
                  </a:cubicBezTo>
                  <a:cubicBezTo>
                    <a:pt x="537210" y="689019"/>
                    <a:pt x="691515" y="534322"/>
                    <a:pt x="691515" y="344509"/>
                  </a:cubicBezTo>
                  <a:cubicBezTo>
                    <a:pt x="692468" y="154697"/>
                    <a:pt x="537210" y="0"/>
                    <a:pt x="345758" y="0"/>
                  </a:cubicBezTo>
                  <a:close/>
                  <a:moveTo>
                    <a:pt x="345758" y="525780"/>
                  </a:moveTo>
                  <a:cubicBezTo>
                    <a:pt x="245745" y="525780"/>
                    <a:pt x="164783" y="445110"/>
                    <a:pt x="164783" y="345458"/>
                  </a:cubicBezTo>
                  <a:cubicBezTo>
                    <a:pt x="164783" y="245807"/>
                    <a:pt x="245745" y="165137"/>
                    <a:pt x="345758" y="165137"/>
                  </a:cubicBezTo>
                  <a:cubicBezTo>
                    <a:pt x="445770" y="165137"/>
                    <a:pt x="526733" y="245807"/>
                    <a:pt x="526733" y="345458"/>
                  </a:cubicBezTo>
                  <a:cubicBezTo>
                    <a:pt x="527685" y="444161"/>
                    <a:pt x="445770" y="525780"/>
                    <a:pt x="345758" y="525780"/>
                  </a:cubicBezTo>
                  <a:close/>
                  <a:moveTo>
                    <a:pt x="1253490" y="284718"/>
                  </a:moveTo>
                  <a:lnTo>
                    <a:pt x="1063943" y="17083"/>
                  </a:lnTo>
                  <a:lnTo>
                    <a:pt x="899160" y="17083"/>
                  </a:lnTo>
                  <a:lnTo>
                    <a:pt x="899160" y="673834"/>
                  </a:lnTo>
                  <a:lnTo>
                    <a:pt x="1063943" y="673834"/>
                  </a:lnTo>
                  <a:lnTo>
                    <a:pt x="1063943" y="301802"/>
                  </a:lnTo>
                  <a:lnTo>
                    <a:pt x="1152525" y="427078"/>
                  </a:lnTo>
                  <a:lnTo>
                    <a:pt x="1253490" y="569437"/>
                  </a:lnTo>
                  <a:lnTo>
                    <a:pt x="1354455" y="427078"/>
                  </a:lnTo>
                  <a:lnTo>
                    <a:pt x="1443038" y="301802"/>
                  </a:lnTo>
                  <a:lnTo>
                    <a:pt x="1443038" y="673834"/>
                  </a:lnTo>
                  <a:lnTo>
                    <a:pt x="1607820" y="673834"/>
                  </a:lnTo>
                  <a:lnTo>
                    <a:pt x="1607820" y="17083"/>
                  </a:lnTo>
                  <a:lnTo>
                    <a:pt x="1443038" y="17083"/>
                  </a:lnTo>
                  <a:lnTo>
                    <a:pt x="1253490" y="284718"/>
                  </a:lnTo>
                  <a:close/>
                  <a:moveTo>
                    <a:pt x="2472690" y="18032"/>
                  </a:moveTo>
                  <a:lnTo>
                    <a:pt x="2270760" y="18032"/>
                  </a:lnTo>
                  <a:lnTo>
                    <a:pt x="2037398" y="336917"/>
                  </a:lnTo>
                  <a:lnTo>
                    <a:pt x="2037398" y="18032"/>
                  </a:lnTo>
                  <a:lnTo>
                    <a:pt x="1872615" y="18032"/>
                  </a:lnTo>
                  <a:lnTo>
                    <a:pt x="1872615" y="674783"/>
                  </a:lnTo>
                  <a:lnTo>
                    <a:pt x="2037398" y="674783"/>
                  </a:lnTo>
                  <a:lnTo>
                    <a:pt x="2037398" y="354000"/>
                  </a:lnTo>
                  <a:lnTo>
                    <a:pt x="2270760" y="674783"/>
                  </a:lnTo>
                  <a:lnTo>
                    <a:pt x="2472690" y="674783"/>
                  </a:lnTo>
                  <a:lnTo>
                    <a:pt x="2231708" y="346407"/>
                  </a:lnTo>
                  <a:lnTo>
                    <a:pt x="2472690" y="18032"/>
                  </a:lnTo>
                  <a:close/>
                </a:path>
              </a:pathLst>
            </a:custGeom>
            <a:solidFill>
              <a:srgbClr val="7F8183"/>
            </a:solidFill>
            <a:ln w="9525" cap="flat">
              <a:noFill/>
              <a:prstDash val="solid"/>
              <a:miter/>
            </a:ln>
          </p:spPr>
          <p:txBody>
            <a:bodyPr rtlCol="0" anchor="ctr"/>
            <a:lstStyle/>
            <a:p>
              <a:endParaRPr lang="x-none" sz="1905"/>
            </a:p>
          </p:txBody>
        </p:sp>
      </p:grpSp>
      <p:grpSp>
        <p:nvGrpSpPr>
          <p:cNvPr id="22" name="Graphic 13">
            <a:extLst>
              <a:ext uri="{FF2B5EF4-FFF2-40B4-BE49-F238E27FC236}">
                <a16:creationId xmlns:a16="http://schemas.microsoft.com/office/drawing/2014/main" id="{AA443365-44DD-6049-B8C1-DC81D1B11A4E}"/>
              </a:ext>
            </a:extLst>
          </p:cNvPr>
          <p:cNvGrpSpPr/>
          <p:nvPr userDrawn="1"/>
        </p:nvGrpSpPr>
        <p:grpSpPr>
          <a:xfrm>
            <a:off x="340916" y="5763381"/>
            <a:ext cx="886399" cy="762739"/>
            <a:chOff x="1237542" y="5445861"/>
            <a:chExt cx="837693" cy="720718"/>
          </a:xfrm>
        </p:grpSpPr>
        <p:grpSp>
          <p:nvGrpSpPr>
            <p:cNvPr id="23" name="Graphic 13">
              <a:extLst>
                <a:ext uri="{FF2B5EF4-FFF2-40B4-BE49-F238E27FC236}">
                  <a16:creationId xmlns:a16="http://schemas.microsoft.com/office/drawing/2014/main" id="{5FBEBAB4-8198-0149-BC9E-EA85E807390A}"/>
                </a:ext>
              </a:extLst>
            </p:cNvPr>
            <p:cNvGrpSpPr/>
            <p:nvPr/>
          </p:nvGrpSpPr>
          <p:grpSpPr>
            <a:xfrm>
              <a:off x="1264054" y="5786435"/>
              <a:ext cx="327743" cy="106553"/>
              <a:chOff x="1264054" y="5786435"/>
              <a:chExt cx="327743" cy="106553"/>
            </a:xfrm>
            <a:solidFill>
              <a:srgbClr val="CFD4D9"/>
            </a:solidFill>
          </p:grpSpPr>
          <p:sp>
            <p:nvSpPr>
              <p:cNvPr id="55" name="Freeform 54">
                <a:extLst>
                  <a:ext uri="{FF2B5EF4-FFF2-40B4-BE49-F238E27FC236}">
                    <a16:creationId xmlns:a16="http://schemas.microsoft.com/office/drawing/2014/main" id="{53F6BECB-5E13-9A47-908B-D8DDA9F616AF}"/>
                  </a:ext>
                </a:extLst>
              </p:cNvPr>
              <p:cNvSpPr/>
              <p:nvPr/>
            </p:nvSpPr>
            <p:spPr>
              <a:xfrm>
                <a:off x="1264054" y="5786435"/>
                <a:ext cx="72205" cy="84225"/>
              </a:xfrm>
              <a:custGeom>
                <a:avLst/>
                <a:gdLst>
                  <a:gd name="connsiteX0" fmla="*/ 38077 w 72205"/>
                  <a:gd name="connsiteY0" fmla="*/ 74898 h 84225"/>
                  <a:gd name="connsiteX1" fmla="*/ 55000 w 72205"/>
                  <a:gd name="connsiteY1" fmla="*/ 69811 h 84225"/>
                  <a:gd name="connsiteX2" fmla="*/ 62615 w 72205"/>
                  <a:gd name="connsiteY2" fmla="*/ 55962 h 84225"/>
                  <a:gd name="connsiteX3" fmla="*/ 72205 w 72205"/>
                  <a:gd name="connsiteY3" fmla="*/ 57657 h 84225"/>
                  <a:gd name="connsiteX4" fmla="*/ 60923 w 72205"/>
                  <a:gd name="connsiteY4" fmla="*/ 77442 h 84225"/>
                  <a:gd name="connsiteX5" fmla="*/ 37795 w 72205"/>
                  <a:gd name="connsiteY5" fmla="*/ 84225 h 84225"/>
                  <a:gd name="connsiteX6" fmla="*/ 10154 w 72205"/>
                  <a:gd name="connsiteY6" fmla="*/ 72920 h 84225"/>
                  <a:gd name="connsiteX7" fmla="*/ 0 w 72205"/>
                  <a:gd name="connsiteY7" fmla="*/ 42113 h 84225"/>
                  <a:gd name="connsiteX8" fmla="*/ 2821 w 72205"/>
                  <a:gd name="connsiteY8" fmla="*/ 24307 h 84225"/>
                  <a:gd name="connsiteX9" fmla="*/ 10436 w 72205"/>
                  <a:gd name="connsiteY9" fmla="*/ 11023 h 84225"/>
                  <a:gd name="connsiteX10" fmla="*/ 22282 w 72205"/>
                  <a:gd name="connsiteY10" fmla="*/ 2826 h 84225"/>
                  <a:gd name="connsiteX11" fmla="*/ 37795 w 72205"/>
                  <a:gd name="connsiteY11" fmla="*/ 0 h 84225"/>
                  <a:gd name="connsiteX12" fmla="*/ 60923 w 72205"/>
                  <a:gd name="connsiteY12" fmla="*/ 6783 h 84225"/>
                  <a:gd name="connsiteX13" fmla="*/ 71923 w 72205"/>
                  <a:gd name="connsiteY13" fmla="*/ 26568 h 84225"/>
                  <a:gd name="connsiteX14" fmla="*/ 62333 w 72205"/>
                  <a:gd name="connsiteY14" fmla="*/ 28263 h 84225"/>
                  <a:gd name="connsiteX15" fmla="*/ 54718 w 72205"/>
                  <a:gd name="connsiteY15" fmla="*/ 14697 h 84225"/>
                  <a:gd name="connsiteX16" fmla="*/ 37795 w 72205"/>
                  <a:gd name="connsiteY16" fmla="*/ 9327 h 84225"/>
                  <a:gd name="connsiteX17" fmla="*/ 25667 w 72205"/>
                  <a:gd name="connsiteY17" fmla="*/ 11871 h 84225"/>
                  <a:gd name="connsiteX18" fmla="*/ 16923 w 72205"/>
                  <a:gd name="connsiteY18" fmla="*/ 18654 h 84225"/>
                  <a:gd name="connsiteX19" fmla="*/ 11564 w 72205"/>
                  <a:gd name="connsiteY19" fmla="*/ 29111 h 84225"/>
                  <a:gd name="connsiteX20" fmla="*/ 9872 w 72205"/>
                  <a:gd name="connsiteY20" fmla="*/ 42678 h 84225"/>
                  <a:gd name="connsiteX21" fmla="*/ 17205 w 72205"/>
                  <a:gd name="connsiteY21" fmla="*/ 66419 h 84225"/>
                  <a:gd name="connsiteX22" fmla="*/ 38077 w 72205"/>
                  <a:gd name="connsiteY22" fmla="*/ 74898 h 8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2205" h="84225">
                    <a:moveTo>
                      <a:pt x="38077" y="74898"/>
                    </a:moveTo>
                    <a:cubicBezTo>
                      <a:pt x="45410" y="74898"/>
                      <a:pt x="51051" y="73202"/>
                      <a:pt x="55000" y="69811"/>
                    </a:cubicBezTo>
                    <a:cubicBezTo>
                      <a:pt x="58949" y="66419"/>
                      <a:pt x="61487" y="61897"/>
                      <a:pt x="62615" y="55962"/>
                    </a:cubicBezTo>
                    <a:lnTo>
                      <a:pt x="72205" y="57657"/>
                    </a:lnTo>
                    <a:cubicBezTo>
                      <a:pt x="70795" y="66136"/>
                      <a:pt x="66846" y="72920"/>
                      <a:pt x="60923" y="77442"/>
                    </a:cubicBezTo>
                    <a:cubicBezTo>
                      <a:pt x="55000" y="81964"/>
                      <a:pt x="47385" y="84225"/>
                      <a:pt x="37795" y="84225"/>
                    </a:cubicBezTo>
                    <a:cubicBezTo>
                      <a:pt x="26231" y="84225"/>
                      <a:pt x="16923" y="80551"/>
                      <a:pt x="10154" y="72920"/>
                    </a:cubicBezTo>
                    <a:cubicBezTo>
                      <a:pt x="3385" y="65289"/>
                      <a:pt x="0" y="55114"/>
                      <a:pt x="0" y="42113"/>
                    </a:cubicBezTo>
                    <a:cubicBezTo>
                      <a:pt x="0" y="35329"/>
                      <a:pt x="846" y="29394"/>
                      <a:pt x="2821" y="24307"/>
                    </a:cubicBezTo>
                    <a:cubicBezTo>
                      <a:pt x="4513" y="18937"/>
                      <a:pt x="7333" y="14697"/>
                      <a:pt x="10436" y="11023"/>
                    </a:cubicBezTo>
                    <a:cubicBezTo>
                      <a:pt x="13821" y="7348"/>
                      <a:pt x="17769" y="4522"/>
                      <a:pt x="22282" y="2826"/>
                    </a:cubicBezTo>
                    <a:cubicBezTo>
                      <a:pt x="27077" y="848"/>
                      <a:pt x="32154" y="0"/>
                      <a:pt x="37795" y="0"/>
                    </a:cubicBezTo>
                    <a:cubicBezTo>
                      <a:pt x="47385" y="0"/>
                      <a:pt x="55000" y="2261"/>
                      <a:pt x="60923" y="6783"/>
                    </a:cubicBezTo>
                    <a:cubicBezTo>
                      <a:pt x="66846" y="11305"/>
                      <a:pt x="70513" y="18089"/>
                      <a:pt x="71923" y="26568"/>
                    </a:cubicBezTo>
                    <a:lnTo>
                      <a:pt x="62333" y="28263"/>
                    </a:lnTo>
                    <a:cubicBezTo>
                      <a:pt x="61205" y="22893"/>
                      <a:pt x="58667" y="18371"/>
                      <a:pt x="54718" y="14697"/>
                    </a:cubicBezTo>
                    <a:cubicBezTo>
                      <a:pt x="50769" y="11023"/>
                      <a:pt x="45128" y="9327"/>
                      <a:pt x="37795" y="9327"/>
                    </a:cubicBezTo>
                    <a:cubicBezTo>
                      <a:pt x="33282" y="9327"/>
                      <a:pt x="29333" y="10175"/>
                      <a:pt x="25667" y="11871"/>
                    </a:cubicBezTo>
                    <a:cubicBezTo>
                      <a:pt x="22282" y="13566"/>
                      <a:pt x="19180" y="15828"/>
                      <a:pt x="16923" y="18654"/>
                    </a:cubicBezTo>
                    <a:cubicBezTo>
                      <a:pt x="14667" y="21480"/>
                      <a:pt x="12974" y="24872"/>
                      <a:pt x="11564" y="29111"/>
                    </a:cubicBezTo>
                    <a:cubicBezTo>
                      <a:pt x="10436" y="33068"/>
                      <a:pt x="9872" y="37590"/>
                      <a:pt x="9872" y="42678"/>
                    </a:cubicBezTo>
                    <a:cubicBezTo>
                      <a:pt x="9872" y="52570"/>
                      <a:pt x="12410" y="60484"/>
                      <a:pt x="17205" y="66419"/>
                    </a:cubicBezTo>
                    <a:cubicBezTo>
                      <a:pt x="22282" y="72072"/>
                      <a:pt x="29051" y="74898"/>
                      <a:pt x="38077" y="74898"/>
                    </a:cubicBezTo>
                  </a:path>
                </a:pathLst>
              </a:custGeom>
              <a:solidFill>
                <a:srgbClr val="7F8183"/>
              </a:solidFill>
              <a:ln w="2790" cap="flat">
                <a:noFill/>
                <a:prstDash val="solid"/>
                <a:miter/>
              </a:ln>
            </p:spPr>
            <p:txBody>
              <a:bodyPr rtlCol="0" anchor="ctr"/>
              <a:lstStyle/>
              <a:p>
                <a:endParaRPr lang="x-none" sz="1905"/>
              </a:p>
            </p:txBody>
          </p:sp>
          <p:sp>
            <p:nvSpPr>
              <p:cNvPr id="56" name="Freeform 55">
                <a:extLst>
                  <a:ext uri="{FF2B5EF4-FFF2-40B4-BE49-F238E27FC236}">
                    <a16:creationId xmlns:a16="http://schemas.microsoft.com/office/drawing/2014/main" id="{951EE360-1C01-BB42-9A9C-1A019F76AA81}"/>
                  </a:ext>
                </a:extLst>
              </p:cNvPr>
              <p:cNvSpPr/>
              <p:nvPr/>
            </p:nvSpPr>
            <p:spPr>
              <a:xfrm>
                <a:off x="1347542" y="5811024"/>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769" y="49461"/>
                      <a:pt x="22000"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764"/>
                      <a:pt x="0" y="29959"/>
                    </a:cubicBezTo>
                    <a:cubicBezTo>
                      <a:pt x="0" y="20350"/>
                      <a:pt x="2538" y="13001"/>
                      <a:pt x="7615" y="7914"/>
                    </a:cubicBezTo>
                    <a:cubicBezTo>
                      <a:pt x="12692" y="2826"/>
                      <a:pt x="19180" y="0"/>
                      <a:pt x="27359" y="0"/>
                    </a:cubicBezTo>
                    <a:cubicBezTo>
                      <a:pt x="35256" y="0"/>
                      <a:pt x="41744" y="2544"/>
                      <a:pt x="46539" y="7914"/>
                    </a:cubicBezTo>
                    <a:cubicBezTo>
                      <a:pt x="51333" y="13001"/>
                      <a:pt x="53872" y="20350"/>
                      <a:pt x="53872" y="29959"/>
                    </a:cubicBezTo>
                    <a:cubicBezTo>
                      <a:pt x="53872" y="39286"/>
                      <a:pt x="51333" y="46635"/>
                      <a:pt x="46539" y="52005"/>
                    </a:cubicBezTo>
                    <a:cubicBezTo>
                      <a:pt x="41744" y="57092"/>
                      <a:pt x="35538" y="59919"/>
                      <a:pt x="27359" y="59919"/>
                    </a:cubicBezTo>
                  </a:path>
                </a:pathLst>
              </a:custGeom>
              <a:solidFill>
                <a:srgbClr val="7F8183"/>
              </a:solidFill>
              <a:ln w="2790" cap="flat">
                <a:noFill/>
                <a:prstDash val="solid"/>
                <a:miter/>
              </a:ln>
            </p:spPr>
            <p:txBody>
              <a:bodyPr rtlCol="0" anchor="ctr"/>
              <a:lstStyle/>
              <a:p>
                <a:endParaRPr lang="x-none" sz="1905"/>
              </a:p>
            </p:txBody>
          </p:sp>
          <p:sp>
            <p:nvSpPr>
              <p:cNvPr id="57" name="Freeform 56">
                <a:extLst>
                  <a:ext uri="{FF2B5EF4-FFF2-40B4-BE49-F238E27FC236}">
                    <a16:creationId xmlns:a16="http://schemas.microsoft.com/office/drawing/2014/main" id="{16F6205D-01CB-4245-AF73-08FBC725C314}"/>
                  </a:ext>
                </a:extLst>
              </p:cNvPr>
              <p:cNvSpPr/>
              <p:nvPr/>
            </p:nvSpPr>
            <p:spPr>
              <a:xfrm>
                <a:off x="1416080" y="5812155"/>
                <a:ext cx="45410" cy="57657"/>
              </a:xfrm>
              <a:custGeom>
                <a:avLst/>
                <a:gdLst>
                  <a:gd name="connsiteX0" fmla="*/ 26231 w 45410"/>
                  <a:gd name="connsiteY0" fmla="*/ 32220 h 57657"/>
                  <a:gd name="connsiteX1" fmla="*/ 9308 w 45410"/>
                  <a:gd name="connsiteY1" fmla="*/ 32220 h 57657"/>
                  <a:gd name="connsiteX2" fmla="*/ 9308 w 45410"/>
                  <a:gd name="connsiteY2" fmla="*/ 49178 h 57657"/>
                  <a:gd name="connsiteX3" fmla="*/ 26231 w 45410"/>
                  <a:gd name="connsiteY3" fmla="*/ 49178 h 57657"/>
                  <a:gd name="connsiteX4" fmla="*/ 34128 w 45410"/>
                  <a:gd name="connsiteY4" fmla="*/ 46917 h 57657"/>
                  <a:gd name="connsiteX5" fmla="*/ 36385 w 45410"/>
                  <a:gd name="connsiteY5" fmla="*/ 40699 h 57657"/>
                  <a:gd name="connsiteX6" fmla="*/ 33846 w 45410"/>
                  <a:gd name="connsiteY6" fmla="*/ 34199 h 57657"/>
                  <a:gd name="connsiteX7" fmla="*/ 26231 w 45410"/>
                  <a:gd name="connsiteY7" fmla="*/ 32220 h 57657"/>
                  <a:gd name="connsiteX8" fmla="*/ 24538 w 45410"/>
                  <a:gd name="connsiteY8" fmla="*/ 8196 h 57657"/>
                  <a:gd name="connsiteX9" fmla="*/ 9308 w 45410"/>
                  <a:gd name="connsiteY9" fmla="*/ 8196 h 57657"/>
                  <a:gd name="connsiteX10" fmla="*/ 9308 w 45410"/>
                  <a:gd name="connsiteY10" fmla="*/ 24307 h 57657"/>
                  <a:gd name="connsiteX11" fmla="*/ 25385 w 45410"/>
                  <a:gd name="connsiteY11" fmla="*/ 24307 h 57657"/>
                  <a:gd name="connsiteX12" fmla="*/ 32436 w 45410"/>
                  <a:gd name="connsiteY12" fmla="*/ 22328 h 57657"/>
                  <a:gd name="connsiteX13" fmla="*/ 34692 w 45410"/>
                  <a:gd name="connsiteY13" fmla="*/ 16110 h 57657"/>
                  <a:gd name="connsiteX14" fmla="*/ 32436 w 45410"/>
                  <a:gd name="connsiteY14" fmla="*/ 9892 h 57657"/>
                  <a:gd name="connsiteX15" fmla="*/ 24538 w 45410"/>
                  <a:gd name="connsiteY15" fmla="*/ 8196 h 57657"/>
                  <a:gd name="connsiteX16" fmla="*/ 0 w 45410"/>
                  <a:gd name="connsiteY16" fmla="*/ 57375 h 57657"/>
                  <a:gd name="connsiteX17" fmla="*/ 0 w 45410"/>
                  <a:gd name="connsiteY17" fmla="*/ 0 h 57657"/>
                  <a:gd name="connsiteX18" fmla="*/ 24538 w 45410"/>
                  <a:gd name="connsiteY18" fmla="*/ 0 h 57657"/>
                  <a:gd name="connsiteX19" fmla="*/ 38923 w 45410"/>
                  <a:gd name="connsiteY19" fmla="*/ 3957 h 57657"/>
                  <a:gd name="connsiteX20" fmla="*/ 44000 w 45410"/>
                  <a:gd name="connsiteY20" fmla="*/ 15545 h 57657"/>
                  <a:gd name="connsiteX21" fmla="*/ 42308 w 45410"/>
                  <a:gd name="connsiteY21" fmla="*/ 22328 h 57657"/>
                  <a:gd name="connsiteX22" fmla="*/ 35821 w 45410"/>
                  <a:gd name="connsiteY22" fmla="*/ 27698 h 57657"/>
                  <a:gd name="connsiteX23" fmla="*/ 43154 w 45410"/>
                  <a:gd name="connsiteY23" fmla="*/ 32786 h 57657"/>
                  <a:gd name="connsiteX24" fmla="*/ 45410 w 45410"/>
                  <a:gd name="connsiteY24" fmla="*/ 41265 h 57657"/>
                  <a:gd name="connsiteX25" fmla="*/ 40897 w 45410"/>
                  <a:gd name="connsiteY25" fmla="*/ 53135 h 57657"/>
                  <a:gd name="connsiteX26" fmla="*/ 26231 w 45410"/>
                  <a:gd name="connsiteY26" fmla="*/ 57657 h 57657"/>
                  <a:gd name="connsiteX27" fmla="*/ 0 w 45410"/>
                  <a:gd name="connsiteY27" fmla="*/ 57657 h 5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5410" h="57657">
                    <a:moveTo>
                      <a:pt x="26231" y="32220"/>
                    </a:moveTo>
                    <a:lnTo>
                      <a:pt x="9308" y="32220"/>
                    </a:lnTo>
                    <a:lnTo>
                      <a:pt x="9308" y="49178"/>
                    </a:lnTo>
                    <a:lnTo>
                      <a:pt x="26231" y="49178"/>
                    </a:lnTo>
                    <a:cubicBezTo>
                      <a:pt x="29897" y="49178"/>
                      <a:pt x="32436" y="48330"/>
                      <a:pt x="34128" y="46917"/>
                    </a:cubicBezTo>
                    <a:cubicBezTo>
                      <a:pt x="35538" y="45504"/>
                      <a:pt x="36385" y="43526"/>
                      <a:pt x="36385" y="40699"/>
                    </a:cubicBezTo>
                    <a:cubicBezTo>
                      <a:pt x="36385" y="37590"/>
                      <a:pt x="35538" y="35612"/>
                      <a:pt x="33846" y="34199"/>
                    </a:cubicBezTo>
                    <a:cubicBezTo>
                      <a:pt x="32436" y="33068"/>
                      <a:pt x="29897" y="32220"/>
                      <a:pt x="26231" y="32220"/>
                    </a:cubicBezTo>
                    <a:moveTo>
                      <a:pt x="24538" y="8196"/>
                    </a:moveTo>
                    <a:lnTo>
                      <a:pt x="9308" y="8196"/>
                    </a:lnTo>
                    <a:lnTo>
                      <a:pt x="9308" y="24307"/>
                    </a:lnTo>
                    <a:lnTo>
                      <a:pt x="25385" y="24307"/>
                    </a:lnTo>
                    <a:cubicBezTo>
                      <a:pt x="28487" y="24307"/>
                      <a:pt x="31026" y="23741"/>
                      <a:pt x="32436" y="22328"/>
                    </a:cubicBezTo>
                    <a:cubicBezTo>
                      <a:pt x="34128" y="20915"/>
                      <a:pt x="34692" y="18937"/>
                      <a:pt x="34692" y="16110"/>
                    </a:cubicBezTo>
                    <a:cubicBezTo>
                      <a:pt x="34692" y="13284"/>
                      <a:pt x="33846" y="11305"/>
                      <a:pt x="32436" y="9892"/>
                    </a:cubicBezTo>
                    <a:cubicBezTo>
                      <a:pt x="31308" y="9044"/>
                      <a:pt x="28487" y="8196"/>
                      <a:pt x="24538" y="8196"/>
                    </a:cubicBezTo>
                    <a:moveTo>
                      <a:pt x="0" y="57375"/>
                    </a:moveTo>
                    <a:lnTo>
                      <a:pt x="0" y="0"/>
                    </a:lnTo>
                    <a:lnTo>
                      <a:pt x="24538" y="0"/>
                    </a:lnTo>
                    <a:cubicBezTo>
                      <a:pt x="30744" y="0"/>
                      <a:pt x="35538" y="1413"/>
                      <a:pt x="38923" y="3957"/>
                    </a:cubicBezTo>
                    <a:cubicBezTo>
                      <a:pt x="42308" y="6501"/>
                      <a:pt x="44000" y="10457"/>
                      <a:pt x="44000" y="15545"/>
                    </a:cubicBezTo>
                    <a:cubicBezTo>
                      <a:pt x="44000" y="17806"/>
                      <a:pt x="43436" y="20067"/>
                      <a:pt x="42308" y="22328"/>
                    </a:cubicBezTo>
                    <a:cubicBezTo>
                      <a:pt x="41180" y="24589"/>
                      <a:pt x="39205" y="26568"/>
                      <a:pt x="35821" y="27698"/>
                    </a:cubicBezTo>
                    <a:cubicBezTo>
                      <a:pt x="39205" y="28829"/>
                      <a:pt x="41744" y="30524"/>
                      <a:pt x="43154" y="32786"/>
                    </a:cubicBezTo>
                    <a:cubicBezTo>
                      <a:pt x="44564" y="35047"/>
                      <a:pt x="45410" y="37873"/>
                      <a:pt x="45410" y="41265"/>
                    </a:cubicBezTo>
                    <a:cubicBezTo>
                      <a:pt x="45410" y="46069"/>
                      <a:pt x="44000" y="50026"/>
                      <a:pt x="40897" y="53135"/>
                    </a:cubicBezTo>
                    <a:cubicBezTo>
                      <a:pt x="37795" y="55962"/>
                      <a:pt x="33000" y="57657"/>
                      <a:pt x="26231" y="57657"/>
                    </a:cubicBezTo>
                    <a:lnTo>
                      <a:pt x="0" y="57657"/>
                    </a:lnTo>
                    <a:close/>
                  </a:path>
                </a:pathLst>
              </a:custGeom>
              <a:solidFill>
                <a:srgbClr val="7F8183"/>
              </a:solidFill>
              <a:ln w="2790" cap="flat">
                <a:noFill/>
                <a:prstDash val="solid"/>
                <a:miter/>
              </a:ln>
            </p:spPr>
            <p:txBody>
              <a:bodyPr rtlCol="0" anchor="ctr"/>
              <a:lstStyle/>
              <a:p>
                <a:endParaRPr lang="x-none" sz="1905"/>
              </a:p>
            </p:txBody>
          </p:sp>
          <p:sp>
            <p:nvSpPr>
              <p:cNvPr id="58" name="Freeform 57">
                <a:extLst>
                  <a:ext uri="{FF2B5EF4-FFF2-40B4-BE49-F238E27FC236}">
                    <a16:creationId xmlns:a16="http://schemas.microsoft.com/office/drawing/2014/main" id="{73E37A58-7A04-3D4C-B1C2-8DE0C7DC770C}"/>
                  </a:ext>
                </a:extLst>
              </p:cNvPr>
              <p:cNvSpPr/>
              <p:nvPr/>
            </p:nvSpPr>
            <p:spPr>
              <a:xfrm>
                <a:off x="1472208" y="5811307"/>
                <a:ext cx="51333" cy="59635"/>
              </a:xfrm>
              <a:custGeom>
                <a:avLst/>
                <a:gdLst>
                  <a:gd name="connsiteX0" fmla="*/ 26795 w 51333"/>
                  <a:gd name="connsiteY0" fmla="*/ 7914 h 59635"/>
                  <a:gd name="connsiteX1" fmla="*/ 15795 w 51333"/>
                  <a:gd name="connsiteY1" fmla="*/ 12153 h 59635"/>
                  <a:gd name="connsiteX2" fmla="*/ 10154 w 51333"/>
                  <a:gd name="connsiteY2" fmla="*/ 23176 h 59635"/>
                  <a:gd name="connsiteX3" fmla="*/ 42308 w 51333"/>
                  <a:gd name="connsiteY3" fmla="*/ 23176 h 59635"/>
                  <a:gd name="connsiteX4" fmla="*/ 38359 w 51333"/>
                  <a:gd name="connsiteY4" fmla="*/ 12153 h 59635"/>
                  <a:gd name="connsiteX5" fmla="*/ 26795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8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795" y="7914"/>
                    </a:moveTo>
                    <a:cubicBezTo>
                      <a:pt x="22282" y="7914"/>
                      <a:pt x="18615" y="9327"/>
                      <a:pt x="15795" y="12153"/>
                    </a:cubicBezTo>
                    <a:cubicBezTo>
                      <a:pt x="12692" y="14980"/>
                      <a:pt x="11000" y="18654"/>
                      <a:pt x="10154" y="23176"/>
                    </a:cubicBezTo>
                    <a:lnTo>
                      <a:pt x="42308" y="23176"/>
                    </a:lnTo>
                    <a:cubicBezTo>
                      <a:pt x="42026" y="18654"/>
                      <a:pt x="40615" y="14980"/>
                      <a:pt x="38359" y="12153"/>
                    </a:cubicBezTo>
                    <a:cubicBezTo>
                      <a:pt x="35256" y="9327"/>
                      <a:pt x="31590" y="7914"/>
                      <a:pt x="26795"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8"/>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59" name="Freeform 58">
                <a:extLst>
                  <a:ext uri="{FF2B5EF4-FFF2-40B4-BE49-F238E27FC236}">
                    <a16:creationId xmlns:a16="http://schemas.microsoft.com/office/drawing/2014/main" id="{A5FB3A17-DE30-EC46-85FD-34B2B2EB33B8}"/>
                  </a:ext>
                </a:extLst>
              </p:cNvPr>
              <p:cNvSpPr/>
              <p:nvPr/>
            </p:nvSpPr>
            <p:spPr>
              <a:xfrm>
                <a:off x="1537644" y="5810742"/>
                <a:ext cx="54153" cy="82246"/>
              </a:xfrm>
              <a:custGeom>
                <a:avLst/>
                <a:gdLst>
                  <a:gd name="connsiteX0" fmla="*/ 9590 w 54153"/>
                  <a:gd name="connsiteY0" fmla="*/ 34764 h 82246"/>
                  <a:gd name="connsiteX1" fmla="*/ 14949 w 54153"/>
                  <a:gd name="connsiteY1" fmla="*/ 46917 h 82246"/>
                  <a:gd name="connsiteX2" fmla="*/ 27641 w 54153"/>
                  <a:gd name="connsiteY2" fmla="*/ 51439 h 82246"/>
                  <a:gd name="connsiteX3" fmla="*/ 40051 w 54153"/>
                  <a:gd name="connsiteY3" fmla="*/ 45504 h 82246"/>
                  <a:gd name="connsiteX4" fmla="*/ 44564 w 54153"/>
                  <a:gd name="connsiteY4" fmla="*/ 29677 h 82246"/>
                  <a:gd name="connsiteX5" fmla="*/ 40051 w 54153"/>
                  <a:gd name="connsiteY5" fmla="*/ 14414 h 82246"/>
                  <a:gd name="connsiteX6" fmla="*/ 27359 w 54153"/>
                  <a:gd name="connsiteY6" fmla="*/ 8479 h 82246"/>
                  <a:gd name="connsiteX7" fmla="*/ 20872 w 54153"/>
                  <a:gd name="connsiteY7" fmla="*/ 9610 h 82246"/>
                  <a:gd name="connsiteX8" fmla="*/ 15231 w 54153"/>
                  <a:gd name="connsiteY8" fmla="*/ 13284 h 82246"/>
                  <a:gd name="connsiteX9" fmla="*/ 11282 w 54153"/>
                  <a:gd name="connsiteY9" fmla="*/ 19219 h 82246"/>
                  <a:gd name="connsiteX10" fmla="*/ 9872 w 54153"/>
                  <a:gd name="connsiteY10" fmla="*/ 27416 h 82246"/>
                  <a:gd name="connsiteX11" fmla="*/ 9872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590" y="34764"/>
                    </a:moveTo>
                    <a:cubicBezTo>
                      <a:pt x="9590" y="40134"/>
                      <a:pt x="11282" y="44091"/>
                      <a:pt x="14949" y="46917"/>
                    </a:cubicBezTo>
                    <a:cubicBezTo>
                      <a:pt x="18615" y="49744"/>
                      <a:pt x="22846" y="51439"/>
                      <a:pt x="27641" y="51439"/>
                    </a:cubicBezTo>
                    <a:cubicBezTo>
                      <a:pt x="33000" y="51439"/>
                      <a:pt x="36949" y="49461"/>
                      <a:pt x="40051" y="45504"/>
                    </a:cubicBezTo>
                    <a:cubicBezTo>
                      <a:pt x="43154" y="41547"/>
                      <a:pt x="44564" y="36460"/>
                      <a:pt x="44564" y="29677"/>
                    </a:cubicBezTo>
                    <a:cubicBezTo>
                      <a:pt x="44564" y="23459"/>
                      <a:pt x="43154" y="18371"/>
                      <a:pt x="40051" y="14414"/>
                    </a:cubicBezTo>
                    <a:cubicBezTo>
                      <a:pt x="36949" y="10457"/>
                      <a:pt x="32718" y="8479"/>
                      <a:pt x="27359" y="8479"/>
                    </a:cubicBezTo>
                    <a:cubicBezTo>
                      <a:pt x="25103" y="8479"/>
                      <a:pt x="22846" y="8762"/>
                      <a:pt x="20872" y="9610"/>
                    </a:cubicBezTo>
                    <a:cubicBezTo>
                      <a:pt x="18897" y="10457"/>
                      <a:pt x="16923" y="11588"/>
                      <a:pt x="15231" y="13284"/>
                    </a:cubicBezTo>
                    <a:cubicBezTo>
                      <a:pt x="13538" y="14980"/>
                      <a:pt x="12128" y="16958"/>
                      <a:pt x="11282" y="19219"/>
                    </a:cubicBezTo>
                    <a:cubicBezTo>
                      <a:pt x="10154" y="21763"/>
                      <a:pt x="9872" y="24307"/>
                      <a:pt x="9872" y="27416"/>
                    </a:cubicBezTo>
                    <a:lnTo>
                      <a:pt x="9872" y="34764"/>
                    </a:lnTo>
                    <a:close/>
                    <a:moveTo>
                      <a:pt x="0" y="82247"/>
                    </a:moveTo>
                    <a:lnTo>
                      <a:pt x="0" y="1413"/>
                    </a:lnTo>
                    <a:lnTo>
                      <a:pt x="9590" y="1413"/>
                    </a:lnTo>
                    <a:lnTo>
                      <a:pt x="9590" y="9044"/>
                    </a:lnTo>
                    <a:cubicBezTo>
                      <a:pt x="11564" y="6218"/>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grpSp>
        <p:sp>
          <p:nvSpPr>
            <p:cNvPr id="26" name="Freeform 25">
              <a:extLst>
                <a:ext uri="{FF2B5EF4-FFF2-40B4-BE49-F238E27FC236}">
                  <a16:creationId xmlns:a16="http://schemas.microsoft.com/office/drawing/2014/main" id="{8A57EE60-CECA-0745-A9C4-EE0F6B57CD75}"/>
                </a:ext>
              </a:extLst>
            </p:cNvPr>
            <p:cNvSpPr/>
            <p:nvPr/>
          </p:nvSpPr>
          <p:spPr>
            <a:xfrm>
              <a:off x="1606183" y="5812155"/>
              <a:ext cx="75307" cy="57374"/>
            </a:xfrm>
            <a:custGeom>
              <a:avLst/>
              <a:gdLst>
                <a:gd name="connsiteX0" fmla="*/ 75308 w 75307"/>
                <a:gd name="connsiteY0" fmla="*/ 0 h 57374"/>
                <a:gd name="connsiteX1" fmla="*/ 75308 w 75307"/>
                <a:gd name="connsiteY1" fmla="*/ 57375 h 57374"/>
                <a:gd name="connsiteX2" fmla="*/ 0 w 75307"/>
                <a:gd name="connsiteY2" fmla="*/ 57375 h 57374"/>
                <a:gd name="connsiteX3" fmla="*/ 0 w 75307"/>
                <a:gd name="connsiteY3" fmla="*/ 0 h 57374"/>
                <a:gd name="connsiteX4" fmla="*/ 9590 w 75307"/>
                <a:gd name="connsiteY4" fmla="*/ 0 h 57374"/>
                <a:gd name="connsiteX5" fmla="*/ 9590 w 75307"/>
                <a:gd name="connsiteY5" fmla="*/ 48613 h 57374"/>
                <a:gd name="connsiteX6" fmla="*/ 33000 w 75307"/>
                <a:gd name="connsiteY6" fmla="*/ 48613 h 57374"/>
                <a:gd name="connsiteX7" fmla="*/ 33000 w 75307"/>
                <a:gd name="connsiteY7" fmla="*/ 0 h 57374"/>
                <a:gd name="connsiteX8" fmla="*/ 42308 w 75307"/>
                <a:gd name="connsiteY8" fmla="*/ 0 h 57374"/>
                <a:gd name="connsiteX9" fmla="*/ 42308 w 75307"/>
                <a:gd name="connsiteY9" fmla="*/ 48613 h 57374"/>
                <a:gd name="connsiteX10" fmla="*/ 65718 w 75307"/>
                <a:gd name="connsiteY10" fmla="*/ 48613 h 57374"/>
                <a:gd name="connsiteX11" fmla="*/ 65718 w 75307"/>
                <a:gd name="connsiteY11" fmla="*/ 0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307" h="57374">
                  <a:moveTo>
                    <a:pt x="75308" y="0"/>
                  </a:moveTo>
                  <a:lnTo>
                    <a:pt x="75308" y="57375"/>
                  </a:lnTo>
                  <a:lnTo>
                    <a:pt x="0" y="57375"/>
                  </a:lnTo>
                  <a:lnTo>
                    <a:pt x="0" y="0"/>
                  </a:lnTo>
                  <a:lnTo>
                    <a:pt x="9590" y="0"/>
                  </a:lnTo>
                  <a:lnTo>
                    <a:pt x="9590" y="48613"/>
                  </a:lnTo>
                  <a:lnTo>
                    <a:pt x="33000" y="48613"/>
                  </a:lnTo>
                  <a:lnTo>
                    <a:pt x="33000" y="0"/>
                  </a:lnTo>
                  <a:lnTo>
                    <a:pt x="42308" y="0"/>
                  </a:lnTo>
                  <a:lnTo>
                    <a:pt x="42308" y="48613"/>
                  </a:lnTo>
                  <a:lnTo>
                    <a:pt x="65718" y="48613"/>
                  </a:lnTo>
                  <a:lnTo>
                    <a:pt x="65718" y="0"/>
                  </a:lnTo>
                  <a:close/>
                </a:path>
              </a:pathLst>
            </a:custGeom>
            <a:solidFill>
              <a:srgbClr val="7F8183"/>
            </a:solidFill>
            <a:ln w="2790" cap="flat">
              <a:noFill/>
              <a:prstDash val="solid"/>
              <a:miter/>
            </a:ln>
          </p:spPr>
          <p:txBody>
            <a:bodyPr rtlCol="0" anchor="ctr"/>
            <a:lstStyle/>
            <a:p>
              <a:endParaRPr lang="x-none" sz="1905"/>
            </a:p>
          </p:txBody>
        </p:sp>
        <p:sp>
          <p:nvSpPr>
            <p:cNvPr id="27" name="Freeform 26">
              <a:extLst>
                <a:ext uri="{FF2B5EF4-FFF2-40B4-BE49-F238E27FC236}">
                  <a16:creationId xmlns:a16="http://schemas.microsoft.com/office/drawing/2014/main" id="{4C1D8118-E478-6F49-92CE-6359D0AC6C1A}"/>
                </a:ext>
              </a:extLst>
            </p:cNvPr>
            <p:cNvSpPr/>
            <p:nvPr/>
          </p:nvSpPr>
          <p:spPr>
            <a:xfrm>
              <a:off x="1695593" y="5811307"/>
              <a:ext cx="51615" cy="59635"/>
            </a:xfrm>
            <a:custGeom>
              <a:avLst/>
              <a:gdLst>
                <a:gd name="connsiteX0" fmla="*/ 26795 w 51615"/>
                <a:gd name="connsiteY0" fmla="*/ 7914 h 59635"/>
                <a:gd name="connsiteX1" fmla="*/ 15795 w 51615"/>
                <a:gd name="connsiteY1" fmla="*/ 12153 h 59635"/>
                <a:gd name="connsiteX2" fmla="*/ 10154 w 51615"/>
                <a:gd name="connsiteY2" fmla="*/ 23176 h 59635"/>
                <a:gd name="connsiteX3" fmla="*/ 42308 w 51615"/>
                <a:gd name="connsiteY3" fmla="*/ 23176 h 59635"/>
                <a:gd name="connsiteX4" fmla="*/ 38359 w 51615"/>
                <a:gd name="connsiteY4" fmla="*/ 12153 h 59635"/>
                <a:gd name="connsiteX5" fmla="*/ 26795 w 51615"/>
                <a:gd name="connsiteY5" fmla="*/ 7914 h 59635"/>
                <a:gd name="connsiteX6" fmla="*/ 51615 w 51615"/>
                <a:gd name="connsiteY6" fmla="*/ 31372 h 59635"/>
                <a:gd name="connsiteX7" fmla="*/ 9590 w 51615"/>
                <a:gd name="connsiteY7" fmla="*/ 31372 h 59635"/>
                <a:gd name="connsiteX8" fmla="*/ 14949 w 51615"/>
                <a:gd name="connsiteY8" fmla="*/ 46069 h 59635"/>
                <a:gd name="connsiteX9" fmla="*/ 27077 w 51615"/>
                <a:gd name="connsiteY9" fmla="*/ 51157 h 59635"/>
                <a:gd name="connsiteX10" fmla="*/ 37513 w 51615"/>
                <a:gd name="connsiteY10" fmla="*/ 48048 h 59635"/>
                <a:gd name="connsiteX11" fmla="*/ 42308 w 51615"/>
                <a:gd name="connsiteY11" fmla="*/ 40699 h 59635"/>
                <a:gd name="connsiteX12" fmla="*/ 51333 w 51615"/>
                <a:gd name="connsiteY12" fmla="*/ 42395 h 59635"/>
                <a:gd name="connsiteX13" fmla="*/ 42872 w 51615"/>
                <a:gd name="connsiteY13" fmla="*/ 55114 h 59635"/>
                <a:gd name="connsiteX14" fmla="*/ 26795 w 51615"/>
                <a:gd name="connsiteY14" fmla="*/ 59636 h 59635"/>
                <a:gd name="connsiteX15" fmla="*/ 7333 w 51615"/>
                <a:gd name="connsiteY15" fmla="*/ 51722 h 59635"/>
                <a:gd name="connsiteX16" fmla="*/ 0 w 51615"/>
                <a:gd name="connsiteY16" fmla="*/ 29677 h 59635"/>
                <a:gd name="connsiteX17" fmla="*/ 1974 w 51615"/>
                <a:gd name="connsiteY17" fmla="*/ 16958 h 59635"/>
                <a:gd name="connsiteX18" fmla="*/ 7615 w 51615"/>
                <a:gd name="connsiteY18" fmla="*/ 7631 h 59635"/>
                <a:gd name="connsiteX19" fmla="*/ 16077 w 51615"/>
                <a:gd name="connsiteY19" fmla="*/ 1978 h 59635"/>
                <a:gd name="connsiteX20" fmla="*/ 26513 w 51615"/>
                <a:gd name="connsiteY20" fmla="*/ 0 h 59635"/>
                <a:gd name="connsiteX21" fmla="*/ 44564 w 51615"/>
                <a:gd name="connsiteY21" fmla="*/ 7348 h 59635"/>
                <a:gd name="connsiteX22" fmla="*/ 51333 w 51615"/>
                <a:gd name="connsiteY22" fmla="*/ 27698 h 59635"/>
                <a:gd name="connsiteX23" fmla="*/ 51333 w 51615"/>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615" h="59635">
                  <a:moveTo>
                    <a:pt x="26795" y="7914"/>
                  </a:moveTo>
                  <a:cubicBezTo>
                    <a:pt x="22282" y="7914"/>
                    <a:pt x="18615" y="9327"/>
                    <a:pt x="15795" y="12153"/>
                  </a:cubicBezTo>
                  <a:cubicBezTo>
                    <a:pt x="12692" y="14980"/>
                    <a:pt x="11000" y="18654"/>
                    <a:pt x="10154" y="23176"/>
                  </a:cubicBezTo>
                  <a:lnTo>
                    <a:pt x="42308" y="23176"/>
                  </a:lnTo>
                  <a:cubicBezTo>
                    <a:pt x="42026" y="18654"/>
                    <a:pt x="40615" y="14980"/>
                    <a:pt x="38359" y="12153"/>
                  </a:cubicBezTo>
                  <a:cubicBezTo>
                    <a:pt x="35539" y="9327"/>
                    <a:pt x="31590" y="7914"/>
                    <a:pt x="26795" y="7914"/>
                  </a:cubicBezTo>
                  <a:moveTo>
                    <a:pt x="51615"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8"/>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28" name="Freeform 27">
              <a:extLst>
                <a:ext uri="{FF2B5EF4-FFF2-40B4-BE49-F238E27FC236}">
                  <a16:creationId xmlns:a16="http://schemas.microsoft.com/office/drawing/2014/main" id="{D5B77BF7-A718-7F46-B83C-AF7018415C50}"/>
                </a:ext>
              </a:extLst>
            </p:cNvPr>
            <p:cNvSpPr/>
            <p:nvPr/>
          </p:nvSpPr>
          <p:spPr>
            <a:xfrm>
              <a:off x="1761029" y="5812155"/>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29" name="Freeform 28">
              <a:extLst>
                <a:ext uri="{FF2B5EF4-FFF2-40B4-BE49-F238E27FC236}">
                  <a16:creationId xmlns:a16="http://schemas.microsoft.com/office/drawing/2014/main" id="{6918E6DD-6E3E-8943-88BC-027320426CAB}"/>
                </a:ext>
              </a:extLst>
            </p:cNvPr>
            <p:cNvSpPr/>
            <p:nvPr/>
          </p:nvSpPr>
          <p:spPr>
            <a:xfrm>
              <a:off x="1825055" y="5810742"/>
              <a:ext cx="50769" cy="59918"/>
            </a:xfrm>
            <a:custGeom>
              <a:avLst/>
              <a:gdLst>
                <a:gd name="connsiteX0" fmla="*/ 41744 w 50769"/>
                <a:gd name="connsiteY0" fmla="*/ 40134 h 59918"/>
                <a:gd name="connsiteX1" fmla="*/ 50769 w 50769"/>
                <a:gd name="connsiteY1" fmla="*/ 41547 h 59918"/>
                <a:gd name="connsiteX2" fmla="*/ 43154 w 50769"/>
                <a:gd name="connsiteY2" fmla="*/ 54548 h 59918"/>
                <a:gd name="connsiteX3" fmla="*/ 26513 w 50769"/>
                <a:gd name="connsiteY3" fmla="*/ 59919 h 59918"/>
                <a:gd name="connsiteX4" fmla="*/ 7333 w 50769"/>
                <a:gd name="connsiteY4" fmla="*/ 52287 h 59918"/>
                <a:gd name="connsiteX5" fmla="*/ 0 w 50769"/>
                <a:gd name="connsiteY5" fmla="*/ 29959 h 59918"/>
                <a:gd name="connsiteX6" fmla="*/ 1974 w 50769"/>
                <a:gd name="connsiteY6" fmla="*/ 16675 h 59918"/>
                <a:gd name="connsiteX7" fmla="*/ 7615 w 50769"/>
                <a:gd name="connsiteY7" fmla="*/ 7348 h 59918"/>
                <a:gd name="connsiteX8" fmla="*/ 16077 w 50769"/>
                <a:gd name="connsiteY8" fmla="*/ 1696 h 59918"/>
                <a:gd name="connsiteX9" fmla="*/ 26513 w 50769"/>
                <a:gd name="connsiteY9" fmla="*/ 0 h 59918"/>
                <a:gd name="connsiteX10" fmla="*/ 43436 w 50769"/>
                <a:gd name="connsiteY10" fmla="*/ 5370 h 59918"/>
                <a:gd name="connsiteX11" fmla="*/ 50769 w 50769"/>
                <a:gd name="connsiteY11" fmla="*/ 18089 h 59918"/>
                <a:gd name="connsiteX12" fmla="*/ 42026 w 50769"/>
                <a:gd name="connsiteY12" fmla="*/ 19784 h 59918"/>
                <a:gd name="connsiteX13" fmla="*/ 37513 w 50769"/>
                <a:gd name="connsiteY13" fmla="*/ 12153 h 59918"/>
                <a:gd name="connsiteX14" fmla="*/ 26795 w 50769"/>
                <a:gd name="connsiteY14" fmla="*/ 8479 h 59918"/>
                <a:gd name="connsiteX15" fmla="*/ 14103 w 50769"/>
                <a:gd name="connsiteY15" fmla="*/ 14132 h 59918"/>
                <a:gd name="connsiteX16" fmla="*/ 9590 w 50769"/>
                <a:gd name="connsiteY16" fmla="*/ 29677 h 59918"/>
                <a:gd name="connsiteX17" fmla="*/ 14103 w 50769"/>
                <a:gd name="connsiteY17" fmla="*/ 45222 h 59918"/>
                <a:gd name="connsiteX18" fmla="*/ 26795 w 50769"/>
                <a:gd name="connsiteY18" fmla="*/ 51157 h 59918"/>
                <a:gd name="connsiteX19" fmla="*/ 37795 w 50769"/>
                <a:gd name="connsiteY19" fmla="*/ 47483 h 59918"/>
                <a:gd name="connsiteX20" fmla="*/ 41744 w 50769"/>
                <a:gd name="connsiteY20" fmla="*/ 40134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769" h="59918">
                  <a:moveTo>
                    <a:pt x="41744" y="40134"/>
                  </a:moveTo>
                  <a:lnTo>
                    <a:pt x="50769" y="41547"/>
                  </a:lnTo>
                  <a:cubicBezTo>
                    <a:pt x="49641" y="46635"/>
                    <a:pt x="47103" y="51157"/>
                    <a:pt x="43154" y="54548"/>
                  </a:cubicBezTo>
                  <a:cubicBezTo>
                    <a:pt x="39205" y="58223"/>
                    <a:pt x="33564" y="59919"/>
                    <a:pt x="26513" y="59919"/>
                  </a:cubicBezTo>
                  <a:cubicBezTo>
                    <a:pt x="18615" y="59919"/>
                    <a:pt x="12128" y="57375"/>
                    <a:pt x="7333" y="52287"/>
                  </a:cubicBezTo>
                  <a:cubicBezTo>
                    <a:pt x="2538" y="47200"/>
                    <a:pt x="0" y="39851"/>
                    <a:pt x="0" y="29959"/>
                  </a:cubicBezTo>
                  <a:cubicBezTo>
                    <a:pt x="0" y="24872"/>
                    <a:pt x="564" y="20350"/>
                    <a:pt x="1974" y="16675"/>
                  </a:cubicBezTo>
                  <a:cubicBezTo>
                    <a:pt x="3385" y="13001"/>
                    <a:pt x="5359" y="9892"/>
                    <a:pt x="7615" y="7348"/>
                  </a:cubicBezTo>
                  <a:cubicBezTo>
                    <a:pt x="9872" y="4805"/>
                    <a:pt x="12692" y="3109"/>
                    <a:pt x="16077" y="1696"/>
                  </a:cubicBezTo>
                  <a:cubicBezTo>
                    <a:pt x="19462" y="565"/>
                    <a:pt x="22846" y="0"/>
                    <a:pt x="26513" y="0"/>
                  </a:cubicBezTo>
                  <a:cubicBezTo>
                    <a:pt x="33846" y="0"/>
                    <a:pt x="39487" y="1696"/>
                    <a:pt x="43436" y="5370"/>
                  </a:cubicBezTo>
                  <a:cubicBezTo>
                    <a:pt x="47385" y="9044"/>
                    <a:pt x="49641" y="13284"/>
                    <a:pt x="50769" y="18089"/>
                  </a:cubicBezTo>
                  <a:lnTo>
                    <a:pt x="42026" y="19784"/>
                  </a:lnTo>
                  <a:cubicBezTo>
                    <a:pt x="41179" y="16958"/>
                    <a:pt x="39769" y="14414"/>
                    <a:pt x="37513" y="12153"/>
                  </a:cubicBezTo>
                  <a:cubicBezTo>
                    <a:pt x="35256" y="9892"/>
                    <a:pt x="31590" y="8479"/>
                    <a:pt x="26795" y="8479"/>
                  </a:cubicBezTo>
                  <a:cubicBezTo>
                    <a:pt x="21436" y="8479"/>
                    <a:pt x="17205" y="10457"/>
                    <a:pt x="14103" y="14132"/>
                  </a:cubicBezTo>
                  <a:cubicBezTo>
                    <a:pt x="11000" y="18089"/>
                    <a:pt x="9590" y="23176"/>
                    <a:pt x="9590" y="29677"/>
                  </a:cubicBezTo>
                  <a:cubicBezTo>
                    <a:pt x="9590" y="36177"/>
                    <a:pt x="11000" y="41265"/>
                    <a:pt x="14103" y="45222"/>
                  </a:cubicBezTo>
                  <a:cubicBezTo>
                    <a:pt x="16923" y="49178"/>
                    <a:pt x="21154" y="51157"/>
                    <a:pt x="26795" y="51157"/>
                  </a:cubicBezTo>
                  <a:cubicBezTo>
                    <a:pt x="31872" y="51157"/>
                    <a:pt x="35538" y="50026"/>
                    <a:pt x="37795" y="47483"/>
                  </a:cubicBezTo>
                  <a:cubicBezTo>
                    <a:pt x="39487" y="45504"/>
                    <a:pt x="40897" y="42960"/>
                    <a:pt x="41744" y="40134"/>
                  </a:cubicBezTo>
                </a:path>
              </a:pathLst>
            </a:custGeom>
            <a:solidFill>
              <a:srgbClr val="7F8183"/>
            </a:solidFill>
            <a:ln w="2790" cap="flat">
              <a:noFill/>
              <a:prstDash val="solid"/>
              <a:miter/>
            </a:ln>
          </p:spPr>
          <p:txBody>
            <a:bodyPr rtlCol="0" anchor="ctr"/>
            <a:lstStyle/>
            <a:p>
              <a:endParaRPr lang="x-none" sz="1905"/>
            </a:p>
          </p:txBody>
        </p:sp>
        <p:sp>
          <p:nvSpPr>
            <p:cNvPr id="30" name="Freeform 29">
              <a:extLst>
                <a:ext uri="{FF2B5EF4-FFF2-40B4-BE49-F238E27FC236}">
                  <a16:creationId xmlns:a16="http://schemas.microsoft.com/office/drawing/2014/main" id="{645310B9-8CA4-C849-B2E3-16871DC771FC}"/>
                </a:ext>
              </a:extLst>
            </p:cNvPr>
            <p:cNvSpPr/>
            <p:nvPr/>
          </p:nvSpPr>
          <p:spPr>
            <a:xfrm>
              <a:off x="1882875" y="5812155"/>
              <a:ext cx="51333" cy="57374"/>
            </a:xfrm>
            <a:custGeom>
              <a:avLst/>
              <a:gdLst>
                <a:gd name="connsiteX0" fmla="*/ 0 w 51333"/>
                <a:gd name="connsiteY0" fmla="*/ 9044 h 57374"/>
                <a:gd name="connsiteX1" fmla="*/ 0 w 51333"/>
                <a:gd name="connsiteY1" fmla="*/ 0 h 57374"/>
                <a:gd name="connsiteX2" fmla="*/ 51333 w 51333"/>
                <a:gd name="connsiteY2" fmla="*/ 0 h 57374"/>
                <a:gd name="connsiteX3" fmla="*/ 51333 w 51333"/>
                <a:gd name="connsiteY3" fmla="*/ 9044 h 57374"/>
                <a:gd name="connsiteX4" fmla="*/ 30462 w 51333"/>
                <a:gd name="connsiteY4" fmla="*/ 9044 h 57374"/>
                <a:gd name="connsiteX5" fmla="*/ 30462 w 51333"/>
                <a:gd name="connsiteY5" fmla="*/ 57375 h 57374"/>
                <a:gd name="connsiteX6" fmla="*/ 20872 w 51333"/>
                <a:gd name="connsiteY6" fmla="*/ 57375 h 57374"/>
                <a:gd name="connsiteX7" fmla="*/ 20872 w 51333"/>
                <a:gd name="connsiteY7" fmla="*/ 9044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333" h="57374">
                  <a:moveTo>
                    <a:pt x="0" y="9044"/>
                  </a:moveTo>
                  <a:lnTo>
                    <a:pt x="0" y="0"/>
                  </a:lnTo>
                  <a:lnTo>
                    <a:pt x="51333" y="0"/>
                  </a:lnTo>
                  <a:lnTo>
                    <a:pt x="51333" y="9044"/>
                  </a:lnTo>
                  <a:lnTo>
                    <a:pt x="30462" y="9044"/>
                  </a:lnTo>
                  <a:lnTo>
                    <a:pt x="30462" y="57375"/>
                  </a:lnTo>
                  <a:lnTo>
                    <a:pt x="20872" y="57375"/>
                  </a:lnTo>
                  <a:lnTo>
                    <a:pt x="20872" y="9044"/>
                  </a:lnTo>
                  <a:close/>
                </a:path>
              </a:pathLst>
            </a:custGeom>
            <a:solidFill>
              <a:srgbClr val="7F8183"/>
            </a:solidFill>
            <a:ln w="2790" cap="flat">
              <a:noFill/>
              <a:prstDash val="solid"/>
              <a:miter/>
            </a:ln>
          </p:spPr>
          <p:txBody>
            <a:bodyPr rtlCol="0" anchor="ctr"/>
            <a:lstStyle/>
            <a:p>
              <a:endParaRPr lang="x-none" sz="1905"/>
            </a:p>
          </p:txBody>
        </p:sp>
        <p:grpSp>
          <p:nvGrpSpPr>
            <p:cNvPr id="31" name="Graphic 13">
              <a:extLst>
                <a:ext uri="{FF2B5EF4-FFF2-40B4-BE49-F238E27FC236}">
                  <a16:creationId xmlns:a16="http://schemas.microsoft.com/office/drawing/2014/main" id="{68D06D50-A541-C448-B5A3-276B64E2D4C1}"/>
                </a:ext>
              </a:extLst>
            </p:cNvPr>
            <p:cNvGrpSpPr/>
            <p:nvPr/>
          </p:nvGrpSpPr>
          <p:grpSpPr>
            <a:xfrm>
              <a:off x="1946055" y="5811024"/>
              <a:ext cx="110282" cy="59918"/>
              <a:chOff x="1946055" y="5811024"/>
              <a:chExt cx="110282" cy="59918"/>
            </a:xfrm>
            <a:solidFill>
              <a:srgbClr val="CFD4D9"/>
            </a:solidFill>
          </p:grpSpPr>
          <p:sp>
            <p:nvSpPr>
              <p:cNvPr id="53" name="Freeform 52">
                <a:extLst>
                  <a:ext uri="{FF2B5EF4-FFF2-40B4-BE49-F238E27FC236}">
                    <a16:creationId xmlns:a16="http://schemas.microsoft.com/office/drawing/2014/main" id="{07959E70-C873-A843-8416-EFC12CA91A5C}"/>
                  </a:ext>
                </a:extLst>
              </p:cNvPr>
              <p:cNvSpPr/>
              <p:nvPr/>
            </p:nvSpPr>
            <p:spPr>
              <a:xfrm>
                <a:off x="1946055" y="5812155"/>
                <a:ext cx="45410" cy="57657"/>
              </a:xfrm>
              <a:custGeom>
                <a:avLst/>
                <a:gdLst>
                  <a:gd name="connsiteX0" fmla="*/ 26231 w 45410"/>
                  <a:gd name="connsiteY0" fmla="*/ 32220 h 57657"/>
                  <a:gd name="connsiteX1" fmla="*/ 9308 w 45410"/>
                  <a:gd name="connsiteY1" fmla="*/ 32220 h 57657"/>
                  <a:gd name="connsiteX2" fmla="*/ 9308 w 45410"/>
                  <a:gd name="connsiteY2" fmla="*/ 49178 h 57657"/>
                  <a:gd name="connsiteX3" fmla="*/ 26231 w 45410"/>
                  <a:gd name="connsiteY3" fmla="*/ 49178 h 57657"/>
                  <a:gd name="connsiteX4" fmla="*/ 34128 w 45410"/>
                  <a:gd name="connsiteY4" fmla="*/ 46917 h 57657"/>
                  <a:gd name="connsiteX5" fmla="*/ 36385 w 45410"/>
                  <a:gd name="connsiteY5" fmla="*/ 40699 h 57657"/>
                  <a:gd name="connsiteX6" fmla="*/ 33846 w 45410"/>
                  <a:gd name="connsiteY6" fmla="*/ 34199 h 57657"/>
                  <a:gd name="connsiteX7" fmla="*/ 26231 w 45410"/>
                  <a:gd name="connsiteY7" fmla="*/ 32220 h 57657"/>
                  <a:gd name="connsiteX8" fmla="*/ 24538 w 45410"/>
                  <a:gd name="connsiteY8" fmla="*/ 8196 h 57657"/>
                  <a:gd name="connsiteX9" fmla="*/ 9308 w 45410"/>
                  <a:gd name="connsiteY9" fmla="*/ 8196 h 57657"/>
                  <a:gd name="connsiteX10" fmla="*/ 9308 w 45410"/>
                  <a:gd name="connsiteY10" fmla="*/ 24307 h 57657"/>
                  <a:gd name="connsiteX11" fmla="*/ 25385 w 45410"/>
                  <a:gd name="connsiteY11" fmla="*/ 24307 h 57657"/>
                  <a:gd name="connsiteX12" fmla="*/ 32436 w 45410"/>
                  <a:gd name="connsiteY12" fmla="*/ 22328 h 57657"/>
                  <a:gd name="connsiteX13" fmla="*/ 34692 w 45410"/>
                  <a:gd name="connsiteY13" fmla="*/ 16110 h 57657"/>
                  <a:gd name="connsiteX14" fmla="*/ 32436 w 45410"/>
                  <a:gd name="connsiteY14" fmla="*/ 9892 h 57657"/>
                  <a:gd name="connsiteX15" fmla="*/ 24538 w 45410"/>
                  <a:gd name="connsiteY15" fmla="*/ 8196 h 57657"/>
                  <a:gd name="connsiteX16" fmla="*/ 0 w 45410"/>
                  <a:gd name="connsiteY16" fmla="*/ 57375 h 57657"/>
                  <a:gd name="connsiteX17" fmla="*/ 0 w 45410"/>
                  <a:gd name="connsiteY17" fmla="*/ 0 h 57657"/>
                  <a:gd name="connsiteX18" fmla="*/ 24538 w 45410"/>
                  <a:gd name="connsiteY18" fmla="*/ 0 h 57657"/>
                  <a:gd name="connsiteX19" fmla="*/ 38923 w 45410"/>
                  <a:gd name="connsiteY19" fmla="*/ 3957 h 57657"/>
                  <a:gd name="connsiteX20" fmla="*/ 44000 w 45410"/>
                  <a:gd name="connsiteY20" fmla="*/ 15545 h 57657"/>
                  <a:gd name="connsiteX21" fmla="*/ 42308 w 45410"/>
                  <a:gd name="connsiteY21" fmla="*/ 22328 h 57657"/>
                  <a:gd name="connsiteX22" fmla="*/ 35821 w 45410"/>
                  <a:gd name="connsiteY22" fmla="*/ 27698 h 57657"/>
                  <a:gd name="connsiteX23" fmla="*/ 43154 w 45410"/>
                  <a:gd name="connsiteY23" fmla="*/ 32786 h 57657"/>
                  <a:gd name="connsiteX24" fmla="*/ 45410 w 45410"/>
                  <a:gd name="connsiteY24" fmla="*/ 41265 h 57657"/>
                  <a:gd name="connsiteX25" fmla="*/ 40898 w 45410"/>
                  <a:gd name="connsiteY25" fmla="*/ 53135 h 57657"/>
                  <a:gd name="connsiteX26" fmla="*/ 26231 w 45410"/>
                  <a:gd name="connsiteY26" fmla="*/ 57657 h 57657"/>
                  <a:gd name="connsiteX27" fmla="*/ 0 w 45410"/>
                  <a:gd name="connsiteY27" fmla="*/ 57657 h 5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5410" h="57657">
                    <a:moveTo>
                      <a:pt x="26231" y="32220"/>
                    </a:moveTo>
                    <a:lnTo>
                      <a:pt x="9308" y="32220"/>
                    </a:lnTo>
                    <a:lnTo>
                      <a:pt x="9308" y="49178"/>
                    </a:lnTo>
                    <a:lnTo>
                      <a:pt x="26231" y="49178"/>
                    </a:lnTo>
                    <a:cubicBezTo>
                      <a:pt x="29897" y="49178"/>
                      <a:pt x="32436" y="48330"/>
                      <a:pt x="34128" y="46917"/>
                    </a:cubicBezTo>
                    <a:cubicBezTo>
                      <a:pt x="35538" y="45504"/>
                      <a:pt x="36385" y="43526"/>
                      <a:pt x="36385" y="40699"/>
                    </a:cubicBezTo>
                    <a:cubicBezTo>
                      <a:pt x="36385" y="37590"/>
                      <a:pt x="35538" y="35612"/>
                      <a:pt x="33846" y="34199"/>
                    </a:cubicBezTo>
                    <a:cubicBezTo>
                      <a:pt x="32436" y="33068"/>
                      <a:pt x="29897" y="32220"/>
                      <a:pt x="26231" y="32220"/>
                    </a:cubicBezTo>
                    <a:moveTo>
                      <a:pt x="24538" y="8196"/>
                    </a:moveTo>
                    <a:lnTo>
                      <a:pt x="9308" y="8196"/>
                    </a:lnTo>
                    <a:lnTo>
                      <a:pt x="9308" y="24307"/>
                    </a:lnTo>
                    <a:lnTo>
                      <a:pt x="25385" y="24307"/>
                    </a:lnTo>
                    <a:cubicBezTo>
                      <a:pt x="28487" y="24307"/>
                      <a:pt x="31026" y="23741"/>
                      <a:pt x="32436" y="22328"/>
                    </a:cubicBezTo>
                    <a:cubicBezTo>
                      <a:pt x="34128" y="20915"/>
                      <a:pt x="34692" y="18937"/>
                      <a:pt x="34692" y="16110"/>
                    </a:cubicBezTo>
                    <a:cubicBezTo>
                      <a:pt x="34692" y="13284"/>
                      <a:pt x="33846" y="11305"/>
                      <a:pt x="32436" y="9892"/>
                    </a:cubicBezTo>
                    <a:cubicBezTo>
                      <a:pt x="31308" y="9044"/>
                      <a:pt x="28487" y="8196"/>
                      <a:pt x="24538" y="8196"/>
                    </a:cubicBezTo>
                    <a:moveTo>
                      <a:pt x="0" y="57375"/>
                    </a:moveTo>
                    <a:lnTo>
                      <a:pt x="0" y="0"/>
                    </a:lnTo>
                    <a:lnTo>
                      <a:pt x="24538" y="0"/>
                    </a:lnTo>
                    <a:cubicBezTo>
                      <a:pt x="30744" y="0"/>
                      <a:pt x="35538" y="1413"/>
                      <a:pt x="38923" y="3957"/>
                    </a:cubicBezTo>
                    <a:cubicBezTo>
                      <a:pt x="42308" y="6501"/>
                      <a:pt x="44000" y="10457"/>
                      <a:pt x="44000" y="15545"/>
                    </a:cubicBezTo>
                    <a:cubicBezTo>
                      <a:pt x="44000" y="17806"/>
                      <a:pt x="43436" y="20067"/>
                      <a:pt x="42308" y="22328"/>
                    </a:cubicBezTo>
                    <a:cubicBezTo>
                      <a:pt x="41179" y="24589"/>
                      <a:pt x="39205" y="26568"/>
                      <a:pt x="35821" y="27698"/>
                    </a:cubicBezTo>
                    <a:cubicBezTo>
                      <a:pt x="39205" y="28829"/>
                      <a:pt x="41744" y="30524"/>
                      <a:pt x="43154" y="32786"/>
                    </a:cubicBezTo>
                    <a:cubicBezTo>
                      <a:pt x="44564" y="35047"/>
                      <a:pt x="45410" y="37873"/>
                      <a:pt x="45410" y="41265"/>
                    </a:cubicBezTo>
                    <a:cubicBezTo>
                      <a:pt x="45410" y="46069"/>
                      <a:pt x="44000" y="50026"/>
                      <a:pt x="40898" y="53135"/>
                    </a:cubicBezTo>
                    <a:cubicBezTo>
                      <a:pt x="37795" y="55962"/>
                      <a:pt x="33000" y="57657"/>
                      <a:pt x="26231" y="57657"/>
                    </a:cubicBezTo>
                    <a:lnTo>
                      <a:pt x="0" y="57657"/>
                    </a:lnTo>
                    <a:close/>
                  </a:path>
                </a:pathLst>
              </a:custGeom>
              <a:solidFill>
                <a:srgbClr val="7F8183"/>
              </a:solidFill>
              <a:ln w="2790" cap="flat">
                <a:noFill/>
                <a:prstDash val="solid"/>
                <a:miter/>
              </a:ln>
            </p:spPr>
            <p:txBody>
              <a:bodyPr rtlCol="0" anchor="ctr"/>
              <a:lstStyle/>
              <a:p>
                <a:endParaRPr lang="x-none" sz="1905"/>
              </a:p>
            </p:txBody>
          </p:sp>
          <p:sp>
            <p:nvSpPr>
              <p:cNvPr id="54" name="Freeform 53">
                <a:extLst>
                  <a:ext uri="{FF2B5EF4-FFF2-40B4-BE49-F238E27FC236}">
                    <a16:creationId xmlns:a16="http://schemas.microsoft.com/office/drawing/2014/main" id="{AEDA4857-1DEE-9942-8A97-47957F90C298}"/>
                  </a:ext>
                </a:extLst>
              </p:cNvPr>
              <p:cNvSpPr/>
              <p:nvPr/>
            </p:nvSpPr>
            <p:spPr>
              <a:xfrm>
                <a:off x="2002465" y="5811024"/>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487" y="49461"/>
                      <a:pt x="21718"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764"/>
                      <a:pt x="0" y="29959"/>
                    </a:cubicBezTo>
                    <a:cubicBezTo>
                      <a:pt x="0" y="20350"/>
                      <a:pt x="2538" y="13001"/>
                      <a:pt x="7615" y="7914"/>
                    </a:cubicBezTo>
                    <a:cubicBezTo>
                      <a:pt x="12692" y="2826"/>
                      <a:pt x="19179" y="0"/>
                      <a:pt x="27359" y="0"/>
                    </a:cubicBezTo>
                    <a:cubicBezTo>
                      <a:pt x="35256" y="0"/>
                      <a:pt x="41744" y="2544"/>
                      <a:pt x="46539" y="7914"/>
                    </a:cubicBezTo>
                    <a:cubicBezTo>
                      <a:pt x="51333" y="13001"/>
                      <a:pt x="53872" y="20350"/>
                      <a:pt x="53872" y="29959"/>
                    </a:cubicBezTo>
                    <a:cubicBezTo>
                      <a:pt x="53872" y="39286"/>
                      <a:pt x="51333" y="46635"/>
                      <a:pt x="46539" y="52005"/>
                    </a:cubicBezTo>
                    <a:cubicBezTo>
                      <a:pt x="41462" y="57092"/>
                      <a:pt x="35256" y="59919"/>
                      <a:pt x="27359" y="59919"/>
                    </a:cubicBezTo>
                  </a:path>
                </a:pathLst>
              </a:custGeom>
              <a:solidFill>
                <a:srgbClr val="7F8183"/>
              </a:solidFill>
              <a:ln w="2790" cap="flat">
                <a:noFill/>
                <a:prstDash val="solid"/>
                <a:miter/>
              </a:ln>
            </p:spPr>
            <p:txBody>
              <a:bodyPr rtlCol="0" anchor="ctr"/>
              <a:lstStyle/>
              <a:p>
                <a:endParaRPr lang="x-none" sz="1905"/>
              </a:p>
            </p:txBody>
          </p:sp>
        </p:grpSp>
        <p:sp>
          <p:nvSpPr>
            <p:cNvPr id="32" name="Freeform 31">
              <a:extLst>
                <a:ext uri="{FF2B5EF4-FFF2-40B4-BE49-F238E27FC236}">
                  <a16:creationId xmlns:a16="http://schemas.microsoft.com/office/drawing/2014/main" id="{E0F4E977-DC47-CD42-90E3-8E69C5C4F26F}"/>
                </a:ext>
              </a:extLst>
            </p:cNvPr>
            <p:cNvSpPr/>
            <p:nvPr/>
          </p:nvSpPr>
          <p:spPr>
            <a:xfrm>
              <a:off x="1266593" y="5935383"/>
              <a:ext cx="48230" cy="57374"/>
            </a:xfrm>
            <a:custGeom>
              <a:avLst/>
              <a:gdLst>
                <a:gd name="connsiteX0" fmla="*/ 0 w 48230"/>
                <a:gd name="connsiteY0" fmla="*/ 57375 h 57374"/>
                <a:gd name="connsiteX1" fmla="*/ 0 w 48230"/>
                <a:gd name="connsiteY1" fmla="*/ 0 h 57374"/>
                <a:gd name="connsiteX2" fmla="*/ 48231 w 48230"/>
                <a:gd name="connsiteY2" fmla="*/ 0 h 57374"/>
                <a:gd name="connsiteX3" fmla="*/ 48231 w 48230"/>
                <a:gd name="connsiteY3" fmla="*/ 57375 h 57374"/>
                <a:gd name="connsiteX4" fmla="*/ 38641 w 48230"/>
                <a:gd name="connsiteY4" fmla="*/ 57375 h 57374"/>
                <a:gd name="connsiteX5" fmla="*/ 38641 w 48230"/>
                <a:gd name="connsiteY5" fmla="*/ 9044 h 57374"/>
                <a:gd name="connsiteX6" fmla="*/ 9308 w 48230"/>
                <a:gd name="connsiteY6" fmla="*/ 9044 h 57374"/>
                <a:gd name="connsiteX7" fmla="*/ 9308 w 48230"/>
                <a:gd name="connsiteY7"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30" h="57374">
                  <a:moveTo>
                    <a:pt x="0" y="57375"/>
                  </a:moveTo>
                  <a:lnTo>
                    <a:pt x="0" y="0"/>
                  </a:lnTo>
                  <a:lnTo>
                    <a:pt x="48231" y="0"/>
                  </a:lnTo>
                  <a:lnTo>
                    <a:pt x="48231" y="57375"/>
                  </a:lnTo>
                  <a:lnTo>
                    <a:pt x="38641" y="57375"/>
                  </a:lnTo>
                  <a:lnTo>
                    <a:pt x="38641" y="9044"/>
                  </a:lnTo>
                  <a:lnTo>
                    <a:pt x="9308" y="9044"/>
                  </a:lnTo>
                  <a:lnTo>
                    <a:pt x="9308" y="57375"/>
                  </a:lnTo>
                  <a:close/>
                </a:path>
              </a:pathLst>
            </a:custGeom>
            <a:solidFill>
              <a:srgbClr val="7F8183"/>
            </a:solidFill>
            <a:ln w="2790" cap="flat">
              <a:noFill/>
              <a:prstDash val="solid"/>
              <a:miter/>
            </a:ln>
          </p:spPr>
          <p:txBody>
            <a:bodyPr rtlCol="0" anchor="ctr"/>
            <a:lstStyle/>
            <a:p>
              <a:endParaRPr lang="x-none" sz="1905"/>
            </a:p>
          </p:txBody>
        </p:sp>
        <p:grpSp>
          <p:nvGrpSpPr>
            <p:cNvPr id="33" name="Graphic 13">
              <a:extLst>
                <a:ext uri="{FF2B5EF4-FFF2-40B4-BE49-F238E27FC236}">
                  <a16:creationId xmlns:a16="http://schemas.microsoft.com/office/drawing/2014/main" id="{AFB85BBB-793A-B74B-8260-45E6030D7FD9}"/>
                </a:ext>
              </a:extLst>
            </p:cNvPr>
            <p:cNvGrpSpPr/>
            <p:nvPr/>
          </p:nvGrpSpPr>
          <p:grpSpPr>
            <a:xfrm>
              <a:off x="1332593" y="5933970"/>
              <a:ext cx="245948" cy="82246"/>
              <a:chOff x="1332593" y="5933970"/>
              <a:chExt cx="245948" cy="82246"/>
            </a:xfrm>
            <a:solidFill>
              <a:srgbClr val="CFD4D9"/>
            </a:solidFill>
          </p:grpSpPr>
          <p:sp>
            <p:nvSpPr>
              <p:cNvPr id="49" name="Freeform 48">
                <a:extLst>
                  <a:ext uri="{FF2B5EF4-FFF2-40B4-BE49-F238E27FC236}">
                    <a16:creationId xmlns:a16="http://schemas.microsoft.com/office/drawing/2014/main" id="{45005C72-3836-864B-AF7B-93A10AAB71EC}"/>
                  </a:ext>
                </a:extLst>
              </p:cNvPr>
              <p:cNvSpPr/>
              <p:nvPr/>
            </p:nvSpPr>
            <p:spPr>
              <a:xfrm>
                <a:off x="1332593" y="5933970"/>
                <a:ext cx="54153" cy="82246"/>
              </a:xfrm>
              <a:custGeom>
                <a:avLst/>
                <a:gdLst>
                  <a:gd name="connsiteX0" fmla="*/ 9590 w 54153"/>
                  <a:gd name="connsiteY0" fmla="*/ 34764 h 82246"/>
                  <a:gd name="connsiteX1" fmla="*/ 14949 w 54153"/>
                  <a:gd name="connsiteY1" fmla="*/ 46917 h 82246"/>
                  <a:gd name="connsiteX2" fmla="*/ 27641 w 54153"/>
                  <a:gd name="connsiteY2" fmla="*/ 51439 h 82246"/>
                  <a:gd name="connsiteX3" fmla="*/ 40051 w 54153"/>
                  <a:gd name="connsiteY3" fmla="*/ 45504 h 82246"/>
                  <a:gd name="connsiteX4" fmla="*/ 44564 w 54153"/>
                  <a:gd name="connsiteY4" fmla="*/ 29677 h 82246"/>
                  <a:gd name="connsiteX5" fmla="*/ 40051 w 54153"/>
                  <a:gd name="connsiteY5" fmla="*/ 14414 h 82246"/>
                  <a:gd name="connsiteX6" fmla="*/ 27359 w 54153"/>
                  <a:gd name="connsiteY6" fmla="*/ 8479 h 82246"/>
                  <a:gd name="connsiteX7" fmla="*/ 20872 w 54153"/>
                  <a:gd name="connsiteY7" fmla="*/ 9610 h 82246"/>
                  <a:gd name="connsiteX8" fmla="*/ 15231 w 54153"/>
                  <a:gd name="connsiteY8" fmla="*/ 13284 h 82246"/>
                  <a:gd name="connsiteX9" fmla="*/ 11282 w 54153"/>
                  <a:gd name="connsiteY9" fmla="*/ 19219 h 82246"/>
                  <a:gd name="connsiteX10" fmla="*/ 9872 w 54153"/>
                  <a:gd name="connsiteY10" fmla="*/ 27416 h 82246"/>
                  <a:gd name="connsiteX11" fmla="*/ 9872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590" y="34764"/>
                    </a:moveTo>
                    <a:cubicBezTo>
                      <a:pt x="9590" y="40134"/>
                      <a:pt x="11282" y="44091"/>
                      <a:pt x="14949" y="46917"/>
                    </a:cubicBezTo>
                    <a:cubicBezTo>
                      <a:pt x="18615" y="49744"/>
                      <a:pt x="22846" y="51439"/>
                      <a:pt x="27641" y="51439"/>
                    </a:cubicBezTo>
                    <a:cubicBezTo>
                      <a:pt x="33000" y="51439"/>
                      <a:pt x="36949" y="49461"/>
                      <a:pt x="40051" y="45504"/>
                    </a:cubicBezTo>
                    <a:cubicBezTo>
                      <a:pt x="43154" y="41547"/>
                      <a:pt x="44564" y="36460"/>
                      <a:pt x="44564" y="29677"/>
                    </a:cubicBezTo>
                    <a:cubicBezTo>
                      <a:pt x="44564" y="23459"/>
                      <a:pt x="43154" y="18371"/>
                      <a:pt x="40051" y="14414"/>
                    </a:cubicBezTo>
                    <a:cubicBezTo>
                      <a:pt x="36949" y="10457"/>
                      <a:pt x="32718" y="8479"/>
                      <a:pt x="27359" y="8479"/>
                    </a:cubicBezTo>
                    <a:cubicBezTo>
                      <a:pt x="25103" y="8479"/>
                      <a:pt x="22846" y="8762"/>
                      <a:pt x="20872" y="9610"/>
                    </a:cubicBezTo>
                    <a:cubicBezTo>
                      <a:pt x="18897" y="10457"/>
                      <a:pt x="16923" y="11588"/>
                      <a:pt x="15231" y="13284"/>
                    </a:cubicBezTo>
                    <a:cubicBezTo>
                      <a:pt x="13538" y="14980"/>
                      <a:pt x="12128" y="16958"/>
                      <a:pt x="11282" y="19219"/>
                    </a:cubicBezTo>
                    <a:cubicBezTo>
                      <a:pt x="10154" y="21763"/>
                      <a:pt x="9872" y="24307"/>
                      <a:pt x="9872" y="27416"/>
                    </a:cubicBezTo>
                    <a:lnTo>
                      <a:pt x="9872" y="34764"/>
                    </a:lnTo>
                    <a:close/>
                    <a:moveTo>
                      <a:pt x="0" y="82247"/>
                    </a:moveTo>
                    <a:lnTo>
                      <a:pt x="0" y="1413"/>
                    </a:lnTo>
                    <a:lnTo>
                      <a:pt x="9590" y="1413"/>
                    </a:lnTo>
                    <a:lnTo>
                      <a:pt x="9590" y="9044"/>
                    </a:lnTo>
                    <a:cubicBezTo>
                      <a:pt x="11564" y="5935"/>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sp>
            <p:nvSpPr>
              <p:cNvPr id="50" name="Freeform 49">
                <a:extLst>
                  <a:ext uri="{FF2B5EF4-FFF2-40B4-BE49-F238E27FC236}">
                    <a16:creationId xmlns:a16="http://schemas.microsoft.com/office/drawing/2014/main" id="{A2D3332B-B7D8-9C48-9592-EC48FF7DA69E}"/>
                  </a:ext>
                </a:extLst>
              </p:cNvPr>
              <p:cNvSpPr/>
              <p:nvPr/>
            </p:nvSpPr>
            <p:spPr>
              <a:xfrm>
                <a:off x="1397747" y="5934253"/>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487" y="49461"/>
                      <a:pt x="22000"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481"/>
                      <a:pt x="0" y="29959"/>
                    </a:cubicBezTo>
                    <a:cubicBezTo>
                      <a:pt x="0" y="20350"/>
                      <a:pt x="2538" y="13001"/>
                      <a:pt x="7615" y="7914"/>
                    </a:cubicBezTo>
                    <a:cubicBezTo>
                      <a:pt x="12692" y="2826"/>
                      <a:pt x="19180" y="0"/>
                      <a:pt x="27359" y="0"/>
                    </a:cubicBezTo>
                    <a:cubicBezTo>
                      <a:pt x="35256" y="0"/>
                      <a:pt x="41744" y="2544"/>
                      <a:pt x="46539" y="7914"/>
                    </a:cubicBezTo>
                    <a:cubicBezTo>
                      <a:pt x="51333" y="13001"/>
                      <a:pt x="53872" y="20350"/>
                      <a:pt x="53872" y="29959"/>
                    </a:cubicBezTo>
                    <a:cubicBezTo>
                      <a:pt x="53872" y="39286"/>
                      <a:pt x="51333" y="46635"/>
                      <a:pt x="46539" y="52005"/>
                    </a:cubicBezTo>
                    <a:cubicBezTo>
                      <a:pt x="41744" y="57092"/>
                      <a:pt x="35256" y="59919"/>
                      <a:pt x="27359" y="59919"/>
                    </a:cubicBezTo>
                  </a:path>
                </a:pathLst>
              </a:custGeom>
              <a:solidFill>
                <a:srgbClr val="7F8183"/>
              </a:solidFill>
              <a:ln w="2790" cap="flat">
                <a:noFill/>
                <a:prstDash val="solid"/>
                <a:miter/>
              </a:ln>
            </p:spPr>
            <p:txBody>
              <a:bodyPr rtlCol="0" anchor="ctr"/>
              <a:lstStyle/>
              <a:p>
                <a:endParaRPr lang="x-none" sz="1905"/>
              </a:p>
            </p:txBody>
          </p:sp>
          <p:sp>
            <p:nvSpPr>
              <p:cNvPr id="51" name="Freeform 50">
                <a:extLst>
                  <a:ext uri="{FF2B5EF4-FFF2-40B4-BE49-F238E27FC236}">
                    <a16:creationId xmlns:a16="http://schemas.microsoft.com/office/drawing/2014/main" id="{210E65D4-A347-5048-AABF-494A7E316FDF}"/>
                  </a:ext>
                </a:extLst>
              </p:cNvPr>
              <p:cNvSpPr/>
              <p:nvPr/>
            </p:nvSpPr>
            <p:spPr>
              <a:xfrm>
                <a:off x="1456696" y="5935383"/>
                <a:ext cx="63461" cy="73767"/>
              </a:xfrm>
              <a:custGeom>
                <a:avLst/>
                <a:gdLst>
                  <a:gd name="connsiteX0" fmla="*/ 22282 w 63461"/>
                  <a:gd name="connsiteY0" fmla="*/ 33068 h 73767"/>
                  <a:gd name="connsiteX1" fmla="*/ 20308 w 63461"/>
                  <a:gd name="connsiteY1" fmla="*/ 41830 h 73767"/>
                  <a:gd name="connsiteX2" fmla="*/ 16923 w 63461"/>
                  <a:gd name="connsiteY2" fmla="*/ 48331 h 73767"/>
                  <a:gd name="connsiteX3" fmla="*/ 44846 w 63461"/>
                  <a:gd name="connsiteY3" fmla="*/ 48331 h 73767"/>
                  <a:gd name="connsiteX4" fmla="*/ 44846 w 63461"/>
                  <a:gd name="connsiteY4" fmla="*/ 8762 h 73767"/>
                  <a:gd name="connsiteX5" fmla="*/ 23128 w 63461"/>
                  <a:gd name="connsiteY5" fmla="*/ 8762 h 73767"/>
                  <a:gd name="connsiteX6" fmla="*/ 23128 w 63461"/>
                  <a:gd name="connsiteY6" fmla="*/ 23176 h 73767"/>
                  <a:gd name="connsiteX7" fmla="*/ 22282 w 63461"/>
                  <a:gd name="connsiteY7" fmla="*/ 33068 h 73767"/>
                  <a:gd name="connsiteX8" fmla="*/ 0 w 63461"/>
                  <a:gd name="connsiteY8" fmla="*/ 48613 h 73767"/>
                  <a:gd name="connsiteX9" fmla="*/ 5923 w 63461"/>
                  <a:gd name="connsiteY9" fmla="*/ 48613 h 73767"/>
                  <a:gd name="connsiteX10" fmla="*/ 11000 w 63461"/>
                  <a:gd name="connsiteY10" fmla="*/ 41547 h 73767"/>
                  <a:gd name="connsiteX11" fmla="*/ 13256 w 63461"/>
                  <a:gd name="connsiteY11" fmla="*/ 31938 h 73767"/>
                  <a:gd name="connsiteX12" fmla="*/ 13538 w 63461"/>
                  <a:gd name="connsiteY12" fmla="*/ 27416 h 73767"/>
                  <a:gd name="connsiteX13" fmla="*/ 13821 w 63461"/>
                  <a:gd name="connsiteY13" fmla="*/ 21198 h 73767"/>
                  <a:gd name="connsiteX14" fmla="*/ 13821 w 63461"/>
                  <a:gd name="connsiteY14" fmla="*/ 12436 h 73767"/>
                  <a:gd name="connsiteX15" fmla="*/ 13821 w 63461"/>
                  <a:gd name="connsiteY15" fmla="*/ 0 h 73767"/>
                  <a:gd name="connsiteX16" fmla="*/ 54154 w 63461"/>
                  <a:gd name="connsiteY16" fmla="*/ 0 h 73767"/>
                  <a:gd name="connsiteX17" fmla="*/ 54154 w 63461"/>
                  <a:gd name="connsiteY17" fmla="*/ 48613 h 73767"/>
                  <a:gd name="connsiteX18" fmla="*/ 63462 w 63461"/>
                  <a:gd name="connsiteY18" fmla="*/ 48613 h 73767"/>
                  <a:gd name="connsiteX19" fmla="*/ 63462 w 63461"/>
                  <a:gd name="connsiteY19" fmla="*/ 73768 h 73767"/>
                  <a:gd name="connsiteX20" fmla="*/ 54154 w 63461"/>
                  <a:gd name="connsiteY20" fmla="*/ 73768 h 73767"/>
                  <a:gd name="connsiteX21" fmla="*/ 54154 w 63461"/>
                  <a:gd name="connsiteY21" fmla="*/ 57657 h 73767"/>
                  <a:gd name="connsiteX22" fmla="*/ 9308 w 63461"/>
                  <a:gd name="connsiteY22" fmla="*/ 57657 h 73767"/>
                  <a:gd name="connsiteX23" fmla="*/ 9308 w 63461"/>
                  <a:gd name="connsiteY23" fmla="*/ 73768 h 73767"/>
                  <a:gd name="connsiteX24" fmla="*/ 0 w 63461"/>
                  <a:gd name="connsiteY24" fmla="*/ 73768 h 73767"/>
                  <a:gd name="connsiteX25" fmla="*/ 0 w 63461"/>
                  <a:gd name="connsiteY25" fmla="*/ 48613 h 7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3461" h="73767">
                    <a:moveTo>
                      <a:pt x="22282" y="33068"/>
                    </a:moveTo>
                    <a:cubicBezTo>
                      <a:pt x="22000" y="36460"/>
                      <a:pt x="21154" y="39286"/>
                      <a:pt x="20308" y="41830"/>
                    </a:cubicBezTo>
                    <a:cubicBezTo>
                      <a:pt x="19180" y="44374"/>
                      <a:pt x="18051" y="46635"/>
                      <a:pt x="16923" y="48331"/>
                    </a:cubicBezTo>
                    <a:lnTo>
                      <a:pt x="44846" y="48331"/>
                    </a:lnTo>
                    <a:lnTo>
                      <a:pt x="44846" y="8762"/>
                    </a:lnTo>
                    <a:lnTo>
                      <a:pt x="23128" y="8762"/>
                    </a:lnTo>
                    <a:cubicBezTo>
                      <a:pt x="23128" y="14414"/>
                      <a:pt x="23128" y="19219"/>
                      <a:pt x="23128" y="23176"/>
                    </a:cubicBezTo>
                    <a:cubicBezTo>
                      <a:pt x="22564" y="27698"/>
                      <a:pt x="22564" y="30807"/>
                      <a:pt x="22282" y="33068"/>
                    </a:cubicBezTo>
                    <a:moveTo>
                      <a:pt x="0" y="48613"/>
                    </a:moveTo>
                    <a:lnTo>
                      <a:pt x="5923" y="48613"/>
                    </a:lnTo>
                    <a:cubicBezTo>
                      <a:pt x="7897" y="46917"/>
                      <a:pt x="9590" y="44656"/>
                      <a:pt x="11000" y="41547"/>
                    </a:cubicBezTo>
                    <a:cubicBezTo>
                      <a:pt x="12410" y="38438"/>
                      <a:pt x="13256" y="35329"/>
                      <a:pt x="13256" y="31938"/>
                    </a:cubicBezTo>
                    <a:cubicBezTo>
                      <a:pt x="13256" y="30525"/>
                      <a:pt x="13538" y="29111"/>
                      <a:pt x="13538" y="27416"/>
                    </a:cubicBezTo>
                    <a:cubicBezTo>
                      <a:pt x="13538" y="25720"/>
                      <a:pt x="13538" y="23741"/>
                      <a:pt x="13821" y="21198"/>
                    </a:cubicBezTo>
                    <a:cubicBezTo>
                      <a:pt x="13821" y="18654"/>
                      <a:pt x="13821" y="15828"/>
                      <a:pt x="13821" y="12436"/>
                    </a:cubicBezTo>
                    <a:cubicBezTo>
                      <a:pt x="13821" y="9044"/>
                      <a:pt x="13821" y="4805"/>
                      <a:pt x="13821" y="0"/>
                    </a:cubicBezTo>
                    <a:lnTo>
                      <a:pt x="54154" y="0"/>
                    </a:lnTo>
                    <a:lnTo>
                      <a:pt x="54154" y="48613"/>
                    </a:lnTo>
                    <a:lnTo>
                      <a:pt x="63462" y="48613"/>
                    </a:lnTo>
                    <a:lnTo>
                      <a:pt x="63462" y="73768"/>
                    </a:lnTo>
                    <a:lnTo>
                      <a:pt x="54154" y="73768"/>
                    </a:lnTo>
                    <a:lnTo>
                      <a:pt x="54154" y="57657"/>
                    </a:lnTo>
                    <a:lnTo>
                      <a:pt x="9308" y="57657"/>
                    </a:lnTo>
                    <a:lnTo>
                      <a:pt x="9308" y="73768"/>
                    </a:lnTo>
                    <a:lnTo>
                      <a:pt x="0" y="73768"/>
                    </a:lnTo>
                    <a:lnTo>
                      <a:pt x="0" y="48613"/>
                    </a:lnTo>
                    <a:close/>
                  </a:path>
                </a:pathLst>
              </a:custGeom>
              <a:solidFill>
                <a:srgbClr val="7F8183"/>
              </a:solidFill>
              <a:ln w="2790" cap="flat">
                <a:noFill/>
                <a:prstDash val="solid"/>
                <a:miter/>
              </a:ln>
            </p:spPr>
            <p:txBody>
              <a:bodyPr rtlCol="0" anchor="ctr"/>
              <a:lstStyle/>
              <a:p>
                <a:endParaRPr lang="x-none" sz="1905"/>
              </a:p>
            </p:txBody>
          </p:sp>
          <p:sp>
            <p:nvSpPr>
              <p:cNvPr id="52" name="Freeform 51">
                <a:extLst>
                  <a:ext uri="{FF2B5EF4-FFF2-40B4-BE49-F238E27FC236}">
                    <a16:creationId xmlns:a16="http://schemas.microsoft.com/office/drawing/2014/main" id="{85F68474-1C77-FC4A-A55B-D80FB770F4C3}"/>
                  </a:ext>
                </a:extLst>
              </p:cNvPr>
              <p:cNvSpPr/>
              <p:nvPr/>
            </p:nvSpPr>
            <p:spPr>
              <a:xfrm>
                <a:off x="1522978" y="5935383"/>
                <a:ext cx="55564" cy="80833"/>
              </a:xfrm>
              <a:custGeom>
                <a:avLst/>
                <a:gdLst>
                  <a:gd name="connsiteX0" fmla="*/ 29615 w 55564"/>
                  <a:gd name="connsiteY0" fmla="*/ 66419 h 80833"/>
                  <a:gd name="connsiteX1" fmla="*/ 22000 w 55564"/>
                  <a:gd name="connsiteY1" fmla="*/ 77724 h 80833"/>
                  <a:gd name="connsiteX2" fmla="*/ 11282 w 55564"/>
                  <a:gd name="connsiteY2" fmla="*/ 80833 h 80833"/>
                  <a:gd name="connsiteX3" fmla="*/ 5923 w 55564"/>
                  <a:gd name="connsiteY3" fmla="*/ 80833 h 80833"/>
                  <a:gd name="connsiteX4" fmla="*/ 5923 w 55564"/>
                  <a:gd name="connsiteY4" fmla="*/ 71789 h 80833"/>
                  <a:gd name="connsiteX5" fmla="*/ 9590 w 55564"/>
                  <a:gd name="connsiteY5" fmla="*/ 71789 h 80833"/>
                  <a:gd name="connsiteX6" fmla="*/ 16641 w 55564"/>
                  <a:gd name="connsiteY6" fmla="*/ 70093 h 80833"/>
                  <a:gd name="connsiteX7" fmla="*/ 21436 w 55564"/>
                  <a:gd name="connsiteY7" fmla="*/ 63310 h 80833"/>
                  <a:gd name="connsiteX8" fmla="*/ 23974 w 55564"/>
                  <a:gd name="connsiteY8" fmla="*/ 57092 h 80833"/>
                  <a:gd name="connsiteX9" fmla="*/ 0 w 55564"/>
                  <a:gd name="connsiteY9" fmla="*/ 0 h 80833"/>
                  <a:gd name="connsiteX10" fmla="*/ 10436 w 55564"/>
                  <a:gd name="connsiteY10" fmla="*/ 0 h 80833"/>
                  <a:gd name="connsiteX11" fmla="*/ 29051 w 55564"/>
                  <a:gd name="connsiteY11" fmla="*/ 45504 h 80833"/>
                  <a:gd name="connsiteX12" fmla="*/ 45692 w 55564"/>
                  <a:gd name="connsiteY12" fmla="*/ 0 h 80833"/>
                  <a:gd name="connsiteX13" fmla="*/ 55564 w 55564"/>
                  <a:gd name="connsiteY13" fmla="*/ 0 h 80833"/>
                  <a:gd name="connsiteX14" fmla="*/ 29615 w 55564"/>
                  <a:gd name="connsiteY14" fmla="*/ 66419 h 8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564" h="80833">
                    <a:moveTo>
                      <a:pt x="29615" y="66419"/>
                    </a:moveTo>
                    <a:cubicBezTo>
                      <a:pt x="27359" y="71789"/>
                      <a:pt x="25103" y="75746"/>
                      <a:pt x="22000" y="77724"/>
                    </a:cubicBezTo>
                    <a:cubicBezTo>
                      <a:pt x="19180" y="79986"/>
                      <a:pt x="15513" y="80833"/>
                      <a:pt x="11282" y="80833"/>
                    </a:cubicBezTo>
                    <a:lnTo>
                      <a:pt x="5923" y="80833"/>
                    </a:lnTo>
                    <a:lnTo>
                      <a:pt x="5923" y="71789"/>
                    </a:lnTo>
                    <a:lnTo>
                      <a:pt x="9590" y="71789"/>
                    </a:lnTo>
                    <a:cubicBezTo>
                      <a:pt x="12410" y="71789"/>
                      <a:pt x="14667" y="71224"/>
                      <a:pt x="16641" y="70093"/>
                    </a:cubicBezTo>
                    <a:cubicBezTo>
                      <a:pt x="18615" y="68963"/>
                      <a:pt x="20308" y="66702"/>
                      <a:pt x="21436" y="63310"/>
                    </a:cubicBezTo>
                    <a:lnTo>
                      <a:pt x="23974" y="57092"/>
                    </a:lnTo>
                    <a:lnTo>
                      <a:pt x="0" y="0"/>
                    </a:lnTo>
                    <a:lnTo>
                      <a:pt x="10436" y="0"/>
                    </a:lnTo>
                    <a:lnTo>
                      <a:pt x="29051" y="45504"/>
                    </a:lnTo>
                    <a:lnTo>
                      <a:pt x="45692" y="0"/>
                    </a:lnTo>
                    <a:lnTo>
                      <a:pt x="55564" y="0"/>
                    </a:lnTo>
                    <a:lnTo>
                      <a:pt x="29615" y="66419"/>
                    </a:lnTo>
                    <a:close/>
                  </a:path>
                </a:pathLst>
              </a:custGeom>
              <a:solidFill>
                <a:srgbClr val="7F8183"/>
              </a:solidFill>
              <a:ln w="2790" cap="flat">
                <a:noFill/>
                <a:prstDash val="solid"/>
                <a:miter/>
              </a:ln>
            </p:spPr>
            <p:txBody>
              <a:bodyPr rtlCol="0" anchor="ctr"/>
              <a:lstStyle/>
              <a:p>
                <a:endParaRPr lang="x-none" sz="1905"/>
              </a:p>
            </p:txBody>
          </p:sp>
        </p:grpSp>
        <p:sp>
          <p:nvSpPr>
            <p:cNvPr id="34" name="Freeform 33">
              <a:extLst>
                <a:ext uri="{FF2B5EF4-FFF2-40B4-BE49-F238E27FC236}">
                  <a16:creationId xmlns:a16="http://schemas.microsoft.com/office/drawing/2014/main" id="{A397C7BE-F388-7D4A-9EC7-D85F3562CAB6}"/>
                </a:ext>
              </a:extLst>
            </p:cNvPr>
            <p:cNvSpPr/>
            <p:nvPr/>
          </p:nvSpPr>
          <p:spPr>
            <a:xfrm>
              <a:off x="1588414" y="5935383"/>
              <a:ext cx="66282" cy="57374"/>
            </a:xfrm>
            <a:custGeom>
              <a:avLst/>
              <a:gdLst>
                <a:gd name="connsiteX0" fmla="*/ 0 w 66282"/>
                <a:gd name="connsiteY0" fmla="*/ 57375 h 57374"/>
                <a:gd name="connsiteX1" fmla="*/ 0 w 66282"/>
                <a:gd name="connsiteY1" fmla="*/ 0 h 57374"/>
                <a:gd name="connsiteX2" fmla="*/ 14103 w 66282"/>
                <a:gd name="connsiteY2" fmla="*/ 0 h 57374"/>
                <a:gd name="connsiteX3" fmla="*/ 33282 w 66282"/>
                <a:gd name="connsiteY3" fmla="*/ 48048 h 57374"/>
                <a:gd name="connsiteX4" fmla="*/ 52744 w 66282"/>
                <a:gd name="connsiteY4" fmla="*/ 0 h 57374"/>
                <a:gd name="connsiteX5" fmla="*/ 66282 w 66282"/>
                <a:gd name="connsiteY5" fmla="*/ 0 h 57374"/>
                <a:gd name="connsiteX6" fmla="*/ 66282 w 66282"/>
                <a:gd name="connsiteY6" fmla="*/ 57375 h 57374"/>
                <a:gd name="connsiteX7" fmla="*/ 56974 w 66282"/>
                <a:gd name="connsiteY7" fmla="*/ 57375 h 57374"/>
                <a:gd name="connsiteX8" fmla="*/ 56974 w 66282"/>
                <a:gd name="connsiteY8" fmla="*/ 10457 h 57374"/>
                <a:gd name="connsiteX9" fmla="*/ 37795 w 66282"/>
                <a:gd name="connsiteY9" fmla="*/ 57375 h 57374"/>
                <a:gd name="connsiteX10" fmla="*/ 27923 w 66282"/>
                <a:gd name="connsiteY10" fmla="*/ 57375 h 57374"/>
                <a:gd name="connsiteX11" fmla="*/ 8744 w 66282"/>
                <a:gd name="connsiteY11" fmla="*/ 10457 h 57374"/>
                <a:gd name="connsiteX12" fmla="*/ 8744 w 66282"/>
                <a:gd name="connsiteY12"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282" h="57374">
                  <a:moveTo>
                    <a:pt x="0" y="57375"/>
                  </a:moveTo>
                  <a:lnTo>
                    <a:pt x="0" y="0"/>
                  </a:lnTo>
                  <a:lnTo>
                    <a:pt x="14103" y="0"/>
                  </a:lnTo>
                  <a:lnTo>
                    <a:pt x="33282" y="48048"/>
                  </a:lnTo>
                  <a:lnTo>
                    <a:pt x="52744" y="0"/>
                  </a:lnTo>
                  <a:lnTo>
                    <a:pt x="66282" y="0"/>
                  </a:lnTo>
                  <a:lnTo>
                    <a:pt x="66282" y="57375"/>
                  </a:lnTo>
                  <a:lnTo>
                    <a:pt x="56974" y="57375"/>
                  </a:lnTo>
                  <a:lnTo>
                    <a:pt x="56974" y="10457"/>
                  </a:lnTo>
                  <a:lnTo>
                    <a:pt x="37795" y="57375"/>
                  </a:lnTo>
                  <a:lnTo>
                    <a:pt x="27923" y="57375"/>
                  </a:lnTo>
                  <a:lnTo>
                    <a:pt x="8744" y="10457"/>
                  </a:lnTo>
                  <a:lnTo>
                    <a:pt x="8744" y="57375"/>
                  </a:lnTo>
                  <a:close/>
                </a:path>
              </a:pathLst>
            </a:custGeom>
            <a:solidFill>
              <a:srgbClr val="7F8183"/>
            </a:solidFill>
            <a:ln w="2790" cap="flat">
              <a:noFill/>
              <a:prstDash val="solid"/>
              <a:miter/>
            </a:ln>
          </p:spPr>
          <p:txBody>
            <a:bodyPr rtlCol="0" anchor="ctr"/>
            <a:lstStyle/>
            <a:p>
              <a:endParaRPr lang="x-none" sz="1905"/>
            </a:p>
          </p:txBody>
        </p:sp>
        <p:sp>
          <p:nvSpPr>
            <p:cNvPr id="35" name="Freeform 34">
              <a:extLst>
                <a:ext uri="{FF2B5EF4-FFF2-40B4-BE49-F238E27FC236}">
                  <a16:creationId xmlns:a16="http://schemas.microsoft.com/office/drawing/2014/main" id="{C5DAA932-1209-AA4C-BCA7-A81CC2B627CA}"/>
                </a:ext>
              </a:extLst>
            </p:cNvPr>
            <p:cNvSpPr/>
            <p:nvPr/>
          </p:nvSpPr>
          <p:spPr>
            <a:xfrm>
              <a:off x="1669926" y="5934253"/>
              <a:ext cx="46820" cy="59635"/>
            </a:xfrm>
            <a:custGeom>
              <a:avLst/>
              <a:gdLst>
                <a:gd name="connsiteX0" fmla="*/ 37513 w 46820"/>
                <a:gd name="connsiteY0" fmla="*/ 33068 h 59635"/>
                <a:gd name="connsiteX1" fmla="*/ 29897 w 46820"/>
                <a:gd name="connsiteY1" fmla="*/ 33068 h 59635"/>
                <a:gd name="connsiteX2" fmla="*/ 21718 w 46820"/>
                <a:gd name="connsiteY2" fmla="*/ 33068 h 59635"/>
                <a:gd name="connsiteX3" fmla="*/ 12692 w 46820"/>
                <a:gd name="connsiteY3" fmla="*/ 35612 h 59635"/>
                <a:gd name="connsiteX4" fmla="*/ 9590 w 46820"/>
                <a:gd name="connsiteY4" fmla="*/ 42395 h 59635"/>
                <a:gd name="connsiteX5" fmla="*/ 12410 w 46820"/>
                <a:gd name="connsiteY5" fmla="*/ 48896 h 59635"/>
                <a:gd name="connsiteX6" fmla="*/ 20308 w 46820"/>
                <a:gd name="connsiteY6" fmla="*/ 51439 h 59635"/>
                <a:gd name="connsiteX7" fmla="*/ 32436 w 46820"/>
                <a:gd name="connsiteY7" fmla="*/ 47765 h 59635"/>
                <a:gd name="connsiteX8" fmla="*/ 37513 w 46820"/>
                <a:gd name="connsiteY8" fmla="*/ 38438 h 59635"/>
                <a:gd name="connsiteX9" fmla="*/ 37513 w 46820"/>
                <a:gd name="connsiteY9" fmla="*/ 33068 h 59635"/>
                <a:gd name="connsiteX10" fmla="*/ 38077 w 46820"/>
                <a:gd name="connsiteY10" fmla="*/ 58505 h 59635"/>
                <a:gd name="connsiteX11" fmla="*/ 38077 w 46820"/>
                <a:gd name="connsiteY11" fmla="*/ 51722 h 59635"/>
                <a:gd name="connsiteX12" fmla="*/ 30744 w 46820"/>
                <a:gd name="connsiteY12" fmla="*/ 57375 h 59635"/>
                <a:gd name="connsiteX13" fmla="*/ 20026 w 46820"/>
                <a:gd name="connsiteY13" fmla="*/ 59636 h 59635"/>
                <a:gd name="connsiteX14" fmla="*/ 5359 w 46820"/>
                <a:gd name="connsiteY14" fmla="*/ 55114 h 59635"/>
                <a:gd name="connsiteX15" fmla="*/ 0 w 46820"/>
                <a:gd name="connsiteY15" fmla="*/ 42678 h 59635"/>
                <a:gd name="connsiteX16" fmla="*/ 5923 w 46820"/>
                <a:gd name="connsiteY16" fmla="*/ 29677 h 59635"/>
                <a:gd name="connsiteX17" fmla="*/ 21718 w 46820"/>
                <a:gd name="connsiteY17" fmla="*/ 25437 h 59635"/>
                <a:gd name="connsiteX18" fmla="*/ 29897 w 46820"/>
                <a:gd name="connsiteY18" fmla="*/ 25437 h 59635"/>
                <a:gd name="connsiteX19" fmla="*/ 37513 w 46820"/>
                <a:gd name="connsiteY19" fmla="*/ 25720 h 59635"/>
                <a:gd name="connsiteX20" fmla="*/ 37513 w 46820"/>
                <a:gd name="connsiteY20" fmla="*/ 20632 h 59635"/>
                <a:gd name="connsiteX21" fmla="*/ 33846 w 46820"/>
                <a:gd name="connsiteY21" fmla="*/ 11588 h 59635"/>
                <a:gd name="connsiteX22" fmla="*/ 24821 w 46820"/>
                <a:gd name="connsiteY22" fmla="*/ 8762 h 59635"/>
                <a:gd name="connsiteX23" fmla="*/ 15513 w 46820"/>
                <a:gd name="connsiteY23" fmla="*/ 11871 h 59635"/>
                <a:gd name="connsiteX24" fmla="*/ 11000 w 46820"/>
                <a:gd name="connsiteY24" fmla="*/ 19219 h 59635"/>
                <a:gd name="connsiteX25" fmla="*/ 1974 w 46820"/>
                <a:gd name="connsiteY25" fmla="*/ 17241 h 59635"/>
                <a:gd name="connsiteX26" fmla="*/ 9590 w 46820"/>
                <a:gd name="connsiteY26" fmla="*/ 4805 h 59635"/>
                <a:gd name="connsiteX27" fmla="*/ 24821 w 46820"/>
                <a:gd name="connsiteY27" fmla="*/ 0 h 59635"/>
                <a:gd name="connsiteX28" fmla="*/ 40615 w 46820"/>
                <a:gd name="connsiteY28" fmla="*/ 4805 h 59635"/>
                <a:gd name="connsiteX29" fmla="*/ 46821 w 46820"/>
                <a:gd name="connsiteY29" fmla="*/ 20067 h 59635"/>
                <a:gd name="connsiteX30" fmla="*/ 46821 w 46820"/>
                <a:gd name="connsiteY30" fmla="*/ 58505 h 59635"/>
                <a:gd name="connsiteX31" fmla="*/ 38077 w 46820"/>
                <a:gd name="connsiteY31" fmla="*/ 58505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820" h="59635">
                  <a:moveTo>
                    <a:pt x="37513" y="33068"/>
                  </a:moveTo>
                  <a:cubicBezTo>
                    <a:pt x="35256" y="33068"/>
                    <a:pt x="32718" y="33068"/>
                    <a:pt x="29897" y="33068"/>
                  </a:cubicBezTo>
                  <a:cubicBezTo>
                    <a:pt x="27359" y="33068"/>
                    <a:pt x="24538" y="33068"/>
                    <a:pt x="21718" y="33068"/>
                  </a:cubicBezTo>
                  <a:cubicBezTo>
                    <a:pt x="17769" y="33351"/>
                    <a:pt x="14667" y="34199"/>
                    <a:pt x="12692" y="35612"/>
                  </a:cubicBezTo>
                  <a:cubicBezTo>
                    <a:pt x="10718" y="37308"/>
                    <a:pt x="9590" y="39569"/>
                    <a:pt x="9590" y="42395"/>
                  </a:cubicBezTo>
                  <a:cubicBezTo>
                    <a:pt x="9590" y="45222"/>
                    <a:pt x="10436" y="47200"/>
                    <a:pt x="12410" y="48896"/>
                  </a:cubicBezTo>
                  <a:cubicBezTo>
                    <a:pt x="14385" y="50592"/>
                    <a:pt x="16923" y="51439"/>
                    <a:pt x="20308" y="51439"/>
                  </a:cubicBezTo>
                  <a:cubicBezTo>
                    <a:pt x="25103" y="51439"/>
                    <a:pt x="29051" y="50309"/>
                    <a:pt x="32436" y="47765"/>
                  </a:cubicBezTo>
                  <a:cubicBezTo>
                    <a:pt x="35821" y="45504"/>
                    <a:pt x="37513" y="42395"/>
                    <a:pt x="37513" y="38438"/>
                  </a:cubicBezTo>
                  <a:lnTo>
                    <a:pt x="37513" y="33068"/>
                  </a:lnTo>
                  <a:close/>
                  <a:moveTo>
                    <a:pt x="38077" y="58505"/>
                  </a:moveTo>
                  <a:lnTo>
                    <a:pt x="38077" y="51722"/>
                  </a:lnTo>
                  <a:cubicBezTo>
                    <a:pt x="36385" y="53983"/>
                    <a:pt x="33846" y="55962"/>
                    <a:pt x="30744" y="57375"/>
                  </a:cubicBezTo>
                  <a:cubicBezTo>
                    <a:pt x="27641" y="58788"/>
                    <a:pt x="24256" y="59636"/>
                    <a:pt x="20026" y="59636"/>
                  </a:cubicBezTo>
                  <a:cubicBezTo>
                    <a:pt x="13821" y="59636"/>
                    <a:pt x="9026" y="58223"/>
                    <a:pt x="5359" y="55114"/>
                  </a:cubicBezTo>
                  <a:cubicBezTo>
                    <a:pt x="1692" y="52005"/>
                    <a:pt x="0" y="47765"/>
                    <a:pt x="0" y="42678"/>
                  </a:cubicBezTo>
                  <a:cubicBezTo>
                    <a:pt x="0" y="36742"/>
                    <a:pt x="1974" y="32503"/>
                    <a:pt x="5923" y="29677"/>
                  </a:cubicBezTo>
                  <a:cubicBezTo>
                    <a:pt x="9872" y="27133"/>
                    <a:pt x="14949" y="25437"/>
                    <a:pt x="21718" y="25437"/>
                  </a:cubicBezTo>
                  <a:cubicBezTo>
                    <a:pt x="24538" y="25437"/>
                    <a:pt x="27359" y="25437"/>
                    <a:pt x="29897" y="25437"/>
                  </a:cubicBezTo>
                  <a:cubicBezTo>
                    <a:pt x="32436" y="25437"/>
                    <a:pt x="34974" y="25437"/>
                    <a:pt x="37513" y="25720"/>
                  </a:cubicBezTo>
                  <a:lnTo>
                    <a:pt x="37513" y="20632"/>
                  </a:lnTo>
                  <a:cubicBezTo>
                    <a:pt x="37513" y="16393"/>
                    <a:pt x="36385" y="13284"/>
                    <a:pt x="33846" y="11588"/>
                  </a:cubicBezTo>
                  <a:cubicBezTo>
                    <a:pt x="31590" y="9610"/>
                    <a:pt x="28487" y="8762"/>
                    <a:pt x="24821" y="8762"/>
                  </a:cubicBezTo>
                  <a:cubicBezTo>
                    <a:pt x="20872" y="8762"/>
                    <a:pt x="17769" y="9892"/>
                    <a:pt x="15513" y="11871"/>
                  </a:cubicBezTo>
                  <a:cubicBezTo>
                    <a:pt x="13538" y="13849"/>
                    <a:pt x="11846" y="16393"/>
                    <a:pt x="11000" y="19219"/>
                  </a:cubicBezTo>
                  <a:lnTo>
                    <a:pt x="1974" y="17241"/>
                  </a:lnTo>
                  <a:cubicBezTo>
                    <a:pt x="3103" y="12153"/>
                    <a:pt x="5641" y="8196"/>
                    <a:pt x="9590" y="4805"/>
                  </a:cubicBezTo>
                  <a:cubicBezTo>
                    <a:pt x="13538" y="1696"/>
                    <a:pt x="18615" y="0"/>
                    <a:pt x="24821" y="0"/>
                  </a:cubicBezTo>
                  <a:cubicBezTo>
                    <a:pt x="31308" y="0"/>
                    <a:pt x="36667" y="1696"/>
                    <a:pt x="40615" y="4805"/>
                  </a:cubicBezTo>
                  <a:cubicBezTo>
                    <a:pt x="44846" y="8196"/>
                    <a:pt x="46821" y="13284"/>
                    <a:pt x="46821" y="20067"/>
                  </a:cubicBezTo>
                  <a:lnTo>
                    <a:pt x="46821" y="58505"/>
                  </a:lnTo>
                  <a:lnTo>
                    <a:pt x="38077" y="58505"/>
                  </a:lnTo>
                  <a:close/>
                </a:path>
              </a:pathLst>
            </a:custGeom>
            <a:solidFill>
              <a:srgbClr val="7F8183"/>
            </a:solidFill>
            <a:ln w="2790" cap="flat">
              <a:noFill/>
              <a:prstDash val="solid"/>
              <a:miter/>
            </a:ln>
          </p:spPr>
          <p:txBody>
            <a:bodyPr rtlCol="0" anchor="ctr"/>
            <a:lstStyle/>
            <a:p>
              <a:endParaRPr lang="x-none" sz="1905"/>
            </a:p>
          </p:txBody>
        </p:sp>
        <p:sp>
          <p:nvSpPr>
            <p:cNvPr id="36" name="Freeform 35">
              <a:extLst>
                <a:ext uri="{FF2B5EF4-FFF2-40B4-BE49-F238E27FC236}">
                  <a16:creationId xmlns:a16="http://schemas.microsoft.com/office/drawing/2014/main" id="{33B05C48-04C5-AB40-8AA6-D709FA4E3EBE}"/>
                </a:ext>
              </a:extLst>
            </p:cNvPr>
            <p:cNvSpPr/>
            <p:nvPr/>
          </p:nvSpPr>
          <p:spPr>
            <a:xfrm>
              <a:off x="1734234" y="5935383"/>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37" name="Freeform 36">
              <a:extLst>
                <a:ext uri="{FF2B5EF4-FFF2-40B4-BE49-F238E27FC236}">
                  <a16:creationId xmlns:a16="http://schemas.microsoft.com/office/drawing/2014/main" id="{9F6D605A-1F55-E447-831C-1BDAD4AA188C}"/>
                </a:ext>
              </a:extLst>
            </p:cNvPr>
            <p:cNvSpPr/>
            <p:nvPr/>
          </p:nvSpPr>
          <p:spPr>
            <a:xfrm>
              <a:off x="1801362" y="5935383"/>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38" name="Freeform 37">
              <a:extLst>
                <a:ext uri="{FF2B5EF4-FFF2-40B4-BE49-F238E27FC236}">
                  <a16:creationId xmlns:a16="http://schemas.microsoft.com/office/drawing/2014/main" id="{91FC9B31-E37F-BE4B-A0BF-EE73657BE81F}"/>
                </a:ext>
              </a:extLst>
            </p:cNvPr>
            <p:cNvSpPr/>
            <p:nvPr/>
          </p:nvSpPr>
          <p:spPr>
            <a:xfrm>
              <a:off x="1868491" y="5935383"/>
              <a:ext cx="62333" cy="57374"/>
            </a:xfrm>
            <a:custGeom>
              <a:avLst/>
              <a:gdLst>
                <a:gd name="connsiteX0" fmla="*/ 52744 w 62333"/>
                <a:gd name="connsiteY0" fmla="*/ 0 h 57374"/>
                <a:gd name="connsiteX1" fmla="*/ 62333 w 62333"/>
                <a:gd name="connsiteY1" fmla="*/ 0 h 57374"/>
                <a:gd name="connsiteX2" fmla="*/ 62333 w 62333"/>
                <a:gd name="connsiteY2" fmla="*/ 57375 h 57374"/>
                <a:gd name="connsiteX3" fmla="*/ 52744 w 62333"/>
                <a:gd name="connsiteY3" fmla="*/ 57375 h 57374"/>
                <a:gd name="connsiteX4" fmla="*/ 52744 w 62333"/>
                <a:gd name="connsiteY4" fmla="*/ 0 h 57374"/>
                <a:gd name="connsiteX5" fmla="*/ 24256 w 62333"/>
                <a:gd name="connsiteY5" fmla="*/ 28546 h 57374"/>
                <a:gd name="connsiteX6" fmla="*/ 9590 w 62333"/>
                <a:gd name="connsiteY6" fmla="*/ 28546 h 57374"/>
                <a:gd name="connsiteX7" fmla="*/ 9590 w 62333"/>
                <a:gd name="connsiteY7" fmla="*/ 48896 h 57374"/>
                <a:gd name="connsiteX8" fmla="*/ 24256 w 62333"/>
                <a:gd name="connsiteY8" fmla="*/ 48896 h 57374"/>
                <a:gd name="connsiteX9" fmla="*/ 33000 w 62333"/>
                <a:gd name="connsiteY9" fmla="*/ 46069 h 57374"/>
                <a:gd name="connsiteX10" fmla="*/ 35256 w 62333"/>
                <a:gd name="connsiteY10" fmla="*/ 38438 h 57374"/>
                <a:gd name="connsiteX11" fmla="*/ 33000 w 62333"/>
                <a:gd name="connsiteY11" fmla="*/ 31090 h 57374"/>
                <a:gd name="connsiteX12" fmla="*/ 24256 w 62333"/>
                <a:gd name="connsiteY12" fmla="*/ 28546 h 57374"/>
                <a:gd name="connsiteX13" fmla="*/ 0 w 62333"/>
                <a:gd name="connsiteY13" fmla="*/ 57375 h 57374"/>
                <a:gd name="connsiteX14" fmla="*/ 0 w 62333"/>
                <a:gd name="connsiteY14" fmla="*/ 0 h 57374"/>
                <a:gd name="connsiteX15" fmla="*/ 9590 w 62333"/>
                <a:gd name="connsiteY15" fmla="*/ 0 h 57374"/>
                <a:gd name="connsiteX16" fmla="*/ 9590 w 62333"/>
                <a:gd name="connsiteY16" fmla="*/ 19784 h 57374"/>
                <a:gd name="connsiteX17" fmla="*/ 24256 w 62333"/>
                <a:gd name="connsiteY17" fmla="*/ 19784 h 57374"/>
                <a:gd name="connsiteX18" fmla="*/ 39205 w 62333"/>
                <a:gd name="connsiteY18" fmla="*/ 24589 h 57374"/>
                <a:gd name="connsiteX19" fmla="*/ 44282 w 62333"/>
                <a:gd name="connsiteY19" fmla="*/ 38156 h 57374"/>
                <a:gd name="connsiteX20" fmla="*/ 39205 w 62333"/>
                <a:gd name="connsiteY20" fmla="*/ 52287 h 57374"/>
                <a:gd name="connsiteX21" fmla="*/ 23974 w 62333"/>
                <a:gd name="connsiteY21" fmla="*/ 57375 h 57374"/>
                <a:gd name="connsiteX22" fmla="*/ 0 w 62333"/>
                <a:gd name="connsiteY22"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333" h="57374">
                  <a:moveTo>
                    <a:pt x="52744" y="0"/>
                  </a:moveTo>
                  <a:lnTo>
                    <a:pt x="62333" y="0"/>
                  </a:lnTo>
                  <a:lnTo>
                    <a:pt x="62333" y="57375"/>
                  </a:lnTo>
                  <a:lnTo>
                    <a:pt x="52744" y="57375"/>
                  </a:lnTo>
                  <a:lnTo>
                    <a:pt x="52744" y="0"/>
                  </a:lnTo>
                  <a:close/>
                  <a:moveTo>
                    <a:pt x="24256" y="28546"/>
                  </a:moveTo>
                  <a:lnTo>
                    <a:pt x="9590" y="28546"/>
                  </a:lnTo>
                  <a:lnTo>
                    <a:pt x="9590" y="48896"/>
                  </a:lnTo>
                  <a:lnTo>
                    <a:pt x="24256" y="48896"/>
                  </a:lnTo>
                  <a:cubicBezTo>
                    <a:pt x="28487" y="48896"/>
                    <a:pt x="31590" y="47765"/>
                    <a:pt x="33000" y="46069"/>
                  </a:cubicBezTo>
                  <a:cubicBezTo>
                    <a:pt x="34692" y="44091"/>
                    <a:pt x="35256" y="41547"/>
                    <a:pt x="35256" y="38438"/>
                  </a:cubicBezTo>
                  <a:cubicBezTo>
                    <a:pt x="35256" y="35329"/>
                    <a:pt x="34410" y="32786"/>
                    <a:pt x="33000" y="31090"/>
                  </a:cubicBezTo>
                  <a:cubicBezTo>
                    <a:pt x="31590" y="29394"/>
                    <a:pt x="28769" y="28546"/>
                    <a:pt x="24256" y="28546"/>
                  </a:cubicBezTo>
                  <a:moveTo>
                    <a:pt x="0" y="57375"/>
                  </a:moveTo>
                  <a:lnTo>
                    <a:pt x="0" y="0"/>
                  </a:lnTo>
                  <a:lnTo>
                    <a:pt x="9590" y="0"/>
                  </a:lnTo>
                  <a:lnTo>
                    <a:pt x="9590" y="19784"/>
                  </a:lnTo>
                  <a:lnTo>
                    <a:pt x="24256" y="19784"/>
                  </a:lnTo>
                  <a:cubicBezTo>
                    <a:pt x="30744" y="19784"/>
                    <a:pt x="35821" y="21480"/>
                    <a:pt x="39205" y="24589"/>
                  </a:cubicBezTo>
                  <a:cubicBezTo>
                    <a:pt x="42590" y="27698"/>
                    <a:pt x="44282" y="32220"/>
                    <a:pt x="44282" y="38156"/>
                  </a:cubicBezTo>
                  <a:cubicBezTo>
                    <a:pt x="44282" y="44091"/>
                    <a:pt x="42590" y="48896"/>
                    <a:pt x="39205" y="52287"/>
                  </a:cubicBezTo>
                  <a:cubicBezTo>
                    <a:pt x="35821" y="55679"/>
                    <a:pt x="30744" y="57375"/>
                    <a:pt x="23974" y="57375"/>
                  </a:cubicBezTo>
                  <a:lnTo>
                    <a:pt x="0" y="57375"/>
                  </a:lnTo>
                  <a:close/>
                </a:path>
              </a:pathLst>
            </a:custGeom>
            <a:solidFill>
              <a:srgbClr val="7F8183"/>
            </a:solidFill>
            <a:ln w="2790" cap="flat">
              <a:noFill/>
              <a:prstDash val="solid"/>
              <a:miter/>
            </a:ln>
          </p:spPr>
          <p:txBody>
            <a:bodyPr rtlCol="0" anchor="ctr"/>
            <a:lstStyle/>
            <a:p>
              <a:endParaRPr lang="x-none" sz="1905"/>
            </a:p>
          </p:txBody>
        </p:sp>
        <p:sp>
          <p:nvSpPr>
            <p:cNvPr id="39" name="Freeform 38">
              <a:extLst>
                <a:ext uri="{FF2B5EF4-FFF2-40B4-BE49-F238E27FC236}">
                  <a16:creationId xmlns:a16="http://schemas.microsoft.com/office/drawing/2014/main" id="{BD78A59F-65ED-154F-9BB0-F3D1A7A2D934}"/>
                </a:ext>
              </a:extLst>
            </p:cNvPr>
            <p:cNvSpPr/>
            <p:nvPr/>
          </p:nvSpPr>
          <p:spPr>
            <a:xfrm>
              <a:off x="1941542" y="5935383"/>
              <a:ext cx="54435" cy="57374"/>
            </a:xfrm>
            <a:custGeom>
              <a:avLst/>
              <a:gdLst>
                <a:gd name="connsiteX0" fmla="*/ 42872 w 54435"/>
                <a:gd name="connsiteY0" fmla="*/ 57375 h 57374"/>
                <a:gd name="connsiteX1" fmla="*/ 26795 w 54435"/>
                <a:gd name="connsiteY1" fmla="*/ 34481 h 57374"/>
                <a:gd name="connsiteX2" fmla="*/ 11282 w 54435"/>
                <a:gd name="connsiteY2" fmla="*/ 57375 h 57374"/>
                <a:gd name="connsiteX3" fmla="*/ 0 w 54435"/>
                <a:gd name="connsiteY3" fmla="*/ 57375 h 57374"/>
                <a:gd name="connsiteX4" fmla="*/ 21154 w 54435"/>
                <a:gd name="connsiteY4" fmla="*/ 27981 h 57374"/>
                <a:gd name="connsiteX5" fmla="*/ 1410 w 54435"/>
                <a:gd name="connsiteY5" fmla="*/ 0 h 57374"/>
                <a:gd name="connsiteX6" fmla="*/ 12410 w 54435"/>
                <a:gd name="connsiteY6" fmla="*/ 0 h 57374"/>
                <a:gd name="connsiteX7" fmla="*/ 26795 w 54435"/>
                <a:gd name="connsiteY7" fmla="*/ 21198 h 57374"/>
                <a:gd name="connsiteX8" fmla="*/ 41462 w 54435"/>
                <a:gd name="connsiteY8" fmla="*/ 0 h 57374"/>
                <a:gd name="connsiteX9" fmla="*/ 52462 w 54435"/>
                <a:gd name="connsiteY9" fmla="*/ 0 h 57374"/>
                <a:gd name="connsiteX10" fmla="*/ 32436 w 54435"/>
                <a:gd name="connsiteY10" fmla="*/ 27416 h 57374"/>
                <a:gd name="connsiteX11" fmla="*/ 54436 w 54435"/>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35" h="57374">
                  <a:moveTo>
                    <a:pt x="42872" y="57375"/>
                  </a:moveTo>
                  <a:lnTo>
                    <a:pt x="26795" y="34481"/>
                  </a:lnTo>
                  <a:lnTo>
                    <a:pt x="11282" y="57375"/>
                  </a:lnTo>
                  <a:lnTo>
                    <a:pt x="0" y="57375"/>
                  </a:lnTo>
                  <a:lnTo>
                    <a:pt x="21154" y="27981"/>
                  </a:lnTo>
                  <a:lnTo>
                    <a:pt x="1410" y="0"/>
                  </a:lnTo>
                  <a:lnTo>
                    <a:pt x="12410" y="0"/>
                  </a:lnTo>
                  <a:lnTo>
                    <a:pt x="26795" y="21198"/>
                  </a:lnTo>
                  <a:lnTo>
                    <a:pt x="41462" y="0"/>
                  </a:lnTo>
                  <a:lnTo>
                    <a:pt x="52462" y="0"/>
                  </a:lnTo>
                  <a:lnTo>
                    <a:pt x="32436" y="27416"/>
                  </a:lnTo>
                  <a:lnTo>
                    <a:pt x="54436" y="57375"/>
                  </a:lnTo>
                  <a:close/>
                </a:path>
              </a:pathLst>
            </a:custGeom>
            <a:solidFill>
              <a:srgbClr val="7F8183"/>
            </a:solidFill>
            <a:ln w="2790" cap="flat">
              <a:noFill/>
              <a:prstDash val="solid"/>
              <a:miter/>
            </a:ln>
          </p:spPr>
          <p:txBody>
            <a:bodyPr rtlCol="0" anchor="ctr"/>
            <a:lstStyle/>
            <a:p>
              <a:endParaRPr lang="x-none" sz="1905"/>
            </a:p>
          </p:txBody>
        </p:sp>
        <p:grpSp>
          <p:nvGrpSpPr>
            <p:cNvPr id="40" name="Graphic 13">
              <a:extLst>
                <a:ext uri="{FF2B5EF4-FFF2-40B4-BE49-F238E27FC236}">
                  <a16:creationId xmlns:a16="http://schemas.microsoft.com/office/drawing/2014/main" id="{A3412EFB-25E5-F24C-9AA5-A8B3CDCDE57F}"/>
                </a:ext>
              </a:extLst>
            </p:cNvPr>
            <p:cNvGrpSpPr/>
            <p:nvPr/>
          </p:nvGrpSpPr>
          <p:grpSpPr>
            <a:xfrm>
              <a:off x="1266593" y="6057199"/>
              <a:ext cx="116205" cy="82246"/>
              <a:chOff x="1266593" y="6057199"/>
              <a:chExt cx="116205" cy="82246"/>
            </a:xfrm>
            <a:solidFill>
              <a:srgbClr val="CFD4D9"/>
            </a:solidFill>
          </p:grpSpPr>
          <p:sp>
            <p:nvSpPr>
              <p:cNvPr id="47" name="Freeform 46">
                <a:extLst>
                  <a:ext uri="{FF2B5EF4-FFF2-40B4-BE49-F238E27FC236}">
                    <a16:creationId xmlns:a16="http://schemas.microsoft.com/office/drawing/2014/main" id="{A54C67D7-4E2A-194D-8C27-C5B336C4882D}"/>
                  </a:ext>
                </a:extLst>
              </p:cNvPr>
              <p:cNvSpPr/>
              <p:nvPr/>
            </p:nvSpPr>
            <p:spPr>
              <a:xfrm>
                <a:off x="1266593" y="6057199"/>
                <a:ext cx="54153" cy="82246"/>
              </a:xfrm>
              <a:custGeom>
                <a:avLst/>
                <a:gdLst>
                  <a:gd name="connsiteX0" fmla="*/ 9308 w 54153"/>
                  <a:gd name="connsiteY0" fmla="*/ 34764 h 82246"/>
                  <a:gd name="connsiteX1" fmla="*/ 14667 w 54153"/>
                  <a:gd name="connsiteY1" fmla="*/ 46917 h 82246"/>
                  <a:gd name="connsiteX2" fmla="*/ 27359 w 54153"/>
                  <a:gd name="connsiteY2" fmla="*/ 51439 h 82246"/>
                  <a:gd name="connsiteX3" fmla="*/ 39769 w 54153"/>
                  <a:gd name="connsiteY3" fmla="*/ 45504 h 82246"/>
                  <a:gd name="connsiteX4" fmla="*/ 44282 w 54153"/>
                  <a:gd name="connsiteY4" fmla="*/ 29677 h 82246"/>
                  <a:gd name="connsiteX5" fmla="*/ 39769 w 54153"/>
                  <a:gd name="connsiteY5" fmla="*/ 14414 h 82246"/>
                  <a:gd name="connsiteX6" fmla="*/ 27077 w 54153"/>
                  <a:gd name="connsiteY6" fmla="*/ 8479 h 82246"/>
                  <a:gd name="connsiteX7" fmla="*/ 20590 w 54153"/>
                  <a:gd name="connsiteY7" fmla="*/ 9610 h 82246"/>
                  <a:gd name="connsiteX8" fmla="*/ 14949 w 54153"/>
                  <a:gd name="connsiteY8" fmla="*/ 13284 h 82246"/>
                  <a:gd name="connsiteX9" fmla="*/ 11000 w 54153"/>
                  <a:gd name="connsiteY9" fmla="*/ 19219 h 82246"/>
                  <a:gd name="connsiteX10" fmla="*/ 9590 w 54153"/>
                  <a:gd name="connsiteY10" fmla="*/ 27416 h 82246"/>
                  <a:gd name="connsiteX11" fmla="*/ 9590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308" y="34764"/>
                    </a:moveTo>
                    <a:cubicBezTo>
                      <a:pt x="9308" y="40134"/>
                      <a:pt x="11000" y="44091"/>
                      <a:pt x="14667" y="46917"/>
                    </a:cubicBezTo>
                    <a:cubicBezTo>
                      <a:pt x="18333" y="49744"/>
                      <a:pt x="22564" y="51439"/>
                      <a:pt x="27359" y="51439"/>
                    </a:cubicBezTo>
                    <a:cubicBezTo>
                      <a:pt x="32718" y="51439"/>
                      <a:pt x="36667" y="49461"/>
                      <a:pt x="39769" y="45504"/>
                    </a:cubicBezTo>
                    <a:cubicBezTo>
                      <a:pt x="42872" y="41547"/>
                      <a:pt x="44282" y="36460"/>
                      <a:pt x="44282" y="29677"/>
                    </a:cubicBezTo>
                    <a:cubicBezTo>
                      <a:pt x="44282" y="23459"/>
                      <a:pt x="42872" y="18371"/>
                      <a:pt x="39769" y="14414"/>
                    </a:cubicBezTo>
                    <a:cubicBezTo>
                      <a:pt x="36667" y="10457"/>
                      <a:pt x="32436" y="8479"/>
                      <a:pt x="27077" y="8479"/>
                    </a:cubicBezTo>
                    <a:cubicBezTo>
                      <a:pt x="24821" y="8479"/>
                      <a:pt x="22564" y="8762"/>
                      <a:pt x="20590" y="9610"/>
                    </a:cubicBezTo>
                    <a:cubicBezTo>
                      <a:pt x="18615" y="10457"/>
                      <a:pt x="16641" y="11588"/>
                      <a:pt x="14949" y="13284"/>
                    </a:cubicBezTo>
                    <a:cubicBezTo>
                      <a:pt x="13256" y="14980"/>
                      <a:pt x="11846" y="16958"/>
                      <a:pt x="11000" y="19219"/>
                    </a:cubicBezTo>
                    <a:cubicBezTo>
                      <a:pt x="9872" y="21763"/>
                      <a:pt x="9590" y="24307"/>
                      <a:pt x="9590" y="27416"/>
                    </a:cubicBezTo>
                    <a:lnTo>
                      <a:pt x="9590" y="34764"/>
                    </a:lnTo>
                    <a:close/>
                    <a:moveTo>
                      <a:pt x="0" y="82247"/>
                    </a:moveTo>
                    <a:lnTo>
                      <a:pt x="0" y="1413"/>
                    </a:lnTo>
                    <a:lnTo>
                      <a:pt x="9590" y="1413"/>
                    </a:lnTo>
                    <a:lnTo>
                      <a:pt x="9590" y="9044"/>
                    </a:lnTo>
                    <a:cubicBezTo>
                      <a:pt x="11564" y="5935"/>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sp>
            <p:nvSpPr>
              <p:cNvPr id="48" name="Freeform 47">
                <a:extLst>
                  <a:ext uri="{FF2B5EF4-FFF2-40B4-BE49-F238E27FC236}">
                    <a16:creationId xmlns:a16="http://schemas.microsoft.com/office/drawing/2014/main" id="{E4D661F3-775B-484D-9B38-07EB41236708}"/>
                  </a:ext>
                </a:extLst>
              </p:cNvPr>
              <p:cNvSpPr/>
              <p:nvPr/>
            </p:nvSpPr>
            <p:spPr>
              <a:xfrm>
                <a:off x="1331465" y="6057764"/>
                <a:ext cx="51333" cy="59635"/>
              </a:xfrm>
              <a:custGeom>
                <a:avLst/>
                <a:gdLst>
                  <a:gd name="connsiteX0" fmla="*/ 26513 w 51333"/>
                  <a:gd name="connsiteY0" fmla="*/ 7914 h 59635"/>
                  <a:gd name="connsiteX1" fmla="*/ 15513 w 51333"/>
                  <a:gd name="connsiteY1" fmla="*/ 12153 h 59635"/>
                  <a:gd name="connsiteX2" fmla="*/ 9872 w 51333"/>
                  <a:gd name="connsiteY2" fmla="*/ 23176 h 59635"/>
                  <a:gd name="connsiteX3" fmla="*/ 42026 w 51333"/>
                  <a:gd name="connsiteY3" fmla="*/ 23176 h 59635"/>
                  <a:gd name="connsiteX4" fmla="*/ 38077 w 51333"/>
                  <a:gd name="connsiteY4" fmla="*/ 12153 h 59635"/>
                  <a:gd name="connsiteX5" fmla="*/ 26513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9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513" y="7914"/>
                    </a:moveTo>
                    <a:cubicBezTo>
                      <a:pt x="22000" y="7914"/>
                      <a:pt x="18333" y="9327"/>
                      <a:pt x="15513" y="12153"/>
                    </a:cubicBezTo>
                    <a:cubicBezTo>
                      <a:pt x="12410" y="14980"/>
                      <a:pt x="10718" y="18654"/>
                      <a:pt x="9872" y="23176"/>
                    </a:cubicBezTo>
                    <a:lnTo>
                      <a:pt x="42026" y="23176"/>
                    </a:lnTo>
                    <a:cubicBezTo>
                      <a:pt x="41744" y="18654"/>
                      <a:pt x="40333" y="14980"/>
                      <a:pt x="38077" y="12153"/>
                    </a:cubicBezTo>
                    <a:cubicBezTo>
                      <a:pt x="35256" y="9327"/>
                      <a:pt x="31590" y="7914"/>
                      <a:pt x="26513"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9"/>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grpSp>
        <p:sp>
          <p:nvSpPr>
            <p:cNvPr id="41" name="Freeform 40">
              <a:extLst>
                <a:ext uri="{FF2B5EF4-FFF2-40B4-BE49-F238E27FC236}">
                  <a16:creationId xmlns:a16="http://schemas.microsoft.com/office/drawing/2014/main" id="{662245DA-09BF-0D40-B5B8-6858F4AEEA37}"/>
                </a:ext>
              </a:extLst>
            </p:cNvPr>
            <p:cNvSpPr/>
            <p:nvPr/>
          </p:nvSpPr>
          <p:spPr>
            <a:xfrm>
              <a:off x="1396901" y="6058612"/>
              <a:ext cx="75307" cy="57374"/>
            </a:xfrm>
            <a:custGeom>
              <a:avLst/>
              <a:gdLst>
                <a:gd name="connsiteX0" fmla="*/ 75308 w 75307"/>
                <a:gd name="connsiteY0" fmla="*/ 0 h 57374"/>
                <a:gd name="connsiteX1" fmla="*/ 75308 w 75307"/>
                <a:gd name="connsiteY1" fmla="*/ 57375 h 57374"/>
                <a:gd name="connsiteX2" fmla="*/ 0 w 75307"/>
                <a:gd name="connsiteY2" fmla="*/ 57375 h 57374"/>
                <a:gd name="connsiteX3" fmla="*/ 0 w 75307"/>
                <a:gd name="connsiteY3" fmla="*/ 0 h 57374"/>
                <a:gd name="connsiteX4" fmla="*/ 9308 w 75307"/>
                <a:gd name="connsiteY4" fmla="*/ 0 h 57374"/>
                <a:gd name="connsiteX5" fmla="*/ 9308 w 75307"/>
                <a:gd name="connsiteY5" fmla="*/ 48613 h 57374"/>
                <a:gd name="connsiteX6" fmla="*/ 32718 w 75307"/>
                <a:gd name="connsiteY6" fmla="*/ 48613 h 57374"/>
                <a:gd name="connsiteX7" fmla="*/ 32718 w 75307"/>
                <a:gd name="connsiteY7" fmla="*/ 0 h 57374"/>
                <a:gd name="connsiteX8" fmla="*/ 42308 w 75307"/>
                <a:gd name="connsiteY8" fmla="*/ 0 h 57374"/>
                <a:gd name="connsiteX9" fmla="*/ 42308 w 75307"/>
                <a:gd name="connsiteY9" fmla="*/ 48613 h 57374"/>
                <a:gd name="connsiteX10" fmla="*/ 65718 w 75307"/>
                <a:gd name="connsiteY10" fmla="*/ 48613 h 57374"/>
                <a:gd name="connsiteX11" fmla="*/ 65718 w 75307"/>
                <a:gd name="connsiteY11" fmla="*/ 0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307" h="57374">
                  <a:moveTo>
                    <a:pt x="75308" y="0"/>
                  </a:moveTo>
                  <a:lnTo>
                    <a:pt x="75308" y="57375"/>
                  </a:lnTo>
                  <a:lnTo>
                    <a:pt x="0" y="57375"/>
                  </a:lnTo>
                  <a:lnTo>
                    <a:pt x="0" y="0"/>
                  </a:lnTo>
                  <a:lnTo>
                    <a:pt x="9308" y="0"/>
                  </a:lnTo>
                  <a:lnTo>
                    <a:pt x="9308" y="48613"/>
                  </a:lnTo>
                  <a:lnTo>
                    <a:pt x="32718" y="48613"/>
                  </a:lnTo>
                  <a:lnTo>
                    <a:pt x="32718" y="0"/>
                  </a:lnTo>
                  <a:lnTo>
                    <a:pt x="42308" y="0"/>
                  </a:lnTo>
                  <a:lnTo>
                    <a:pt x="42308" y="48613"/>
                  </a:lnTo>
                  <a:lnTo>
                    <a:pt x="65718" y="48613"/>
                  </a:lnTo>
                  <a:lnTo>
                    <a:pt x="65718" y="0"/>
                  </a:lnTo>
                  <a:close/>
                </a:path>
              </a:pathLst>
            </a:custGeom>
            <a:solidFill>
              <a:srgbClr val="7F8183"/>
            </a:solidFill>
            <a:ln w="2790" cap="flat">
              <a:noFill/>
              <a:prstDash val="solid"/>
              <a:miter/>
            </a:ln>
          </p:spPr>
          <p:txBody>
            <a:bodyPr rtlCol="0" anchor="ctr"/>
            <a:lstStyle/>
            <a:p>
              <a:endParaRPr lang="x-none" sz="1905"/>
            </a:p>
          </p:txBody>
        </p:sp>
        <p:sp>
          <p:nvSpPr>
            <p:cNvPr id="42" name="Freeform 41">
              <a:extLst>
                <a:ext uri="{FF2B5EF4-FFF2-40B4-BE49-F238E27FC236}">
                  <a16:creationId xmlns:a16="http://schemas.microsoft.com/office/drawing/2014/main" id="{8EE32939-128C-A04C-8F2B-03BD54544DBA}"/>
                </a:ext>
              </a:extLst>
            </p:cNvPr>
            <p:cNvSpPr/>
            <p:nvPr/>
          </p:nvSpPr>
          <p:spPr>
            <a:xfrm>
              <a:off x="1486311" y="6057764"/>
              <a:ext cx="51333" cy="59635"/>
            </a:xfrm>
            <a:custGeom>
              <a:avLst/>
              <a:gdLst>
                <a:gd name="connsiteX0" fmla="*/ 26513 w 51333"/>
                <a:gd name="connsiteY0" fmla="*/ 7914 h 59635"/>
                <a:gd name="connsiteX1" fmla="*/ 15513 w 51333"/>
                <a:gd name="connsiteY1" fmla="*/ 12153 h 59635"/>
                <a:gd name="connsiteX2" fmla="*/ 9872 w 51333"/>
                <a:gd name="connsiteY2" fmla="*/ 23176 h 59635"/>
                <a:gd name="connsiteX3" fmla="*/ 41744 w 51333"/>
                <a:gd name="connsiteY3" fmla="*/ 23176 h 59635"/>
                <a:gd name="connsiteX4" fmla="*/ 37795 w 51333"/>
                <a:gd name="connsiteY4" fmla="*/ 12153 h 59635"/>
                <a:gd name="connsiteX5" fmla="*/ 26513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9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513" y="7914"/>
                  </a:moveTo>
                  <a:cubicBezTo>
                    <a:pt x="22000" y="7914"/>
                    <a:pt x="18333" y="9327"/>
                    <a:pt x="15513" y="12153"/>
                  </a:cubicBezTo>
                  <a:cubicBezTo>
                    <a:pt x="12410" y="14980"/>
                    <a:pt x="10718" y="18654"/>
                    <a:pt x="9872" y="23176"/>
                  </a:cubicBezTo>
                  <a:lnTo>
                    <a:pt x="41744" y="23176"/>
                  </a:lnTo>
                  <a:cubicBezTo>
                    <a:pt x="41462" y="18654"/>
                    <a:pt x="40051" y="14980"/>
                    <a:pt x="37795" y="12153"/>
                  </a:cubicBezTo>
                  <a:cubicBezTo>
                    <a:pt x="35256" y="9327"/>
                    <a:pt x="31590" y="7914"/>
                    <a:pt x="26513"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9"/>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43" name="Freeform 42">
              <a:extLst>
                <a:ext uri="{FF2B5EF4-FFF2-40B4-BE49-F238E27FC236}">
                  <a16:creationId xmlns:a16="http://schemas.microsoft.com/office/drawing/2014/main" id="{96A39E2E-C03C-5343-AA11-E77BC8EC94E4}"/>
                </a:ext>
              </a:extLst>
            </p:cNvPr>
            <p:cNvSpPr/>
            <p:nvPr/>
          </p:nvSpPr>
          <p:spPr>
            <a:xfrm>
              <a:off x="1551747" y="6058612"/>
              <a:ext cx="49076" cy="57374"/>
            </a:xfrm>
            <a:custGeom>
              <a:avLst/>
              <a:gdLst>
                <a:gd name="connsiteX0" fmla="*/ 0 w 49076"/>
                <a:gd name="connsiteY0" fmla="*/ 57375 h 57374"/>
                <a:gd name="connsiteX1" fmla="*/ 0 w 49076"/>
                <a:gd name="connsiteY1" fmla="*/ 0 h 57374"/>
                <a:gd name="connsiteX2" fmla="*/ 9308 w 49076"/>
                <a:gd name="connsiteY2" fmla="*/ 0 h 57374"/>
                <a:gd name="connsiteX3" fmla="*/ 9308 w 49076"/>
                <a:gd name="connsiteY3" fmla="*/ 23459 h 57374"/>
                <a:gd name="connsiteX4" fmla="*/ 39769 w 49076"/>
                <a:gd name="connsiteY4" fmla="*/ 23459 h 57374"/>
                <a:gd name="connsiteX5" fmla="*/ 39769 w 49076"/>
                <a:gd name="connsiteY5" fmla="*/ 0 h 57374"/>
                <a:gd name="connsiteX6" fmla="*/ 49077 w 49076"/>
                <a:gd name="connsiteY6" fmla="*/ 0 h 57374"/>
                <a:gd name="connsiteX7" fmla="*/ 49077 w 49076"/>
                <a:gd name="connsiteY7" fmla="*/ 57375 h 57374"/>
                <a:gd name="connsiteX8" fmla="*/ 39769 w 49076"/>
                <a:gd name="connsiteY8" fmla="*/ 57375 h 57374"/>
                <a:gd name="connsiteX9" fmla="*/ 39769 w 49076"/>
                <a:gd name="connsiteY9" fmla="*/ 32503 h 57374"/>
                <a:gd name="connsiteX10" fmla="*/ 9308 w 49076"/>
                <a:gd name="connsiteY10" fmla="*/ 32503 h 57374"/>
                <a:gd name="connsiteX11" fmla="*/ 9308 w 49076"/>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076" h="57374">
                  <a:moveTo>
                    <a:pt x="0" y="57375"/>
                  </a:moveTo>
                  <a:lnTo>
                    <a:pt x="0" y="0"/>
                  </a:lnTo>
                  <a:lnTo>
                    <a:pt x="9308" y="0"/>
                  </a:lnTo>
                  <a:lnTo>
                    <a:pt x="9308" y="23459"/>
                  </a:lnTo>
                  <a:lnTo>
                    <a:pt x="39769" y="23459"/>
                  </a:lnTo>
                  <a:lnTo>
                    <a:pt x="39769" y="0"/>
                  </a:lnTo>
                  <a:lnTo>
                    <a:pt x="49077" y="0"/>
                  </a:lnTo>
                  <a:lnTo>
                    <a:pt x="49077" y="57375"/>
                  </a:lnTo>
                  <a:lnTo>
                    <a:pt x="39769" y="57375"/>
                  </a:lnTo>
                  <a:lnTo>
                    <a:pt x="39769" y="32503"/>
                  </a:lnTo>
                  <a:lnTo>
                    <a:pt x="9308" y="32503"/>
                  </a:lnTo>
                  <a:lnTo>
                    <a:pt x="9308" y="57375"/>
                  </a:lnTo>
                  <a:close/>
                </a:path>
              </a:pathLst>
            </a:custGeom>
            <a:solidFill>
              <a:srgbClr val="7F8183"/>
            </a:solidFill>
            <a:ln w="2790" cap="flat">
              <a:noFill/>
              <a:prstDash val="solid"/>
              <a:miter/>
            </a:ln>
          </p:spPr>
          <p:txBody>
            <a:bodyPr rtlCol="0" anchor="ctr"/>
            <a:lstStyle/>
            <a:p>
              <a:endParaRPr lang="x-none" sz="1905"/>
            </a:p>
          </p:txBody>
        </p:sp>
        <p:sp>
          <p:nvSpPr>
            <p:cNvPr id="44" name="Freeform 43">
              <a:extLst>
                <a:ext uri="{FF2B5EF4-FFF2-40B4-BE49-F238E27FC236}">
                  <a16:creationId xmlns:a16="http://schemas.microsoft.com/office/drawing/2014/main" id="{2FEF830E-047D-F44F-BD4C-7111A03A4967}"/>
                </a:ext>
              </a:extLst>
            </p:cNvPr>
            <p:cNvSpPr/>
            <p:nvPr/>
          </p:nvSpPr>
          <p:spPr>
            <a:xfrm>
              <a:off x="1618875" y="6058612"/>
              <a:ext cx="47948" cy="57374"/>
            </a:xfrm>
            <a:custGeom>
              <a:avLst/>
              <a:gdLst>
                <a:gd name="connsiteX0" fmla="*/ 10154 w 47948"/>
                <a:gd name="connsiteY0" fmla="*/ 57375 h 57374"/>
                <a:gd name="connsiteX1" fmla="*/ 0 w 47948"/>
                <a:gd name="connsiteY1" fmla="*/ 57375 h 57374"/>
                <a:gd name="connsiteX2" fmla="*/ 0 w 47948"/>
                <a:gd name="connsiteY2" fmla="*/ 0 h 57374"/>
                <a:gd name="connsiteX3" fmla="*/ 9026 w 47948"/>
                <a:gd name="connsiteY3" fmla="*/ 0 h 57374"/>
                <a:gd name="connsiteX4" fmla="*/ 9026 w 47948"/>
                <a:gd name="connsiteY4" fmla="*/ 44939 h 57374"/>
                <a:gd name="connsiteX5" fmla="*/ 37513 w 47948"/>
                <a:gd name="connsiteY5" fmla="*/ 0 h 57374"/>
                <a:gd name="connsiteX6" fmla="*/ 47949 w 47948"/>
                <a:gd name="connsiteY6" fmla="*/ 0 h 57374"/>
                <a:gd name="connsiteX7" fmla="*/ 47949 w 47948"/>
                <a:gd name="connsiteY7" fmla="*/ 57375 h 57374"/>
                <a:gd name="connsiteX8" fmla="*/ 38923 w 47948"/>
                <a:gd name="connsiteY8" fmla="*/ 57375 h 57374"/>
                <a:gd name="connsiteX9" fmla="*/ 38923 w 47948"/>
                <a:gd name="connsiteY9" fmla="*/ 12153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48" h="57374">
                  <a:moveTo>
                    <a:pt x="10154" y="57375"/>
                  </a:moveTo>
                  <a:lnTo>
                    <a:pt x="0" y="57375"/>
                  </a:lnTo>
                  <a:lnTo>
                    <a:pt x="0" y="0"/>
                  </a:lnTo>
                  <a:lnTo>
                    <a:pt x="9026" y="0"/>
                  </a:lnTo>
                  <a:lnTo>
                    <a:pt x="9026" y="44939"/>
                  </a:lnTo>
                  <a:lnTo>
                    <a:pt x="37513" y="0"/>
                  </a:lnTo>
                  <a:lnTo>
                    <a:pt x="47949" y="0"/>
                  </a:lnTo>
                  <a:lnTo>
                    <a:pt x="47949" y="57375"/>
                  </a:lnTo>
                  <a:lnTo>
                    <a:pt x="38923" y="57375"/>
                  </a:lnTo>
                  <a:lnTo>
                    <a:pt x="38923" y="12153"/>
                  </a:lnTo>
                  <a:close/>
                </a:path>
              </a:pathLst>
            </a:custGeom>
            <a:solidFill>
              <a:srgbClr val="7F8183"/>
            </a:solidFill>
            <a:ln w="2790" cap="flat">
              <a:noFill/>
              <a:prstDash val="solid"/>
              <a:miter/>
            </a:ln>
          </p:spPr>
          <p:txBody>
            <a:bodyPr rtlCol="0" anchor="ctr"/>
            <a:lstStyle/>
            <a:p>
              <a:endParaRPr lang="x-none" sz="1905"/>
            </a:p>
          </p:txBody>
        </p:sp>
        <p:sp>
          <p:nvSpPr>
            <p:cNvPr id="45" name="Freeform 44">
              <a:extLst>
                <a:ext uri="{FF2B5EF4-FFF2-40B4-BE49-F238E27FC236}">
                  <a16:creationId xmlns:a16="http://schemas.microsoft.com/office/drawing/2014/main" id="{C34DED5D-3D96-084B-84A2-FB271F0EB689}"/>
                </a:ext>
              </a:extLst>
            </p:cNvPr>
            <p:cNvSpPr/>
            <p:nvPr/>
          </p:nvSpPr>
          <p:spPr>
            <a:xfrm>
              <a:off x="1684875" y="6036849"/>
              <a:ext cx="48230" cy="79137"/>
            </a:xfrm>
            <a:custGeom>
              <a:avLst/>
              <a:gdLst>
                <a:gd name="connsiteX0" fmla="*/ 24256 w 48230"/>
                <a:gd name="connsiteY0" fmla="*/ 15545 h 79137"/>
                <a:gd name="connsiteX1" fmla="*/ 11282 w 48230"/>
                <a:gd name="connsiteY1" fmla="*/ 11305 h 79137"/>
                <a:gd name="connsiteX2" fmla="*/ 7051 w 48230"/>
                <a:gd name="connsiteY2" fmla="*/ 0 h 79137"/>
                <a:gd name="connsiteX3" fmla="*/ 14949 w 48230"/>
                <a:gd name="connsiteY3" fmla="*/ 0 h 79137"/>
                <a:gd name="connsiteX4" fmla="*/ 17487 w 48230"/>
                <a:gd name="connsiteY4" fmla="*/ 6218 h 79137"/>
                <a:gd name="connsiteX5" fmla="*/ 23974 w 48230"/>
                <a:gd name="connsiteY5" fmla="*/ 8479 h 79137"/>
                <a:gd name="connsiteX6" fmla="*/ 30462 w 48230"/>
                <a:gd name="connsiteY6" fmla="*/ 6218 h 79137"/>
                <a:gd name="connsiteX7" fmla="*/ 33000 w 48230"/>
                <a:gd name="connsiteY7" fmla="*/ 0 h 79137"/>
                <a:gd name="connsiteX8" fmla="*/ 40897 w 48230"/>
                <a:gd name="connsiteY8" fmla="*/ 0 h 79137"/>
                <a:gd name="connsiteX9" fmla="*/ 36667 w 48230"/>
                <a:gd name="connsiteY9" fmla="*/ 11305 h 79137"/>
                <a:gd name="connsiteX10" fmla="*/ 24256 w 48230"/>
                <a:gd name="connsiteY10" fmla="*/ 15545 h 79137"/>
                <a:gd name="connsiteX11" fmla="*/ 10154 w 48230"/>
                <a:gd name="connsiteY11" fmla="*/ 79138 h 79137"/>
                <a:gd name="connsiteX12" fmla="*/ 0 w 48230"/>
                <a:gd name="connsiteY12" fmla="*/ 79138 h 79137"/>
                <a:gd name="connsiteX13" fmla="*/ 0 w 48230"/>
                <a:gd name="connsiteY13" fmla="*/ 21763 h 79137"/>
                <a:gd name="connsiteX14" fmla="*/ 9308 w 48230"/>
                <a:gd name="connsiteY14" fmla="*/ 21763 h 79137"/>
                <a:gd name="connsiteX15" fmla="*/ 9308 w 48230"/>
                <a:gd name="connsiteY15" fmla="*/ 66702 h 79137"/>
                <a:gd name="connsiteX16" fmla="*/ 37795 w 48230"/>
                <a:gd name="connsiteY16" fmla="*/ 21763 h 79137"/>
                <a:gd name="connsiteX17" fmla="*/ 48231 w 48230"/>
                <a:gd name="connsiteY17" fmla="*/ 21763 h 79137"/>
                <a:gd name="connsiteX18" fmla="*/ 48231 w 48230"/>
                <a:gd name="connsiteY18" fmla="*/ 79138 h 79137"/>
                <a:gd name="connsiteX19" fmla="*/ 38923 w 48230"/>
                <a:gd name="connsiteY19" fmla="*/ 79138 h 79137"/>
                <a:gd name="connsiteX20" fmla="*/ 38923 w 48230"/>
                <a:gd name="connsiteY20" fmla="*/ 33916 h 79137"/>
                <a:gd name="connsiteX21" fmla="*/ 10154 w 48230"/>
                <a:gd name="connsiteY21" fmla="*/ 79138 h 7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230" h="79137">
                  <a:moveTo>
                    <a:pt x="24256" y="15545"/>
                  </a:moveTo>
                  <a:cubicBezTo>
                    <a:pt x="18333" y="15545"/>
                    <a:pt x="14103" y="14132"/>
                    <a:pt x="11282" y="11305"/>
                  </a:cubicBezTo>
                  <a:cubicBezTo>
                    <a:pt x="8462" y="8479"/>
                    <a:pt x="7051" y="4805"/>
                    <a:pt x="7051" y="0"/>
                  </a:cubicBezTo>
                  <a:lnTo>
                    <a:pt x="14949" y="0"/>
                  </a:lnTo>
                  <a:cubicBezTo>
                    <a:pt x="15231" y="2544"/>
                    <a:pt x="16077" y="4805"/>
                    <a:pt x="17487" y="6218"/>
                  </a:cubicBezTo>
                  <a:cubicBezTo>
                    <a:pt x="18897" y="7631"/>
                    <a:pt x="21154" y="8479"/>
                    <a:pt x="23974" y="8479"/>
                  </a:cubicBezTo>
                  <a:cubicBezTo>
                    <a:pt x="26795" y="8479"/>
                    <a:pt x="29051" y="7631"/>
                    <a:pt x="30462" y="6218"/>
                  </a:cubicBezTo>
                  <a:cubicBezTo>
                    <a:pt x="31872" y="4805"/>
                    <a:pt x="32718" y="2544"/>
                    <a:pt x="33000" y="0"/>
                  </a:cubicBezTo>
                  <a:lnTo>
                    <a:pt x="40897" y="0"/>
                  </a:lnTo>
                  <a:cubicBezTo>
                    <a:pt x="40615" y="4522"/>
                    <a:pt x="39205" y="8196"/>
                    <a:pt x="36667" y="11305"/>
                  </a:cubicBezTo>
                  <a:cubicBezTo>
                    <a:pt x="34128" y="14132"/>
                    <a:pt x="29897" y="15545"/>
                    <a:pt x="24256" y="15545"/>
                  </a:cubicBezTo>
                  <a:moveTo>
                    <a:pt x="10154" y="79138"/>
                  </a:moveTo>
                  <a:lnTo>
                    <a:pt x="0" y="79138"/>
                  </a:lnTo>
                  <a:lnTo>
                    <a:pt x="0" y="21763"/>
                  </a:lnTo>
                  <a:lnTo>
                    <a:pt x="9308" y="21763"/>
                  </a:lnTo>
                  <a:lnTo>
                    <a:pt x="9308" y="66702"/>
                  </a:lnTo>
                  <a:lnTo>
                    <a:pt x="37795" y="21763"/>
                  </a:lnTo>
                  <a:lnTo>
                    <a:pt x="48231" y="21763"/>
                  </a:lnTo>
                  <a:lnTo>
                    <a:pt x="48231" y="79138"/>
                  </a:lnTo>
                  <a:lnTo>
                    <a:pt x="38923" y="79138"/>
                  </a:lnTo>
                  <a:lnTo>
                    <a:pt x="38923" y="33916"/>
                  </a:lnTo>
                  <a:lnTo>
                    <a:pt x="10154" y="79138"/>
                  </a:lnTo>
                  <a:close/>
                </a:path>
              </a:pathLst>
            </a:custGeom>
            <a:solidFill>
              <a:srgbClr val="7F8183"/>
            </a:solidFill>
            <a:ln w="2790" cap="flat">
              <a:noFill/>
              <a:prstDash val="solid"/>
              <a:miter/>
            </a:ln>
          </p:spPr>
          <p:txBody>
            <a:bodyPr rtlCol="0" anchor="ctr"/>
            <a:lstStyle/>
            <a:p>
              <a:endParaRPr lang="x-none" sz="1905"/>
            </a:p>
          </p:txBody>
        </p:sp>
        <p:sp>
          <p:nvSpPr>
            <p:cNvPr id="46" name="Freeform 45">
              <a:extLst>
                <a:ext uri="{FF2B5EF4-FFF2-40B4-BE49-F238E27FC236}">
                  <a16:creationId xmlns:a16="http://schemas.microsoft.com/office/drawing/2014/main" id="{7D18C1D5-F984-8B4E-A0BF-38700579D3AC}"/>
                </a:ext>
              </a:extLst>
            </p:cNvPr>
            <p:cNvSpPr/>
            <p:nvPr/>
          </p:nvSpPr>
          <p:spPr>
            <a:xfrm>
              <a:off x="1260952" y="5466493"/>
              <a:ext cx="483718" cy="255784"/>
            </a:xfrm>
            <a:custGeom>
              <a:avLst/>
              <a:gdLst>
                <a:gd name="connsiteX0" fmla="*/ 483718 w 483718"/>
                <a:gd name="connsiteY0" fmla="*/ 0 h 255784"/>
                <a:gd name="connsiteX1" fmla="*/ 0 w 483718"/>
                <a:gd name="connsiteY1" fmla="*/ 212541 h 255784"/>
                <a:gd name="connsiteX2" fmla="*/ 0 w 483718"/>
                <a:gd name="connsiteY2" fmla="*/ 255784 h 255784"/>
                <a:gd name="connsiteX3" fmla="*/ 483718 w 483718"/>
                <a:gd name="connsiteY3" fmla="*/ 43243 h 255784"/>
              </a:gdLst>
              <a:ahLst/>
              <a:cxnLst>
                <a:cxn ang="0">
                  <a:pos x="connsiteX0" y="connsiteY0"/>
                </a:cxn>
                <a:cxn ang="0">
                  <a:pos x="connsiteX1" y="connsiteY1"/>
                </a:cxn>
                <a:cxn ang="0">
                  <a:pos x="connsiteX2" y="connsiteY2"/>
                </a:cxn>
                <a:cxn ang="0">
                  <a:pos x="connsiteX3" y="connsiteY3"/>
                </a:cxn>
              </a:cxnLst>
              <a:rect l="l" t="t" r="r" b="b"/>
              <a:pathLst>
                <a:path w="483718" h="255784">
                  <a:moveTo>
                    <a:pt x="483718" y="0"/>
                  </a:moveTo>
                  <a:lnTo>
                    <a:pt x="0" y="212541"/>
                  </a:lnTo>
                  <a:lnTo>
                    <a:pt x="0" y="255784"/>
                  </a:lnTo>
                  <a:lnTo>
                    <a:pt x="483718" y="43243"/>
                  </a:lnTo>
                  <a:close/>
                </a:path>
              </a:pathLst>
            </a:custGeom>
            <a:solidFill>
              <a:srgbClr val="E22B26"/>
            </a:solidFill>
            <a:ln w="2790" cap="flat">
              <a:noFill/>
              <a:prstDash val="solid"/>
              <a:miter/>
            </a:ln>
          </p:spPr>
          <p:txBody>
            <a:bodyPr rtlCol="0" anchor="ctr"/>
            <a:lstStyle/>
            <a:p>
              <a:endParaRPr lang="x-none" sz="1905"/>
            </a:p>
          </p:txBody>
        </p:sp>
      </p:grpSp>
      <p:sp>
        <p:nvSpPr>
          <p:cNvPr id="9" name="Text Placeholder 8">
            <a:extLst>
              <a:ext uri="{FF2B5EF4-FFF2-40B4-BE49-F238E27FC236}">
                <a16:creationId xmlns:a16="http://schemas.microsoft.com/office/drawing/2014/main" id="{048B11A7-F13B-A341-B3D6-5CBDA7491E37}"/>
              </a:ext>
            </a:extLst>
          </p:cNvPr>
          <p:cNvSpPr>
            <a:spLocks noGrp="1"/>
          </p:cNvSpPr>
          <p:nvPr>
            <p:ph type="body" sz="quarter" idx="19" hasCustomPrompt="1"/>
          </p:nvPr>
        </p:nvSpPr>
        <p:spPr>
          <a:xfrm>
            <a:off x="3196710" y="5774789"/>
            <a:ext cx="1871252" cy="1008683"/>
          </a:xfrm>
          <a:prstGeom prst="rect">
            <a:avLst/>
          </a:prstGeom>
        </p:spPr>
        <p:txBody>
          <a:bodyPr/>
          <a:lstStyle>
            <a:lvl1pPr>
              <a:lnSpc>
                <a:spcPct val="150000"/>
              </a:lnSpc>
              <a:spcBef>
                <a:spcPts val="0"/>
              </a:spcBef>
              <a:buFontTx/>
              <a:buNone/>
              <a:defRPr lang="en-GB" sz="1058" b="0" i="0" kern="1200" dirty="0" smtClean="0">
                <a:solidFill>
                  <a:srgbClr val="7F8183"/>
                </a:solidFill>
                <a:latin typeface="Verdana" panose="020B0604030504040204" pitchFamily="34" charset="0"/>
                <a:ea typeface="Verdana" panose="020B0604030504040204" pitchFamily="34" charset="0"/>
                <a:cs typeface="Verdana" panose="020B0604030504040204" pitchFamily="34" charset="0"/>
              </a:defRPr>
            </a:lvl1pPr>
            <a:lvl2pPr>
              <a:buFontTx/>
              <a:buNone/>
              <a:defRPr lang="en-GB" sz="1058" b="0" i="0" kern="1200" dirty="0" smtClean="0">
                <a:solidFill>
                  <a:srgbClr val="7F8183"/>
                </a:solidFill>
                <a:latin typeface="Verdana" panose="020B0604030504040204" pitchFamily="34" charset="0"/>
                <a:ea typeface="Verdana" panose="020B0604030504040204" pitchFamily="34" charset="0"/>
                <a:cs typeface="Verdana" panose="020B0604030504040204" pitchFamily="34" charset="0"/>
              </a:defRPr>
            </a:lvl2pPr>
            <a:lvl3pPr>
              <a:buFontTx/>
              <a:buNone/>
              <a:defRPr lang="en-GB" sz="1058" b="0" i="0" kern="1200" dirty="0" smtClean="0">
                <a:solidFill>
                  <a:srgbClr val="7F8183"/>
                </a:solidFill>
                <a:latin typeface="Verdana" panose="020B0604030504040204" pitchFamily="34" charset="0"/>
                <a:ea typeface="Verdana" panose="020B0604030504040204" pitchFamily="34" charset="0"/>
                <a:cs typeface="Verdana" panose="020B0604030504040204" pitchFamily="34" charset="0"/>
              </a:defRPr>
            </a:lvl3pPr>
          </a:lstStyle>
          <a:p>
            <a:pPr lvl="0"/>
            <a:r>
              <a:rPr lang="en-GB" dirty="0"/>
              <a:t>(495) 231-77-71</a:t>
            </a:r>
          </a:p>
          <a:p>
            <a:pPr lvl="0"/>
            <a:r>
              <a:rPr lang="en-GB" dirty="0" err="1"/>
              <a:t>press@omk.ru</a:t>
            </a:r>
            <a:endParaRPr lang="en-GB" dirty="0"/>
          </a:p>
          <a:p>
            <a:pPr lvl="0"/>
            <a:r>
              <a:rPr lang="en-GB" dirty="0" err="1"/>
              <a:t>www.omk.ru</a:t>
            </a:r>
            <a:endParaRPr lang="en-GB" dirty="0"/>
          </a:p>
        </p:txBody>
      </p:sp>
    </p:spTree>
    <p:extLst>
      <p:ext uri="{BB962C8B-B14F-4D97-AF65-F5344CB8AC3E}">
        <p14:creationId xmlns:p14="http://schemas.microsoft.com/office/powerpoint/2010/main" val="2276121813"/>
      </p:ext>
    </p:extLst>
  </p:cSld>
  <p:clrMapOvr>
    <a:masterClrMapping/>
  </p:clrMapOvr>
  <p:transition>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4_Title">
    <p:bg>
      <p:bgPr>
        <a:solidFill>
          <a:srgbClr val="FFFFFF"/>
        </a:solidFill>
        <a:effectLst/>
      </p:bgPr>
    </p:bg>
    <p:spTree>
      <p:nvGrpSpPr>
        <p:cNvPr id="1" name=""/>
        <p:cNvGrpSpPr/>
        <p:nvPr/>
      </p:nvGrpSpPr>
      <p:grpSpPr>
        <a:xfrm>
          <a:off x="0" y="0"/>
          <a:ext cx="0" cy="0"/>
          <a:chOff x="0" y="0"/>
          <a:chExt cx="0" cy="0"/>
        </a:xfrm>
      </p:grpSpPr>
      <p:sp>
        <p:nvSpPr>
          <p:cNvPr id="8" name="Picture Placeholder 9">
            <a:extLst>
              <a:ext uri="{FF2B5EF4-FFF2-40B4-BE49-F238E27FC236}">
                <a16:creationId xmlns:a16="http://schemas.microsoft.com/office/drawing/2014/main" id="{4A8BE4C6-EB74-5043-82FF-ED6D3045D298}"/>
              </a:ext>
            </a:extLst>
          </p:cNvPr>
          <p:cNvSpPr>
            <a:spLocks noGrp="1"/>
          </p:cNvSpPr>
          <p:nvPr>
            <p:ph type="pic" sz="quarter" idx="13"/>
          </p:nvPr>
        </p:nvSpPr>
        <p:spPr>
          <a:xfrm>
            <a:off x="1" y="1"/>
            <a:ext cx="12192000" cy="6858000"/>
          </a:xfrm>
          <a:prstGeom prst="rect">
            <a:avLst/>
          </a:prstGeom>
        </p:spPr>
        <p:txBody>
          <a:bodyPr anchor="ctr"/>
          <a:lstStyle>
            <a:lvl1pPr algn="ctr">
              <a:buFontTx/>
              <a:buNone/>
              <a:defRPr sz="2116"/>
            </a:lvl1pPr>
          </a:lstStyle>
          <a:p>
            <a:endParaRPr lang="x-none"/>
          </a:p>
        </p:txBody>
      </p:sp>
      <p:sp>
        <p:nvSpPr>
          <p:cNvPr id="23" name="Title 1"/>
          <p:cNvSpPr>
            <a:spLocks noGrp="1"/>
          </p:cNvSpPr>
          <p:nvPr>
            <p:ph type="ctrTitle" hasCustomPrompt="1"/>
          </p:nvPr>
        </p:nvSpPr>
        <p:spPr>
          <a:xfrm>
            <a:off x="3124430" y="1028736"/>
            <a:ext cx="8686255" cy="2476276"/>
          </a:xfrm>
          <a:prstGeom prst="rect">
            <a:avLst/>
          </a:prstGeom>
          <a:noFill/>
        </p:spPr>
        <p:txBody>
          <a:bodyPr lIns="180000" tIns="180000" rIns="864000" bIns="36000" anchor="b" anchorCtr="0">
            <a:noAutofit/>
          </a:bodyPr>
          <a:lstStyle>
            <a:lvl1pPr algn="l">
              <a:lnSpc>
                <a:spcPct val="100000"/>
              </a:lnSpc>
              <a:defRPr sz="5820" b="0" i="0" cap="none" spc="212" baseline="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Title slide header</a:t>
            </a:r>
            <a:r>
              <a:rPr lang="mr-IN" dirty="0"/>
              <a:t>…</a:t>
            </a:r>
            <a:endParaRPr lang="en-US" dirty="0"/>
          </a:p>
        </p:txBody>
      </p:sp>
      <p:sp>
        <p:nvSpPr>
          <p:cNvPr id="11" name="Text Placeholder 10">
            <a:extLst>
              <a:ext uri="{FF2B5EF4-FFF2-40B4-BE49-F238E27FC236}">
                <a16:creationId xmlns:a16="http://schemas.microsoft.com/office/drawing/2014/main" id="{49BCE9F6-2934-314B-BF78-430EC028CA66}"/>
              </a:ext>
            </a:extLst>
          </p:cNvPr>
          <p:cNvSpPr>
            <a:spLocks noGrp="1"/>
          </p:cNvSpPr>
          <p:nvPr>
            <p:ph type="body" sz="quarter" idx="10" hasCustomPrompt="1"/>
          </p:nvPr>
        </p:nvSpPr>
        <p:spPr>
          <a:xfrm>
            <a:off x="7925886" y="5668806"/>
            <a:ext cx="4837829" cy="888610"/>
          </a:xfrm>
          <a:prstGeom prst="rect">
            <a:avLst/>
          </a:prstGeom>
        </p:spPr>
        <p:txBody>
          <a:bodyPr lIns="180000" rIns="864000" anchor="b"/>
          <a:lstStyle>
            <a:lvl1pPr marL="0" indent="0">
              <a:buFontTx/>
              <a:buNone/>
              <a:defRPr sz="1376" b="0" i="0">
                <a:solidFill>
                  <a:srgbClr val="E41910"/>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Subtitle</a:t>
            </a:r>
            <a:endParaRPr lang="x-none" dirty="0"/>
          </a:p>
        </p:txBody>
      </p:sp>
      <p:sp>
        <p:nvSpPr>
          <p:cNvPr id="15" name="Text Placeholder 10">
            <a:extLst>
              <a:ext uri="{FF2B5EF4-FFF2-40B4-BE49-F238E27FC236}">
                <a16:creationId xmlns:a16="http://schemas.microsoft.com/office/drawing/2014/main" id="{7E236611-2C19-7C49-A7D4-5478F7BB8173}"/>
              </a:ext>
            </a:extLst>
          </p:cNvPr>
          <p:cNvSpPr>
            <a:spLocks noGrp="1"/>
          </p:cNvSpPr>
          <p:nvPr>
            <p:ph type="body" sz="quarter" idx="11" hasCustomPrompt="1"/>
          </p:nvPr>
        </p:nvSpPr>
        <p:spPr>
          <a:xfrm>
            <a:off x="3088055" y="5661530"/>
            <a:ext cx="3884802" cy="888610"/>
          </a:xfrm>
          <a:prstGeom prst="rect">
            <a:avLst/>
          </a:prstGeom>
        </p:spPr>
        <p:txBody>
          <a:bodyPr lIns="180000" rIns="864000" anchor="b"/>
          <a:lstStyle>
            <a:lvl1pPr marL="0" indent="0">
              <a:buFontTx/>
              <a:buNone/>
              <a:defRPr sz="1376"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Докладчик</a:t>
            </a:r>
            <a:br>
              <a:rPr lang="ru-RU" dirty="0"/>
            </a:br>
            <a:r>
              <a:rPr lang="ru-RU" dirty="0"/>
              <a:t>Фамилия Имя Отчество</a:t>
            </a:r>
            <a:endParaRPr lang="x-none" dirty="0"/>
          </a:p>
        </p:txBody>
      </p:sp>
      <p:sp>
        <p:nvSpPr>
          <p:cNvPr id="16" name="Text Placeholder 10">
            <a:extLst>
              <a:ext uri="{FF2B5EF4-FFF2-40B4-BE49-F238E27FC236}">
                <a16:creationId xmlns:a16="http://schemas.microsoft.com/office/drawing/2014/main" id="{935039F0-13FC-3745-B58A-56E53B716FB6}"/>
              </a:ext>
            </a:extLst>
          </p:cNvPr>
          <p:cNvSpPr>
            <a:spLocks noGrp="1"/>
          </p:cNvSpPr>
          <p:nvPr>
            <p:ph type="body" sz="quarter" idx="12" hasCustomPrompt="1"/>
          </p:nvPr>
        </p:nvSpPr>
        <p:spPr>
          <a:xfrm>
            <a:off x="3073508" y="3475909"/>
            <a:ext cx="6515827" cy="1028831"/>
          </a:xfrm>
          <a:prstGeom prst="rect">
            <a:avLst/>
          </a:prstGeom>
        </p:spPr>
        <p:txBody>
          <a:bodyPr lIns="180000" rIns="864000" anchor="b"/>
          <a:lstStyle>
            <a:lvl1pPr marL="0" indent="0">
              <a:buFontTx/>
              <a:buNone/>
              <a:defRPr sz="2539"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orem ipsum dolor sit </a:t>
            </a:r>
            <a:r>
              <a:rPr lang="en-US" dirty="0" err="1"/>
              <a:t>amet</a:t>
            </a:r>
            <a:endParaRPr lang="x-none" dirty="0"/>
          </a:p>
        </p:txBody>
      </p:sp>
      <p:grpSp>
        <p:nvGrpSpPr>
          <p:cNvPr id="18" name="Graphic 2">
            <a:extLst>
              <a:ext uri="{FF2B5EF4-FFF2-40B4-BE49-F238E27FC236}">
                <a16:creationId xmlns:a16="http://schemas.microsoft.com/office/drawing/2014/main" id="{392D98F0-3E36-B746-92B3-99D11C67E928}"/>
              </a:ext>
            </a:extLst>
          </p:cNvPr>
          <p:cNvGrpSpPr/>
          <p:nvPr userDrawn="1"/>
        </p:nvGrpSpPr>
        <p:grpSpPr>
          <a:xfrm>
            <a:off x="1341054" y="2462731"/>
            <a:ext cx="838222" cy="890667"/>
            <a:chOff x="4522787" y="1925637"/>
            <a:chExt cx="2472690" cy="2627001"/>
          </a:xfrm>
        </p:grpSpPr>
        <p:sp>
          <p:nvSpPr>
            <p:cNvPr id="19" name="Freeform 18">
              <a:extLst>
                <a:ext uri="{FF2B5EF4-FFF2-40B4-BE49-F238E27FC236}">
                  <a16:creationId xmlns:a16="http://schemas.microsoft.com/office/drawing/2014/main" id="{EB9BCF5C-41AF-264F-8C11-429785FFDF69}"/>
                </a:ext>
              </a:extLst>
            </p:cNvPr>
            <p:cNvSpPr/>
            <p:nvPr/>
          </p:nvSpPr>
          <p:spPr>
            <a:xfrm>
              <a:off x="4522787" y="1925637"/>
              <a:ext cx="2472690" cy="1641876"/>
            </a:xfrm>
            <a:custGeom>
              <a:avLst/>
              <a:gdLst>
                <a:gd name="connsiteX0" fmla="*/ 700088 w 2472690"/>
                <a:gd name="connsiteY0" fmla="*/ 820938 h 1641876"/>
                <a:gd name="connsiteX1" fmla="*/ 1235393 w 2472690"/>
                <a:gd name="connsiteY1" fmla="*/ 287566 h 1641876"/>
                <a:gd name="connsiteX2" fmla="*/ 1497330 w 2472690"/>
                <a:gd name="connsiteY2" fmla="*/ 355898 h 1641876"/>
                <a:gd name="connsiteX3" fmla="*/ 1497330 w 2472690"/>
                <a:gd name="connsiteY3" fmla="*/ 0 h 1641876"/>
                <a:gd name="connsiteX4" fmla="*/ 0 w 2472690"/>
                <a:gd name="connsiteY4" fmla="*/ 647260 h 1641876"/>
                <a:gd name="connsiteX5" fmla="*/ 0 w 2472690"/>
                <a:gd name="connsiteY5" fmla="*/ 1641876 h 1641876"/>
                <a:gd name="connsiteX6" fmla="*/ 914400 w 2472690"/>
                <a:gd name="connsiteY6" fmla="*/ 1247067 h 1641876"/>
                <a:gd name="connsiteX7" fmla="*/ 700088 w 2472690"/>
                <a:gd name="connsiteY7" fmla="*/ 820938 h 1641876"/>
                <a:gd name="connsiteX8" fmla="*/ 1558290 w 2472690"/>
                <a:gd name="connsiteY8" fmla="*/ 394810 h 1641876"/>
                <a:gd name="connsiteX9" fmla="*/ 1771650 w 2472690"/>
                <a:gd name="connsiteY9" fmla="*/ 820938 h 1641876"/>
                <a:gd name="connsiteX10" fmla="*/ 1236345 w 2472690"/>
                <a:gd name="connsiteY10" fmla="*/ 1354311 h 1641876"/>
                <a:gd name="connsiteX11" fmla="*/ 974408 w 2472690"/>
                <a:gd name="connsiteY11" fmla="*/ 1285978 h 1641876"/>
                <a:gd name="connsiteX12" fmla="*/ 974408 w 2472690"/>
                <a:gd name="connsiteY12" fmla="*/ 1641876 h 1641876"/>
                <a:gd name="connsiteX13" fmla="*/ 2472690 w 2472690"/>
                <a:gd name="connsiteY13" fmla="*/ 994616 h 1641876"/>
                <a:gd name="connsiteX14" fmla="*/ 2472690 w 2472690"/>
                <a:gd name="connsiteY14" fmla="*/ 0 h 1641876"/>
                <a:gd name="connsiteX15" fmla="*/ 1558290 w 2472690"/>
                <a:gd name="connsiteY15" fmla="*/ 394810 h 164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72690" h="1641876">
                  <a:moveTo>
                    <a:pt x="700088" y="820938"/>
                  </a:moveTo>
                  <a:cubicBezTo>
                    <a:pt x="700088" y="525780"/>
                    <a:pt x="940118" y="287566"/>
                    <a:pt x="1235393" y="287566"/>
                  </a:cubicBezTo>
                  <a:cubicBezTo>
                    <a:pt x="1330643" y="287566"/>
                    <a:pt x="1420178" y="312241"/>
                    <a:pt x="1497330" y="355898"/>
                  </a:cubicBezTo>
                  <a:lnTo>
                    <a:pt x="1497330" y="0"/>
                  </a:lnTo>
                  <a:lnTo>
                    <a:pt x="0" y="647260"/>
                  </a:lnTo>
                  <a:lnTo>
                    <a:pt x="0" y="1641876"/>
                  </a:lnTo>
                  <a:lnTo>
                    <a:pt x="914400" y="1247067"/>
                  </a:lnTo>
                  <a:cubicBezTo>
                    <a:pt x="784860" y="1150262"/>
                    <a:pt x="700088" y="995565"/>
                    <a:pt x="700088" y="820938"/>
                  </a:cubicBezTo>
                  <a:close/>
                  <a:moveTo>
                    <a:pt x="1558290" y="394810"/>
                  </a:moveTo>
                  <a:cubicBezTo>
                    <a:pt x="1687830" y="491614"/>
                    <a:pt x="1771650" y="647260"/>
                    <a:pt x="1771650" y="820938"/>
                  </a:cubicBezTo>
                  <a:cubicBezTo>
                    <a:pt x="1771650" y="1116096"/>
                    <a:pt x="1531620" y="1354311"/>
                    <a:pt x="1236345" y="1354311"/>
                  </a:cubicBezTo>
                  <a:cubicBezTo>
                    <a:pt x="1141095" y="1354311"/>
                    <a:pt x="1051560" y="1329635"/>
                    <a:pt x="974408" y="1285978"/>
                  </a:cubicBezTo>
                  <a:lnTo>
                    <a:pt x="974408" y="1641876"/>
                  </a:lnTo>
                  <a:lnTo>
                    <a:pt x="2472690" y="994616"/>
                  </a:lnTo>
                  <a:lnTo>
                    <a:pt x="2472690" y="0"/>
                  </a:lnTo>
                  <a:lnTo>
                    <a:pt x="1558290" y="394810"/>
                  </a:lnTo>
                  <a:close/>
                </a:path>
              </a:pathLst>
            </a:custGeom>
            <a:solidFill>
              <a:srgbClr val="7F8183"/>
            </a:solidFill>
            <a:ln w="9525" cap="flat">
              <a:noFill/>
              <a:prstDash val="solid"/>
              <a:miter/>
            </a:ln>
          </p:spPr>
          <p:txBody>
            <a:bodyPr rtlCol="0" anchor="ctr"/>
            <a:lstStyle/>
            <a:p>
              <a:endParaRPr lang="x-none" sz="1905"/>
            </a:p>
          </p:txBody>
        </p:sp>
        <p:sp>
          <p:nvSpPr>
            <p:cNvPr id="20" name="Freeform 19">
              <a:extLst>
                <a:ext uri="{FF2B5EF4-FFF2-40B4-BE49-F238E27FC236}">
                  <a16:creationId xmlns:a16="http://schemas.microsoft.com/office/drawing/2014/main" id="{80272C9C-4A20-BB4D-B41E-195AC4F13D6D}"/>
                </a:ext>
              </a:extLst>
            </p:cNvPr>
            <p:cNvSpPr/>
            <p:nvPr/>
          </p:nvSpPr>
          <p:spPr>
            <a:xfrm>
              <a:off x="5470524" y="2459009"/>
              <a:ext cx="577215" cy="575131"/>
            </a:xfrm>
            <a:custGeom>
              <a:avLst/>
              <a:gdLst>
                <a:gd name="connsiteX0" fmla="*/ 577215 w 577215"/>
                <a:gd name="connsiteY0" fmla="*/ 287566 h 575131"/>
                <a:gd name="connsiteX1" fmla="*/ 288608 w 577215"/>
                <a:gd name="connsiteY1" fmla="*/ 575131 h 575131"/>
                <a:gd name="connsiteX2" fmla="*/ 0 w 577215"/>
                <a:gd name="connsiteY2" fmla="*/ 287566 h 575131"/>
                <a:gd name="connsiteX3" fmla="*/ 288608 w 577215"/>
                <a:gd name="connsiteY3" fmla="*/ 0 h 575131"/>
                <a:gd name="connsiteX4" fmla="*/ 577215 w 577215"/>
                <a:gd name="connsiteY4" fmla="*/ 287566 h 57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15" h="575131">
                  <a:moveTo>
                    <a:pt x="577215" y="287566"/>
                  </a:moveTo>
                  <a:cubicBezTo>
                    <a:pt x="577215" y="446059"/>
                    <a:pt x="447675" y="575131"/>
                    <a:pt x="288608" y="575131"/>
                  </a:cubicBezTo>
                  <a:cubicBezTo>
                    <a:pt x="129540" y="575131"/>
                    <a:pt x="0" y="446059"/>
                    <a:pt x="0" y="287566"/>
                  </a:cubicBezTo>
                  <a:cubicBezTo>
                    <a:pt x="0" y="129072"/>
                    <a:pt x="129540" y="0"/>
                    <a:pt x="288608" y="0"/>
                  </a:cubicBezTo>
                  <a:cubicBezTo>
                    <a:pt x="447675" y="0"/>
                    <a:pt x="577215" y="129072"/>
                    <a:pt x="577215" y="287566"/>
                  </a:cubicBezTo>
                  <a:close/>
                </a:path>
              </a:pathLst>
            </a:custGeom>
            <a:solidFill>
              <a:srgbClr val="E72B2B"/>
            </a:solidFill>
            <a:ln w="9525" cap="flat">
              <a:noFill/>
              <a:prstDash val="solid"/>
              <a:miter/>
            </a:ln>
          </p:spPr>
          <p:txBody>
            <a:bodyPr rtlCol="0" anchor="ctr"/>
            <a:lstStyle/>
            <a:p>
              <a:endParaRPr lang="x-none" sz="1905"/>
            </a:p>
          </p:txBody>
        </p:sp>
        <p:sp>
          <p:nvSpPr>
            <p:cNvPr id="21" name="Freeform 20">
              <a:extLst>
                <a:ext uri="{FF2B5EF4-FFF2-40B4-BE49-F238E27FC236}">
                  <a16:creationId xmlns:a16="http://schemas.microsoft.com/office/drawing/2014/main" id="{2211A8E0-0D4A-F448-A678-4DE133CCC8D9}"/>
                </a:ext>
              </a:extLst>
            </p:cNvPr>
            <p:cNvSpPr/>
            <p:nvPr/>
          </p:nvSpPr>
          <p:spPr>
            <a:xfrm>
              <a:off x="4522787" y="3863620"/>
              <a:ext cx="2472690" cy="689018"/>
            </a:xfrm>
            <a:custGeom>
              <a:avLst/>
              <a:gdLst>
                <a:gd name="connsiteX0" fmla="*/ 345758 w 2472690"/>
                <a:gd name="connsiteY0" fmla="*/ 0 h 689018"/>
                <a:gd name="connsiteX1" fmla="*/ 0 w 2472690"/>
                <a:gd name="connsiteY1" fmla="*/ 344509 h 689018"/>
                <a:gd name="connsiteX2" fmla="*/ 345758 w 2472690"/>
                <a:gd name="connsiteY2" fmla="*/ 689019 h 689018"/>
                <a:gd name="connsiteX3" fmla="*/ 691515 w 2472690"/>
                <a:gd name="connsiteY3" fmla="*/ 344509 h 689018"/>
                <a:gd name="connsiteX4" fmla="*/ 345758 w 2472690"/>
                <a:gd name="connsiteY4" fmla="*/ 0 h 689018"/>
                <a:gd name="connsiteX5" fmla="*/ 345758 w 2472690"/>
                <a:gd name="connsiteY5" fmla="*/ 525780 h 689018"/>
                <a:gd name="connsiteX6" fmla="*/ 164783 w 2472690"/>
                <a:gd name="connsiteY6" fmla="*/ 345458 h 689018"/>
                <a:gd name="connsiteX7" fmla="*/ 345758 w 2472690"/>
                <a:gd name="connsiteY7" fmla="*/ 165137 h 689018"/>
                <a:gd name="connsiteX8" fmla="*/ 526733 w 2472690"/>
                <a:gd name="connsiteY8" fmla="*/ 345458 h 689018"/>
                <a:gd name="connsiteX9" fmla="*/ 345758 w 2472690"/>
                <a:gd name="connsiteY9" fmla="*/ 525780 h 689018"/>
                <a:gd name="connsiteX10" fmla="*/ 1253490 w 2472690"/>
                <a:gd name="connsiteY10" fmla="*/ 284718 h 689018"/>
                <a:gd name="connsiteX11" fmla="*/ 1063943 w 2472690"/>
                <a:gd name="connsiteY11" fmla="*/ 17083 h 689018"/>
                <a:gd name="connsiteX12" fmla="*/ 899160 w 2472690"/>
                <a:gd name="connsiteY12" fmla="*/ 17083 h 689018"/>
                <a:gd name="connsiteX13" fmla="*/ 899160 w 2472690"/>
                <a:gd name="connsiteY13" fmla="*/ 673834 h 689018"/>
                <a:gd name="connsiteX14" fmla="*/ 1063943 w 2472690"/>
                <a:gd name="connsiteY14" fmla="*/ 673834 h 689018"/>
                <a:gd name="connsiteX15" fmla="*/ 1063943 w 2472690"/>
                <a:gd name="connsiteY15" fmla="*/ 301802 h 689018"/>
                <a:gd name="connsiteX16" fmla="*/ 1152525 w 2472690"/>
                <a:gd name="connsiteY16" fmla="*/ 427078 h 689018"/>
                <a:gd name="connsiteX17" fmla="*/ 1253490 w 2472690"/>
                <a:gd name="connsiteY17" fmla="*/ 569437 h 689018"/>
                <a:gd name="connsiteX18" fmla="*/ 1354455 w 2472690"/>
                <a:gd name="connsiteY18" fmla="*/ 427078 h 689018"/>
                <a:gd name="connsiteX19" fmla="*/ 1443038 w 2472690"/>
                <a:gd name="connsiteY19" fmla="*/ 301802 h 689018"/>
                <a:gd name="connsiteX20" fmla="*/ 1443038 w 2472690"/>
                <a:gd name="connsiteY20" fmla="*/ 673834 h 689018"/>
                <a:gd name="connsiteX21" fmla="*/ 1607820 w 2472690"/>
                <a:gd name="connsiteY21" fmla="*/ 673834 h 689018"/>
                <a:gd name="connsiteX22" fmla="*/ 1607820 w 2472690"/>
                <a:gd name="connsiteY22" fmla="*/ 17083 h 689018"/>
                <a:gd name="connsiteX23" fmla="*/ 1443038 w 2472690"/>
                <a:gd name="connsiteY23" fmla="*/ 17083 h 689018"/>
                <a:gd name="connsiteX24" fmla="*/ 1253490 w 2472690"/>
                <a:gd name="connsiteY24" fmla="*/ 284718 h 689018"/>
                <a:gd name="connsiteX25" fmla="*/ 2472690 w 2472690"/>
                <a:gd name="connsiteY25" fmla="*/ 18032 h 689018"/>
                <a:gd name="connsiteX26" fmla="*/ 2270760 w 2472690"/>
                <a:gd name="connsiteY26" fmla="*/ 18032 h 689018"/>
                <a:gd name="connsiteX27" fmla="*/ 2037398 w 2472690"/>
                <a:gd name="connsiteY27" fmla="*/ 336917 h 689018"/>
                <a:gd name="connsiteX28" fmla="*/ 2037398 w 2472690"/>
                <a:gd name="connsiteY28" fmla="*/ 18032 h 689018"/>
                <a:gd name="connsiteX29" fmla="*/ 1872615 w 2472690"/>
                <a:gd name="connsiteY29" fmla="*/ 18032 h 689018"/>
                <a:gd name="connsiteX30" fmla="*/ 1872615 w 2472690"/>
                <a:gd name="connsiteY30" fmla="*/ 674783 h 689018"/>
                <a:gd name="connsiteX31" fmla="*/ 2037398 w 2472690"/>
                <a:gd name="connsiteY31" fmla="*/ 674783 h 689018"/>
                <a:gd name="connsiteX32" fmla="*/ 2037398 w 2472690"/>
                <a:gd name="connsiteY32" fmla="*/ 354000 h 689018"/>
                <a:gd name="connsiteX33" fmla="*/ 2270760 w 2472690"/>
                <a:gd name="connsiteY33" fmla="*/ 674783 h 689018"/>
                <a:gd name="connsiteX34" fmla="*/ 2472690 w 2472690"/>
                <a:gd name="connsiteY34" fmla="*/ 674783 h 689018"/>
                <a:gd name="connsiteX35" fmla="*/ 2231708 w 2472690"/>
                <a:gd name="connsiteY35" fmla="*/ 346407 h 689018"/>
                <a:gd name="connsiteX36" fmla="*/ 2472690 w 2472690"/>
                <a:gd name="connsiteY36" fmla="*/ 18032 h 68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72690" h="689018">
                  <a:moveTo>
                    <a:pt x="345758" y="0"/>
                  </a:moveTo>
                  <a:cubicBezTo>
                    <a:pt x="155258" y="0"/>
                    <a:pt x="0" y="154697"/>
                    <a:pt x="0" y="344509"/>
                  </a:cubicBezTo>
                  <a:cubicBezTo>
                    <a:pt x="0" y="535271"/>
                    <a:pt x="155258" y="689019"/>
                    <a:pt x="345758" y="689019"/>
                  </a:cubicBezTo>
                  <a:cubicBezTo>
                    <a:pt x="537210" y="689019"/>
                    <a:pt x="691515" y="534322"/>
                    <a:pt x="691515" y="344509"/>
                  </a:cubicBezTo>
                  <a:cubicBezTo>
                    <a:pt x="692468" y="154697"/>
                    <a:pt x="537210" y="0"/>
                    <a:pt x="345758" y="0"/>
                  </a:cubicBezTo>
                  <a:close/>
                  <a:moveTo>
                    <a:pt x="345758" y="525780"/>
                  </a:moveTo>
                  <a:cubicBezTo>
                    <a:pt x="245745" y="525780"/>
                    <a:pt x="164783" y="445110"/>
                    <a:pt x="164783" y="345458"/>
                  </a:cubicBezTo>
                  <a:cubicBezTo>
                    <a:pt x="164783" y="245807"/>
                    <a:pt x="245745" y="165137"/>
                    <a:pt x="345758" y="165137"/>
                  </a:cubicBezTo>
                  <a:cubicBezTo>
                    <a:pt x="445770" y="165137"/>
                    <a:pt x="526733" y="245807"/>
                    <a:pt x="526733" y="345458"/>
                  </a:cubicBezTo>
                  <a:cubicBezTo>
                    <a:pt x="527685" y="444161"/>
                    <a:pt x="445770" y="525780"/>
                    <a:pt x="345758" y="525780"/>
                  </a:cubicBezTo>
                  <a:close/>
                  <a:moveTo>
                    <a:pt x="1253490" y="284718"/>
                  </a:moveTo>
                  <a:lnTo>
                    <a:pt x="1063943" y="17083"/>
                  </a:lnTo>
                  <a:lnTo>
                    <a:pt x="899160" y="17083"/>
                  </a:lnTo>
                  <a:lnTo>
                    <a:pt x="899160" y="673834"/>
                  </a:lnTo>
                  <a:lnTo>
                    <a:pt x="1063943" y="673834"/>
                  </a:lnTo>
                  <a:lnTo>
                    <a:pt x="1063943" y="301802"/>
                  </a:lnTo>
                  <a:lnTo>
                    <a:pt x="1152525" y="427078"/>
                  </a:lnTo>
                  <a:lnTo>
                    <a:pt x="1253490" y="569437"/>
                  </a:lnTo>
                  <a:lnTo>
                    <a:pt x="1354455" y="427078"/>
                  </a:lnTo>
                  <a:lnTo>
                    <a:pt x="1443038" y="301802"/>
                  </a:lnTo>
                  <a:lnTo>
                    <a:pt x="1443038" y="673834"/>
                  </a:lnTo>
                  <a:lnTo>
                    <a:pt x="1607820" y="673834"/>
                  </a:lnTo>
                  <a:lnTo>
                    <a:pt x="1607820" y="17083"/>
                  </a:lnTo>
                  <a:lnTo>
                    <a:pt x="1443038" y="17083"/>
                  </a:lnTo>
                  <a:lnTo>
                    <a:pt x="1253490" y="284718"/>
                  </a:lnTo>
                  <a:close/>
                  <a:moveTo>
                    <a:pt x="2472690" y="18032"/>
                  </a:moveTo>
                  <a:lnTo>
                    <a:pt x="2270760" y="18032"/>
                  </a:lnTo>
                  <a:lnTo>
                    <a:pt x="2037398" y="336917"/>
                  </a:lnTo>
                  <a:lnTo>
                    <a:pt x="2037398" y="18032"/>
                  </a:lnTo>
                  <a:lnTo>
                    <a:pt x="1872615" y="18032"/>
                  </a:lnTo>
                  <a:lnTo>
                    <a:pt x="1872615" y="674783"/>
                  </a:lnTo>
                  <a:lnTo>
                    <a:pt x="2037398" y="674783"/>
                  </a:lnTo>
                  <a:lnTo>
                    <a:pt x="2037398" y="354000"/>
                  </a:lnTo>
                  <a:lnTo>
                    <a:pt x="2270760" y="674783"/>
                  </a:lnTo>
                  <a:lnTo>
                    <a:pt x="2472690" y="674783"/>
                  </a:lnTo>
                  <a:lnTo>
                    <a:pt x="2231708" y="346407"/>
                  </a:lnTo>
                  <a:lnTo>
                    <a:pt x="2472690" y="18032"/>
                  </a:lnTo>
                  <a:close/>
                </a:path>
              </a:pathLst>
            </a:custGeom>
            <a:solidFill>
              <a:srgbClr val="7F8183"/>
            </a:solidFill>
            <a:ln w="9525" cap="flat">
              <a:noFill/>
              <a:prstDash val="solid"/>
              <a:miter/>
            </a:ln>
          </p:spPr>
          <p:txBody>
            <a:bodyPr rtlCol="0" anchor="ctr"/>
            <a:lstStyle/>
            <a:p>
              <a:endParaRPr lang="x-none" sz="1905"/>
            </a:p>
          </p:txBody>
        </p:sp>
      </p:grpSp>
      <p:grpSp>
        <p:nvGrpSpPr>
          <p:cNvPr id="22" name="Graphic 13">
            <a:extLst>
              <a:ext uri="{FF2B5EF4-FFF2-40B4-BE49-F238E27FC236}">
                <a16:creationId xmlns:a16="http://schemas.microsoft.com/office/drawing/2014/main" id="{F5BEF2D1-743B-3948-B737-F9549BF0243E}"/>
              </a:ext>
            </a:extLst>
          </p:cNvPr>
          <p:cNvGrpSpPr/>
          <p:nvPr userDrawn="1"/>
        </p:nvGrpSpPr>
        <p:grpSpPr>
          <a:xfrm>
            <a:off x="1309496" y="5763381"/>
            <a:ext cx="886399" cy="762739"/>
            <a:chOff x="1237542" y="5445861"/>
            <a:chExt cx="837693" cy="720718"/>
          </a:xfrm>
        </p:grpSpPr>
        <p:grpSp>
          <p:nvGrpSpPr>
            <p:cNvPr id="24" name="Graphic 13">
              <a:extLst>
                <a:ext uri="{FF2B5EF4-FFF2-40B4-BE49-F238E27FC236}">
                  <a16:creationId xmlns:a16="http://schemas.microsoft.com/office/drawing/2014/main" id="{A81CBB0C-3DBD-D24E-8417-883F9DD68891}"/>
                </a:ext>
              </a:extLst>
            </p:cNvPr>
            <p:cNvGrpSpPr/>
            <p:nvPr/>
          </p:nvGrpSpPr>
          <p:grpSpPr>
            <a:xfrm>
              <a:off x="1264054" y="5786435"/>
              <a:ext cx="327743" cy="106553"/>
              <a:chOff x="1264054" y="5786435"/>
              <a:chExt cx="327743" cy="106553"/>
            </a:xfrm>
            <a:solidFill>
              <a:srgbClr val="CFD4D9"/>
            </a:solidFill>
          </p:grpSpPr>
          <p:sp>
            <p:nvSpPr>
              <p:cNvPr id="54" name="Freeform 53">
                <a:extLst>
                  <a:ext uri="{FF2B5EF4-FFF2-40B4-BE49-F238E27FC236}">
                    <a16:creationId xmlns:a16="http://schemas.microsoft.com/office/drawing/2014/main" id="{762DD8C3-35E5-434B-9D71-9C5C4D339945}"/>
                  </a:ext>
                </a:extLst>
              </p:cNvPr>
              <p:cNvSpPr/>
              <p:nvPr/>
            </p:nvSpPr>
            <p:spPr>
              <a:xfrm>
                <a:off x="1264054" y="5786435"/>
                <a:ext cx="72205" cy="84225"/>
              </a:xfrm>
              <a:custGeom>
                <a:avLst/>
                <a:gdLst>
                  <a:gd name="connsiteX0" fmla="*/ 38077 w 72205"/>
                  <a:gd name="connsiteY0" fmla="*/ 74898 h 84225"/>
                  <a:gd name="connsiteX1" fmla="*/ 55000 w 72205"/>
                  <a:gd name="connsiteY1" fmla="*/ 69811 h 84225"/>
                  <a:gd name="connsiteX2" fmla="*/ 62615 w 72205"/>
                  <a:gd name="connsiteY2" fmla="*/ 55962 h 84225"/>
                  <a:gd name="connsiteX3" fmla="*/ 72205 w 72205"/>
                  <a:gd name="connsiteY3" fmla="*/ 57657 h 84225"/>
                  <a:gd name="connsiteX4" fmla="*/ 60923 w 72205"/>
                  <a:gd name="connsiteY4" fmla="*/ 77442 h 84225"/>
                  <a:gd name="connsiteX5" fmla="*/ 37795 w 72205"/>
                  <a:gd name="connsiteY5" fmla="*/ 84225 h 84225"/>
                  <a:gd name="connsiteX6" fmla="*/ 10154 w 72205"/>
                  <a:gd name="connsiteY6" fmla="*/ 72920 h 84225"/>
                  <a:gd name="connsiteX7" fmla="*/ 0 w 72205"/>
                  <a:gd name="connsiteY7" fmla="*/ 42113 h 84225"/>
                  <a:gd name="connsiteX8" fmla="*/ 2821 w 72205"/>
                  <a:gd name="connsiteY8" fmla="*/ 24307 h 84225"/>
                  <a:gd name="connsiteX9" fmla="*/ 10436 w 72205"/>
                  <a:gd name="connsiteY9" fmla="*/ 11023 h 84225"/>
                  <a:gd name="connsiteX10" fmla="*/ 22282 w 72205"/>
                  <a:gd name="connsiteY10" fmla="*/ 2826 h 84225"/>
                  <a:gd name="connsiteX11" fmla="*/ 37795 w 72205"/>
                  <a:gd name="connsiteY11" fmla="*/ 0 h 84225"/>
                  <a:gd name="connsiteX12" fmla="*/ 60923 w 72205"/>
                  <a:gd name="connsiteY12" fmla="*/ 6783 h 84225"/>
                  <a:gd name="connsiteX13" fmla="*/ 71923 w 72205"/>
                  <a:gd name="connsiteY13" fmla="*/ 26568 h 84225"/>
                  <a:gd name="connsiteX14" fmla="*/ 62333 w 72205"/>
                  <a:gd name="connsiteY14" fmla="*/ 28263 h 84225"/>
                  <a:gd name="connsiteX15" fmla="*/ 54718 w 72205"/>
                  <a:gd name="connsiteY15" fmla="*/ 14697 h 84225"/>
                  <a:gd name="connsiteX16" fmla="*/ 37795 w 72205"/>
                  <a:gd name="connsiteY16" fmla="*/ 9327 h 84225"/>
                  <a:gd name="connsiteX17" fmla="*/ 25667 w 72205"/>
                  <a:gd name="connsiteY17" fmla="*/ 11871 h 84225"/>
                  <a:gd name="connsiteX18" fmla="*/ 16923 w 72205"/>
                  <a:gd name="connsiteY18" fmla="*/ 18654 h 84225"/>
                  <a:gd name="connsiteX19" fmla="*/ 11564 w 72205"/>
                  <a:gd name="connsiteY19" fmla="*/ 29111 h 84225"/>
                  <a:gd name="connsiteX20" fmla="*/ 9872 w 72205"/>
                  <a:gd name="connsiteY20" fmla="*/ 42678 h 84225"/>
                  <a:gd name="connsiteX21" fmla="*/ 17205 w 72205"/>
                  <a:gd name="connsiteY21" fmla="*/ 66419 h 84225"/>
                  <a:gd name="connsiteX22" fmla="*/ 38077 w 72205"/>
                  <a:gd name="connsiteY22" fmla="*/ 74898 h 8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2205" h="84225">
                    <a:moveTo>
                      <a:pt x="38077" y="74898"/>
                    </a:moveTo>
                    <a:cubicBezTo>
                      <a:pt x="45410" y="74898"/>
                      <a:pt x="51051" y="73202"/>
                      <a:pt x="55000" y="69811"/>
                    </a:cubicBezTo>
                    <a:cubicBezTo>
                      <a:pt x="58949" y="66419"/>
                      <a:pt x="61487" y="61897"/>
                      <a:pt x="62615" y="55962"/>
                    </a:cubicBezTo>
                    <a:lnTo>
                      <a:pt x="72205" y="57657"/>
                    </a:lnTo>
                    <a:cubicBezTo>
                      <a:pt x="70795" y="66136"/>
                      <a:pt x="66846" y="72920"/>
                      <a:pt x="60923" y="77442"/>
                    </a:cubicBezTo>
                    <a:cubicBezTo>
                      <a:pt x="55000" y="81964"/>
                      <a:pt x="47385" y="84225"/>
                      <a:pt x="37795" y="84225"/>
                    </a:cubicBezTo>
                    <a:cubicBezTo>
                      <a:pt x="26231" y="84225"/>
                      <a:pt x="16923" y="80551"/>
                      <a:pt x="10154" y="72920"/>
                    </a:cubicBezTo>
                    <a:cubicBezTo>
                      <a:pt x="3385" y="65289"/>
                      <a:pt x="0" y="55114"/>
                      <a:pt x="0" y="42113"/>
                    </a:cubicBezTo>
                    <a:cubicBezTo>
                      <a:pt x="0" y="35329"/>
                      <a:pt x="846" y="29394"/>
                      <a:pt x="2821" y="24307"/>
                    </a:cubicBezTo>
                    <a:cubicBezTo>
                      <a:pt x="4513" y="18937"/>
                      <a:pt x="7333" y="14697"/>
                      <a:pt x="10436" y="11023"/>
                    </a:cubicBezTo>
                    <a:cubicBezTo>
                      <a:pt x="13821" y="7348"/>
                      <a:pt x="17769" y="4522"/>
                      <a:pt x="22282" y="2826"/>
                    </a:cubicBezTo>
                    <a:cubicBezTo>
                      <a:pt x="27077" y="848"/>
                      <a:pt x="32154" y="0"/>
                      <a:pt x="37795" y="0"/>
                    </a:cubicBezTo>
                    <a:cubicBezTo>
                      <a:pt x="47385" y="0"/>
                      <a:pt x="55000" y="2261"/>
                      <a:pt x="60923" y="6783"/>
                    </a:cubicBezTo>
                    <a:cubicBezTo>
                      <a:pt x="66846" y="11305"/>
                      <a:pt x="70513" y="18089"/>
                      <a:pt x="71923" y="26568"/>
                    </a:cubicBezTo>
                    <a:lnTo>
                      <a:pt x="62333" y="28263"/>
                    </a:lnTo>
                    <a:cubicBezTo>
                      <a:pt x="61205" y="22893"/>
                      <a:pt x="58667" y="18371"/>
                      <a:pt x="54718" y="14697"/>
                    </a:cubicBezTo>
                    <a:cubicBezTo>
                      <a:pt x="50769" y="11023"/>
                      <a:pt x="45128" y="9327"/>
                      <a:pt x="37795" y="9327"/>
                    </a:cubicBezTo>
                    <a:cubicBezTo>
                      <a:pt x="33282" y="9327"/>
                      <a:pt x="29333" y="10175"/>
                      <a:pt x="25667" y="11871"/>
                    </a:cubicBezTo>
                    <a:cubicBezTo>
                      <a:pt x="22282" y="13566"/>
                      <a:pt x="19180" y="15828"/>
                      <a:pt x="16923" y="18654"/>
                    </a:cubicBezTo>
                    <a:cubicBezTo>
                      <a:pt x="14667" y="21480"/>
                      <a:pt x="12974" y="24872"/>
                      <a:pt x="11564" y="29111"/>
                    </a:cubicBezTo>
                    <a:cubicBezTo>
                      <a:pt x="10436" y="33068"/>
                      <a:pt x="9872" y="37590"/>
                      <a:pt x="9872" y="42678"/>
                    </a:cubicBezTo>
                    <a:cubicBezTo>
                      <a:pt x="9872" y="52570"/>
                      <a:pt x="12410" y="60484"/>
                      <a:pt x="17205" y="66419"/>
                    </a:cubicBezTo>
                    <a:cubicBezTo>
                      <a:pt x="22282" y="72072"/>
                      <a:pt x="29051" y="74898"/>
                      <a:pt x="38077" y="74898"/>
                    </a:cubicBezTo>
                  </a:path>
                </a:pathLst>
              </a:custGeom>
              <a:solidFill>
                <a:srgbClr val="7F8183"/>
              </a:solidFill>
              <a:ln w="2790" cap="flat">
                <a:noFill/>
                <a:prstDash val="solid"/>
                <a:miter/>
              </a:ln>
            </p:spPr>
            <p:txBody>
              <a:bodyPr rtlCol="0" anchor="ctr"/>
              <a:lstStyle/>
              <a:p>
                <a:endParaRPr lang="x-none" sz="1905"/>
              </a:p>
            </p:txBody>
          </p:sp>
          <p:sp>
            <p:nvSpPr>
              <p:cNvPr id="55" name="Freeform 54">
                <a:extLst>
                  <a:ext uri="{FF2B5EF4-FFF2-40B4-BE49-F238E27FC236}">
                    <a16:creationId xmlns:a16="http://schemas.microsoft.com/office/drawing/2014/main" id="{4A904276-BA85-A74D-9691-DD19D10E826E}"/>
                  </a:ext>
                </a:extLst>
              </p:cNvPr>
              <p:cNvSpPr/>
              <p:nvPr/>
            </p:nvSpPr>
            <p:spPr>
              <a:xfrm>
                <a:off x="1347542" y="5811024"/>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769" y="49461"/>
                      <a:pt x="22000"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764"/>
                      <a:pt x="0" y="29959"/>
                    </a:cubicBezTo>
                    <a:cubicBezTo>
                      <a:pt x="0" y="20350"/>
                      <a:pt x="2538" y="13001"/>
                      <a:pt x="7615" y="7914"/>
                    </a:cubicBezTo>
                    <a:cubicBezTo>
                      <a:pt x="12692" y="2826"/>
                      <a:pt x="19180" y="0"/>
                      <a:pt x="27359" y="0"/>
                    </a:cubicBezTo>
                    <a:cubicBezTo>
                      <a:pt x="35256" y="0"/>
                      <a:pt x="41744" y="2544"/>
                      <a:pt x="46539" y="7914"/>
                    </a:cubicBezTo>
                    <a:cubicBezTo>
                      <a:pt x="51333" y="13001"/>
                      <a:pt x="53872" y="20350"/>
                      <a:pt x="53872" y="29959"/>
                    </a:cubicBezTo>
                    <a:cubicBezTo>
                      <a:pt x="53872" y="39286"/>
                      <a:pt x="51333" y="46635"/>
                      <a:pt x="46539" y="52005"/>
                    </a:cubicBezTo>
                    <a:cubicBezTo>
                      <a:pt x="41744" y="57092"/>
                      <a:pt x="35538" y="59919"/>
                      <a:pt x="27359" y="59919"/>
                    </a:cubicBezTo>
                  </a:path>
                </a:pathLst>
              </a:custGeom>
              <a:solidFill>
                <a:srgbClr val="7F8183"/>
              </a:solidFill>
              <a:ln w="2790" cap="flat">
                <a:noFill/>
                <a:prstDash val="solid"/>
                <a:miter/>
              </a:ln>
            </p:spPr>
            <p:txBody>
              <a:bodyPr rtlCol="0" anchor="ctr"/>
              <a:lstStyle/>
              <a:p>
                <a:endParaRPr lang="x-none" sz="1905"/>
              </a:p>
            </p:txBody>
          </p:sp>
          <p:sp>
            <p:nvSpPr>
              <p:cNvPr id="56" name="Freeform 55">
                <a:extLst>
                  <a:ext uri="{FF2B5EF4-FFF2-40B4-BE49-F238E27FC236}">
                    <a16:creationId xmlns:a16="http://schemas.microsoft.com/office/drawing/2014/main" id="{E1850322-FA09-0C40-B8AF-87FECBC8B398}"/>
                  </a:ext>
                </a:extLst>
              </p:cNvPr>
              <p:cNvSpPr/>
              <p:nvPr/>
            </p:nvSpPr>
            <p:spPr>
              <a:xfrm>
                <a:off x="1416080" y="5812155"/>
                <a:ext cx="45410" cy="57657"/>
              </a:xfrm>
              <a:custGeom>
                <a:avLst/>
                <a:gdLst>
                  <a:gd name="connsiteX0" fmla="*/ 26231 w 45410"/>
                  <a:gd name="connsiteY0" fmla="*/ 32220 h 57657"/>
                  <a:gd name="connsiteX1" fmla="*/ 9308 w 45410"/>
                  <a:gd name="connsiteY1" fmla="*/ 32220 h 57657"/>
                  <a:gd name="connsiteX2" fmla="*/ 9308 w 45410"/>
                  <a:gd name="connsiteY2" fmla="*/ 49178 h 57657"/>
                  <a:gd name="connsiteX3" fmla="*/ 26231 w 45410"/>
                  <a:gd name="connsiteY3" fmla="*/ 49178 h 57657"/>
                  <a:gd name="connsiteX4" fmla="*/ 34128 w 45410"/>
                  <a:gd name="connsiteY4" fmla="*/ 46917 h 57657"/>
                  <a:gd name="connsiteX5" fmla="*/ 36385 w 45410"/>
                  <a:gd name="connsiteY5" fmla="*/ 40699 h 57657"/>
                  <a:gd name="connsiteX6" fmla="*/ 33846 w 45410"/>
                  <a:gd name="connsiteY6" fmla="*/ 34199 h 57657"/>
                  <a:gd name="connsiteX7" fmla="*/ 26231 w 45410"/>
                  <a:gd name="connsiteY7" fmla="*/ 32220 h 57657"/>
                  <a:gd name="connsiteX8" fmla="*/ 24538 w 45410"/>
                  <a:gd name="connsiteY8" fmla="*/ 8196 h 57657"/>
                  <a:gd name="connsiteX9" fmla="*/ 9308 w 45410"/>
                  <a:gd name="connsiteY9" fmla="*/ 8196 h 57657"/>
                  <a:gd name="connsiteX10" fmla="*/ 9308 w 45410"/>
                  <a:gd name="connsiteY10" fmla="*/ 24307 h 57657"/>
                  <a:gd name="connsiteX11" fmla="*/ 25385 w 45410"/>
                  <a:gd name="connsiteY11" fmla="*/ 24307 h 57657"/>
                  <a:gd name="connsiteX12" fmla="*/ 32436 w 45410"/>
                  <a:gd name="connsiteY12" fmla="*/ 22328 h 57657"/>
                  <a:gd name="connsiteX13" fmla="*/ 34692 w 45410"/>
                  <a:gd name="connsiteY13" fmla="*/ 16110 h 57657"/>
                  <a:gd name="connsiteX14" fmla="*/ 32436 w 45410"/>
                  <a:gd name="connsiteY14" fmla="*/ 9892 h 57657"/>
                  <a:gd name="connsiteX15" fmla="*/ 24538 w 45410"/>
                  <a:gd name="connsiteY15" fmla="*/ 8196 h 57657"/>
                  <a:gd name="connsiteX16" fmla="*/ 0 w 45410"/>
                  <a:gd name="connsiteY16" fmla="*/ 57375 h 57657"/>
                  <a:gd name="connsiteX17" fmla="*/ 0 w 45410"/>
                  <a:gd name="connsiteY17" fmla="*/ 0 h 57657"/>
                  <a:gd name="connsiteX18" fmla="*/ 24538 w 45410"/>
                  <a:gd name="connsiteY18" fmla="*/ 0 h 57657"/>
                  <a:gd name="connsiteX19" fmla="*/ 38923 w 45410"/>
                  <a:gd name="connsiteY19" fmla="*/ 3957 h 57657"/>
                  <a:gd name="connsiteX20" fmla="*/ 44000 w 45410"/>
                  <a:gd name="connsiteY20" fmla="*/ 15545 h 57657"/>
                  <a:gd name="connsiteX21" fmla="*/ 42308 w 45410"/>
                  <a:gd name="connsiteY21" fmla="*/ 22328 h 57657"/>
                  <a:gd name="connsiteX22" fmla="*/ 35821 w 45410"/>
                  <a:gd name="connsiteY22" fmla="*/ 27698 h 57657"/>
                  <a:gd name="connsiteX23" fmla="*/ 43154 w 45410"/>
                  <a:gd name="connsiteY23" fmla="*/ 32786 h 57657"/>
                  <a:gd name="connsiteX24" fmla="*/ 45410 w 45410"/>
                  <a:gd name="connsiteY24" fmla="*/ 41265 h 57657"/>
                  <a:gd name="connsiteX25" fmla="*/ 40897 w 45410"/>
                  <a:gd name="connsiteY25" fmla="*/ 53135 h 57657"/>
                  <a:gd name="connsiteX26" fmla="*/ 26231 w 45410"/>
                  <a:gd name="connsiteY26" fmla="*/ 57657 h 57657"/>
                  <a:gd name="connsiteX27" fmla="*/ 0 w 45410"/>
                  <a:gd name="connsiteY27" fmla="*/ 57657 h 5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5410" h="57657">
                    <a:moveTo>
                      <a:pt x="26231" y="32220"/>
                    </a:moveTo>
                    <a:lnTo>
                      <a:pt x="9308" y="32220"/>
                    </a:lnTo>
                    <a:lnTo>
                      <a:pt x="9308" y="49178"/>
                    </a:lnTo>
                    <a:lnTo>
                      <a:pt x="26231" y="49178"/>
                    </a:lnTo>
                    <a:cubicBezTo>
                      <a:pt x="29897" y="49178"/>
                      <a:pt x="32436" y="48330"/>
                      <a:pt x="34128" y="46917"/>
                    </a:cubicBezTo>
                    <a:cubicBezTo>
                      <a:pt x="35538" y="45504"/>
                      <a:pt x="36385" y="43526"/>
                      <a:pt x="36385" y="40699"/>
                    </a:cubicBezTo>
                    <a:cubicBezTo>
                      <a:pt x="36385" y="37590"/>
                      <a:pt x="35538" y="35612"/>
                      <a:pt x="33846" y="34199"/>
                    </a:cubicBezTo>
                    <a:cubicBezTo>
                      <a:pt x="32436" y="33068"/>
                      <a:pt x="29897" y="32220"/>
                      <a:pt x="26231" y="32220"/>
                    </a:cubicBezTo>
                    <a:moveTo>
                      <a:pt x="24538" y="8196"/>
                    </a:moveTo>
                    <a:lnTo>
                      <a:pt x="9308" y="8196"/>
                    </a:lnTo>
                    <a:lnTo>
                      <a:pt x="9308" y="24307"/>
                    </a:lnTo>
                    <a:lnTo>
                      <a:pt x="25385" y="24307"/>
                    </a:lnTo>
                    <a:cubicBezTo>
                      <a:pt x="28487" y="24307"/>
                      <a:pt x="31026" y="23741"/>
                      <a:pt x="32436" y="22328"/>
                    </a:cubicBezTo>
                    <a:cubicBezTo>
                      <a:pt x="34128" y="20915"/>
                      <a:pt x="34692" y="18937"/>
                      <a:pt x="34692" y="16110"/>
                    </a:cubicBezTo>
                    <a:cubicBezTo>
                      <a:pt x="34692" y="13284"/>
                      <a:pt x="33846" y="11305"/>
                      <a:pt x="32436" y="9892"/>
                    </a:cubicBezTo>
                    <a:cubicBezTo>
                      <a:pt x="31308" y="9044"/>
                      <a:pt x="28487" y="8196"/>
                      <a:pt x="24538" y="8196"/>
                    </a:cubicBezTo>
                    <a:moveTo>
                      <a:pt x="0" y="57375"/>
                    </a:moveTo>
                    <a:lnTo>
                      <a:pt x="0" y="0"/>
                    </a:lnTo>
                    <a:lnTo>
                      <a:pt x="24538" y="0"/>
                    </a:lnTo>
                    <a:cubicBezTo>
                      <a:pt x="30744" y="0"/>
                      <a:pt x="35538" y="1413"/>
                      <a:pt x="38923" y="3957"/>
                    </a:cubicBezTo>
                    <a:cubicBezTo>
                      <a:pt x="42308" y="6501"/>
                      <a:pt x="44000" y="10457"/>
                      <a:pt x="44000" y="15545"/>
                    </a:cubicBezTo>
                    <a:cubicBezTo>
                      <a:pt x="44000" y="17806"/>
                      <a:pt x="43436" y="20067"/>
                      <a:pt x="42308" y="22328"/>
                    </a:cubicBezTo>
                    <a:cubicBezTo>
                      <a:pt x="41180" y="24589"/>
                      <a:pt x="39205" y="26568"/>
                      <a:pt x="35821" y="27698"/>
                    </a:cubicBezTo>
                    <a:cubicBezTo>
                      <a:pt x="39205" y="28829"/>
                      <a:pt x="41744" y="30524"/>
                      <a:pt x="43154" y="32786"/>
                    </a:cubicBezTo>
                    <a:cubicBezTo>
                      <a:pt x="44564" y="35047"/>
                      <a:pt x="45410" y="37873"/>
                      <a:pt x="45410" y="41265"/>
                    </a:cubicBezTo>
                    <a:cubicBezTo>
                      <a:pt x="45410" y="46069"/>
                      <a:pt x="44000" y="50026"/>
                      <a:pt x="40897" y="53135"/>
                    </a:cubicBezTo>
                    <a:cubicBezTo>
                      <a:pt x="37795" y="55962"/>
                      <a:pt x="33000" y="57657"/>
                      <a:pt x="26231" y="57657"/>
                    </a:cubicBezTo>
                    <a:lnTo>
                      <a:pt x="0" y="57657"/>
                    </a:lnTo>
                    <a:close/>
                  </a:path>
                </a:pathLst>
              </a:custGeom>
              <a:solidFill>
                <a:srgbClr val="7F8183"/>
              </a:solidFill>
              <a:ln w="2790" cap="flat">
                <a:noFill/>
                <a:prstDash val="solid"/>
                <a:miter/>
              </a:ln>
            </p:spPr>
            <p:txBody>
              <a:bodyPr rtlCol="0" anchor="ctr"/>
              <a:lstStyle/>
              <a:p>
                <a:endParaRPr lang="x-none" sz="1905"/>
              </a:p>
            </p:txBody>
          </p:sp>
          <p:sp>
            <p:nvSpPr>
              <p:cNvPr id="57" name="Freeform 56">
                <a:extLst>
                  <a:ext uri="{FF2B5EF4-FFF2-40B4-BE49-F238E27FC236}">
                    <a16:creationId xmlns:a16="http://schemas.microsoft.com/office/drawing/2014/main" id="{0005A2E5-AE64-F647-9860-4C90ECF12A1E}"/>
                  </a:ext>
                </a:extLst>
              </p:cNvPr>
              <p:cNvSpPr/>
              <p:nvPr/>
            </p:nvSpPr>
            <p:spPr>
              <a:xfrm>
                <a:off x="1472208" y="5811307"/>
                <a:ext cx="51333" cy="59635"/>
              </a:xfrm>
              <a:custGeom>
                <a:avLst/>
                <a:gdLst>
                  <a:gd name="connsiteX0" fmla="*/ 26795 w 51333"/>
                  <a:gd name="connsiteY0" fmla="*/ 7914 h 59635"/>
                  <a:gd name="connsiteX1" fmla="*/ 15795 w 51333"/>
                  <a:gd name="connsiteY1" fmla="*/ 12153 h 59635"/>
                  <a:gd name="connsiteX2" fmla="*/ 10154 w 51333"/>
                  <a:gd name="connsiteY2" fmla="*/ 23176 h 59635"/>
                  <a:gd name="connsiteX3" fmla="*/ 42308 w 51333"/>
                  <a:gd name="connsiteY3" fmla="*/ 23176 h 59635"/>
                  <a:gd name="connsiteX4" fmla="*/ 38359 w 51333"/>
                  <a:gd name="connsiteY4" fmla="*/ 12153 h 59635"/>
                  <a:gd name="connsiteX5" fmla="*/ 26795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8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795" y="7914"/>
                    </a:moveTo>
                    <a:cubicBezTo>
                      <a:pt x="22282" y="7914"/>
                      <a:pt x="18615" y="9327"/>
                      <a:pt x="15795" y="12153"/>
                    </a:cubicBezTo>
                    <a:cubicBezTo>
                      <a:pt x="12692" y="14980"/>
                      <a:pt x="11000" y="18654"/>
                      <a:pt x="10154" y="23176"/>
                    </a:cubicBezTo>
                    <a:lnTo>
                      <a:pt x="42308" y="23176"/>
                    </a:lnTo>
                    <a:cubicBezTo>
                      <a:pt x="42026" y="18654"/>
                      <a:pt x="40615" y="14980"/>
                      <a:pt x="38359" y="12153"/>
                    </a:cubicBezTo>
                    <a:cubicBezTo>
                      <a:pt x="35256" y="9327"/>
                      <a:pt x="31590" y="7914"/>
                      <a:pt x="26795"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8"/>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58" name="Freeform 57">
                <a:extLst>
                  <a:ext uri="{FF2B5EF4-FFF2-40B4-BE49-F238E27FC236}">
                    <a16:creationId xmlns:a16="http://schemas.microsoft.com/office/drawing/2014/main" id="{AE3555D9-27FB-5F49-9761-AE6DED37A7FD}"/>
                  </a:ext>
                </a:extLst>
              </p:cNvPr>
              <p:cNvSpPr/>
              <p:nvPr/>
            </p:nvSpPr>
            <p:spPr>
              <a:xfrm>
                <a:off x="1537644" y="5810742"/>
                <a:ext cx="54153" cy="82246"/>
              </a:xfrm>
              <a:custGeom>
                <a:avLst/>
                <a:gdLst>
                  <a:gd name="connsiteX0" fmla="*/ 9590 w 54153"/>
                  <a:gd name="connsiteY0" fmla="*/ 34764 h 82246"/>
                  <a:gd name="connsiteX1" fmla="*/ 14949 w 54153"/>
                  <a:gd name="connsiteY1" fmla="*/ 46917 h 82246"/>
                  <a:gd name="connsiteX2" fmla="*/ 27641 w 54153"/>
                  <a:gd name="connsiteY2" fmla="*/ 51439 h 82246"/>
                  <a:gd name="connsiteX3" fmla="*/ 40051 w 54153"/>
                  <a:gd name="connsiteY3" fmla="*/ 45504 h 82246"/>
                  <a:gd name="connsiteX4" fmla="*/ 44564 w 54153"/>
                  <a:gd name="connsiteY4" fmla="*/ 29677 h 82246"/>
                  <a:gd name="connsiteX5" fmla="*/ 40051 w 54153"/>
                  <a:gd name="connsiteY5" fmla="*/ 14414 h 82246"/>
                  <a:gd name="connsiteX6" fmla="*/ 27359 w 54153"/>
                  <a:gd name="connsiteY6" fmla="*/ 8479 h 82246"/>
                  <a:gd name="connsiteX7" fmla="*/ 20872 w 54153"/>
                  <a:gd name="connsiteY7" fmla="*/ 9610 h 82246"/>
                  <a:gd name="connsiteX8" fmla="*/ 15231 w 54153"/>
                  <a:gd name="connsiteY8" fmla="*/ 13284 h 82246"/>
                  <a:gd name="connsiteX9" fmla="*/ 11282 w 54153"/>
                  <a:gd name="connsiteY9" fmla="*/ 19219 h 82246"/>
                  <a:gd name="connsiteX10" fmla="*/ 9872 w 54153"/>
                  <a:gd name="connsiteY10" fmla="*/ 27416 h 82246"/>
                  <a:gd name="connsiteX11" fmla="*/ 9872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590" y="34764"/>
                    </a:moveTo>
                    <a:cubicBezTo>
                      <a:pt x="9590" y="40134"/>
                      <a:pt x="11282" y="44091"/>
                      <a:pt x="14949" y="46917"/>
                    </a:cubicBezTo>
                    <a:cubicBezTo>
                      <a:pt x="18615" y="49744"/>
                      <a:pt x="22846" y="51439"/>
                      <a:pt x="27641" y="51439"/>
                    </a:cubicBezTo>
                    <a:cubicBezTo>
                      <a:pt x="33000" y="51439"/>
                      <a:pt x="36949" y="49461"/>
                      <a:pt x="40051" y="45504"/>
                    </a:cubicBezTo>
                    <a:cubicBezTo>
                      <a:pt x="43154" y="41547"/>
                      <a:pt x="44564" y="36460"/>
                      <a:pt x="44564" y="29677"/>
                    </a:cubicBezTo>
                    <a:cubicBezTo>
                      <a:pt x="44564" y="23459"/>
                      <a:pt x="43154" y="18371"/>
                      <a:pt x="40051" y="14414"/>
                    </a:cubicBezTo>
                    <a:cubicBezTo>
                      <a:pt x="36949" y="10457"/>
                      <a:pt x="32718" y="8479"/>
                      <a:pt x="27359" y="8479"/>
                    </a:cubicBezTo>
                    <a:cubicBezTo>
                      <a:pt x="25103" y="8479"/>
                      <a:pt x="22846" y="8762"/>
                      <a:pt x="20872" y="9610"/>
                    </a:cubicBezTo>
                    <a:cubicBezTo>
                      <a:pt x="18897" y="10457"/>
                      <a:pt x="16923" y="11588"/>
                      <a:pt x="15231" y="13284"/>
                    </a:cubicBezTo>
                    <a:cubicBezTo>
                      <a:pt x="13538" y="14980"/>
                      <a:pt x="12128" y="16958"/>
                      <a:pt x="11282" y="19219"/>
                    </a:cubicBezTo>
                    <a:cubicBezTo>
                      <a:pt x="10154" y="21763"/>
                      <a:pt x="9872" y="24307"/>
                      <a:pt x="9872" y="27416"/>
                    </a:cubicBezTo>
                    <a:lnTo>
                      <a:pt x="9872" y="34764"/>
                    </a:lnTo>
                    <a:close/>
                    <a:moveTo>
                      <a:pt x="0" y="82247"/>
                    </a:moveTo>
                    <a:lnTo>
                      <a:pt x="0" y="1413"/>
                    </a:lnTo>
                    <a:lnTo>
                      <a:pt x="9590" y="1413"/>
                    </a:lnTo>
                    <a:lnTo>
                      <a:pt x="9590" y="9044"/>
                    </a:lnTo>
                    <a:cubicBezTo>
                      <a:pt x="11564" y="6218"/>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grpSp>
        <p:sp>
          <p:nvSpPr>
            <p:cNvPr id="25" name="Freeform 24">
              <a:extLst>
                <a:ext uri="{FF2B5EF4-FFF2-40B4-BE49-F238E27FC236}">
                  <a16:creationId xmlns:a16="http://schemas.microsoft.com/office/drawing/2014/main" id="{2DF8BBB9-43C0-5340-BA63-C4215310B614}"/>
                </a:ext>
              </a:extLst>
            </p:cNvPr>
            <p:cNvSpPr/>
            <p:nvPr/>
          </p:nvSpPr>
          <p:spPr>
            <a:xfrm>
              <a:off x="1606183" y="5812155"/>
              <a:ext cx="75307" cy="57374"/>
            </a:xfrm>
            <a:custGeom>
              <a:avLst/>
              <a:gdLst>
                <a:gd name="connsiteX0" fmla="*/ 75308 w 75307"/>
                <a:gd name="connsiteY0" fmla="*/ 0 h 57374"/>
                <a:gd name="connsiteX1" fmla="*/ 75308 w 75307"/>
                <a:gd name="connsiteY1" fmla="*/ 57375 h 57374"/>
                <a:gd name="connsiteX2" fmla="*/ 0 w 75307"/>
                <a:gd name="connsiteY2" fmla="*/ 57375 h 57374"/>
                <a:gd name="connsiteX3" fmla="*/ 0 w 75307"/>
                <a:gd name="connsiteY3" fmla="*/ 0 h 57374"/>
                <a:gd name="connsiteX4" fmla="*/ 9590 w 75307"/>
                <a:gd name="connsiteY4" fmla="*/ 0 h 57374"/>
                <a:gd name="connsiteX5" fmla="*/ 9590 w 75307"/>
                <a:gd name="connsiteY5" fmla="*/ 48613 h 57374"/>
                <a:gd name="connsiteX6" fmla="*/ 33000 w 75307"/>
                <a:gd name="connsiteY6" fmla="*/ 48613 h 57374"/>
                <a:gd name="connsiteX7" fmla="*/ 33000 w 75307"/>
                <a:gd name="connsiteY7" fmla="*/ 0 h 57374"/>
                <a:gd name="connsiteX8" fmla="*/ 42308 w 75307"/>
                <a:gd name="connsiteY8" fmla="*/ 0 h 57374"/>
                <a:gd name="connsiteX9" fmla="*/ 42308 w 75307"/>
                <a:gd name="connsiteY9" fmla="*/ 48613 h 57374"/>
                <a:gd name="connsiteX10" fmla="*/ 65718 w 75307"/>
                <a:gd name="connsiteY10" fmla="*/ 48613 h 57374"/>
                <a:gd name="connsiteX11" fmla="*/ 65718 w 75307"/>
                <a:gd name="connsiteY11" fmla="*/ 0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307" h="57374">
                  <a:moveTo>
                    <a:pt x="75308" y="0"/>
                  </a:moveTo>
                  <a:lnTo>
                    <a:pt x="75308" y="57375"/>
                  </a:lnTo>
                  <a:lnTo>
                    <a:pt x="0" y="57375"/>
                  </a:lnTo>
                  <a:lnTo>
                    <a:pt x="0" y="0"/>
                  </a:lnTo>
                  <a:lnTo>
                    <a:pt x="9590" y="0"/>
                  </a:lnTo>
                  <a:lnTo>
                    <a:pt x="9590" y="48613"/>
                  </a:lnTo>
                  <a:lnTo>
                    <a:pt x="33000" y="48613"/>
                  </a:lnTo>
                  <a:lnTo>
                    <a:pt x="33000" y="0"/>
                  </a:lnTo>
                  <a:lnTo>
                    <a:pt x="42308" y="0"/>
                  </a:lnTo>
                  <a:lnTo>
                    <a:pt x="42308" y="48613"/>
                  </a:lnTo>
                  <a:lnTo>
                    <a:pt x="65718" y="48613"/>
                  </a:lnTo>
                  <a:lnTo>
                    <a:pt x="65718" y="0"/>
                  </a:lnTo>
                  <a:close/>
                </a:path>
              </a:pathLst>
            </a:custGeom>
            <a:solidFill>
              <a:srgbClr val="7F8183"/>
            </a:solidFill>
            <a:ln w="2790" cap="flat">
              <a:noFill/>
              <a:prstDash val="solid"/>
              <a:miter/>
            </a:ln>
          </p:spPr>
          <p:txBody>
            <a:bodyPr rtlCol="0" anchor="ctr"/>
            <a:lstStyle/>
            <a:p>
              <a:endParaRPr lang="x-none" sz="1905"/>
            </a:p>
          </p:txBody>
        </p:sp>
        <p:sp>
          <p:nvSpPr>
            <p:cNvPr id="26" name="Freeform 25">
              <a:extLst>
                <a:ext uri="{FF2B5EF4-FFF2-40B4-BE49-F238E27FC236}">
                  <a16:creationId xmlns:a16="http://schemas.microsoft.com/office/drawing/2014/main" id="{FEB02A76-2CA2-4940-B211-4B76587F730D}"/>
                </a:ext>
              </a:extLst>
            </p:cNvPr>
            <p:cNvSpPr/>
            <p:nvPr/>
          </p:nvSpPr>
          <p:spPr>
            <a:xfrm>
              <a:off x="1695593" y="5811307"/>
              <a:ext cx="51615" cy="59635"/>
            </a:xfrm>
            <a:custGeom>
              <a:avLst/>
              <a:gdLst>
                <a:gd name="connsiteX0" fmla="*/ 26795 w 51615"/>
                <a:gd name="connsiteY0" fmla="*/ 7914 h 59635"/>
                <a:gd name="connsiteX1" fmla="*/ 15795 w 51615"/>
                <a:gd name="connsiteY1" fmla="*/ 12153 h 59635"/>
                <a:gd name="connsiteX2" fmla="*/ 10154 w 51615"/>
                <a:gd name="connsiteY2" fmla="*/ 23176 h 59635"/>
                <a:gd name="connsiteX3" fmla="*/ 42308 w 51615"/>
                <a:gd name="connsiteY3" fmla="*/ 23176 h 59635"/>
                <a:gd name="connsiteX4" fmla="*/ 38359 w 51615"/>
                <a:gd name="connsiteY4" fmla="*/ 12153 h 59635"/>
                <a:gd name="connsiteX5" fmla="*/ 26795 w 51615"/>
                <a:gd name="connsiteY5" fmla="*/ 7914 h 59635"/>
                <a:gd name="connsiteX6" fmla="*/ 51615 w 51615"/>
                <a:gd name="connsiteY6" fmla="*/ 31372 h 59635"/>
                <a:gd name="connsiteX7" fmla="*/ 9590 w 51615"/>
                <a:gd name="connsiteY7" fmla="*/ 31372 h 59635"/>
                <a:gd name="connsiteX8" fmla="*/ 14949 w 51615"/>
                <a:gd name="connsiteY8" fmla="*/ 46069 h 59635"/>
                <a:gd name="connsiteX9" fmla="*/ 27077 w 51615"/>
                <a:gd name="connsiteY9" fmla="*/ 51157 h 59635"/>
                <a:gd name="connsiteX10" fmla="*/ 37513 w 51615"/>
                <a:gd name="connsiteY10" fmla="*/ 48048 h 59635"/>
                <a:gd name="connsiteX11" fmla="*/ 42308 w 51615"/>
                <a:gd name="connsiteY11" fmla="*/ 40699 h 59635"/>
                <a:gd name="connsiteX12" fmla="*/ 51333 w 51615"/>
                <a:gd name="connsiteY12" fmla="*/ 42395 h 59635"/>
                <a:gd name="connsiteX13" fmla="*/ 42872 w 51615"/>
                <a:gd name="connsiteY13" fmla="*/ 55114 h 59635"/>
                <a:gd name="connsiteX14" fmla="*/ 26795 w 51615"/>
                <a:gd name="connsiteY14" fmla="*/ 59636 h 59635"/>
                <a:gd name="connsiteX15" fmla="*/ 7333 w 51615"/>
                <a:gd name="connsiteY15" fmla="*/ 51722 h 59635"/>
                <a:gd name="connsiteX16" fmla="*/ 0 w 51615"/>
                <a:gd name="connsiteY16" fmla="*/ 29677 h 59635"/>
                <a:gd name="connsiteX17" fmla="*/ 1974 w 51615"/>
                <a:gd name="connsiteY17" fmla="*/ 16958 h 59635"/>
                <a:gd name="connsiteX18" fmla="*/ 7615 w 51615"/>
                <a:gd name="connsiteY18" fmla="*/ 7631 h 59635"/>
                <a:gd name="connsiteX19" fmla="*/ 16077 w 51615"/>
                <a:gd name="connsiteY19" fmla="*/ 1978 h 59635"/>
                <a:gd name="connsiteX20" fmla="*/ 26513 w 51615"/>
                <a:gd name="connsiteY20" fmla="*/ 0 h 59635"/>
                <a:gd name="connsiteX21" fmla="*/ 44564 w 51615"/>
                <a:gd name="connsiteY21" fmla="*/ 7348 h 59635"/>
                <a:gd name="connsiteX22" fmla="*/ 51333 w 51615"/>
                <a:gd name="connsiteY22" fmla="*/ 27698 h 59635"/>
                <a:gd name="connsiteX23" fmla="*/ 51333 w 51615"/>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615" h="59635">
                  <a:moveTo>
                    <a:pt x="26795" y="7914"/>
                  </a:moveTo>
                  <a:cubicBezTo>
                    <a:pt x="22282" y="7914"/>
                    <a:pt x="18615" y="9327"/>
                    <a:pt x="15795" y="12153"/>
                  </a:cubicBezTo>
                  <a:cubicBezTo>
                    <a:pt x="12692" y="14980"/>
                    <a:pt x="11000" y="18654"/>
                    <a:pt x="10154" y="23176"/>
                  </a:cubicBezTo>
                  <a:lnTo>
                    <a:pt x="42308" y="23176"/>
                  </a:lnTo>
                  <a:cubicBezTo>
                    <a:pt x="42026" y="18654"/>
                    <a:pt x="40615" y="14980"/>
                    <a:pt x="38359" y="12153"/>
                  </a:cubicBezTo>
                  <a:cubicBezTo>
                    <a:pt x="35539" y="9327"/>
                    <a:pt x="31590" y="7914"/>
                    <a:pt x="26795" y="7914"/>
                  </a:cubicBezTo>
                  <a:moveTo>
                    <a:pt x="51615"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8"/>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27" name="Freeform 26">
              <a:extLst>
                <a:ext uri="{FF2B5EF4-FFF2-40B4-BE49-F238E27FC236}">
                  <a16:creationId xmlns:a16="http://schemas.microsoft.com/office/drawing/2014/main" id="{4615D367-45A5-D741-B403-75824813B360}"/>
                </a:ext>
              </a:extLst>
            </p:cNvPr>
            <p:cNvSpPr/>
            <p:nvPr/>
          </p:nvSpPr>
          <p:spPr>
            <a:xfrm>
              <a:off x="1761029" y="5812155"/>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28" name="Freeform 27">
              <a:extLst>
                <a:ext uri="{FF2B5EF4-FFF2-40B4-BE49-F238E27FC236}">
                  <a16:creationId xmlns:a16="http://schemas.microsoft.com/office/drawing/2014/main" id="{4EFE0182-0F7E-E440-9F38-7F6A6D0A5248}"/>
                </a:ext>
              </a:extLst>
            </p:cNvPr>
            <p:cNvSpPr/>
            <p:nvPr/>
          </p:nvSpPr>
          <p:spPr>
            <a:xfrm>
              <a:off x="1825055" y="5810742"/>
              <a:ext cx="50769" cy="59918"/>
            </a:xfrm>
            <a:custGeom>
              <a:avLst/>
              <a:gdLst>
                <a:gd name="connsiteX0" fmla="*/ 41744 w 50769"/>
                <a:gd name="connsiteY0" fmla="*/ 40134 h 59918"/>
                <a:gd name="connsiteX1" fmla="*/ 50769 w 50769"/>
                <a:gd name="connsiteY1" fmla="*/ 41547 h 59918"/>
                <a:gd name="connsiteX2" fmla="*/ 43154 w 50769"/>
                <a:gd name="connsiteY2" fmla="*/ 54548 h 59918"/>
                <a:gd name="connsiteX3" fmla="*/ 26513 w 50769"/>
                <a:gd name="connsiteY3" fmla="*/ 59919 h 59918"/>
                <a:gd name="connsiteX4" fmla="*/ 7333 w 50769"/>
                <a:gd name="connsiteY4" fmla="*/ 52287 h 59918"/>
                <a:gd name="connsiteX5" fmla="*/ 0 w 50769"/>
                <a:gd name="connsiteY5" fmla="*/ 29959 h 59918"/>
                <a:gd name="connsiteX6" fmla="*/ 1974 w 50769"/>
                <a:gd name="connsiteY6" fmla="*/ 16675 h 59918"/>
                <a:gd name="connsiteX7" fmla="*/ 7615 w 50769"/>
                <a:gd name="connsiteY7" fmla="*/ 7348 h 59918"/>
                <a:gd name="connsiteX8" fmla="*/ 16077 w 50769"/>
                <a:gd name="connsiteY8" fmla="*/ 1696 h 59918"/>
                <a:gd name="connsiteX9" fmla="*/ 26513 w 50769"/>
                <a:gd name="connsiteY9" fmla="*/ 0 h 59918"/>
                <a:gd name="connsiteX10" fmla="*/ 43436 w 50769"/>
                <a:gd name="connsiteY10" fmla="*/ 5370 h 59918"/>
                <a:gd name="connsiteX11" fmla="*/ 50769 w 50769"/>
                <a:gd name="connsiteY11" fmla="*/ 18089 h 59918"/>
                <a:gd name="connsiteX12" fmla="*/ 42026 w 50769"/>
                <a:gd name="connsiteY12" fmla="*/ 19784 h 59918"/>
                <a:gd name="connsiteX13" fmla="*/ 37513 w 50769"/>
                <a:gd name="connsiteY13" fmla="*/ 12153 h 59918"/>
                <a:gd name="connsiteX14" fmla="*/ 26795 w 50769"/>
                <a:gd name="connsiteY14" fmla="*/ 8479 h 59918"/>
                <a:gd name="connsiteX15" fmla="*/ 14103 w 50769"/>
                <a:gd name="connsiteY15" fmla="*/ 14132 h 59918"/>
                <a:gd name="connsiteX16" fmla="*/ 9590 w 50769"/>
                <a:gd name="connsiteY16" fmla="*/ 29677 h 59918"/>
                <a:gd name="connsiteX17" fmla="*/ 14103 w 50769"/>
                <a:gd name="connsiteY17" fmla="*/ 45222 h 59918"/>
                <a:gd name="connsiteX18" fmla="*/ 26795 w 50769"/>
                <a:gd name="connsiteY18" fmla="*/ 51157 h 59918"/>
                <a:gd name="connsiteX19" fmla="*/ 37795 w 50769"/>
                <a:gd name="connsiteY19" fmla="*/ 47483 h 59918"/>
                <a:gd name="connsiteX20" fmla="*/ 41744 w 50769"/>
                <a:gd name="connsiteY20" fmla="*/ 40134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769" h="59918">
                  <a:moveTo>
                    <a:pt x="41744" y="40134"/>
                  </a:moveTo>
                  <a:lnTo>
                    <a:pt x="50769" y="41547"/>
                  </a:lnTo>
                  <a:cubicBezTo>
                    <a:pt x="49641" y="46635"/>
                    <a:pt x="47103" y="51157"/>
                    <a:pt x="43154" y="54548"/>
                  </a:cubicBezTo>
                  <a:cubicBezTo>
                    <a:pt x="39205" y="58223"/>
                    <a:pt x="33564" y="59919"/>
                    <a:pt x="26513" y="59919"/>
                  </a:cubicBezTo>
                  <a:cubicBezTo>
                    <a:pt x="18615" y="59919"/>
                    <a:pt x="12128" y="57375"/>
                    <a:pt x="7333" y="52287"/>
                  </a:cubicBezTo>
                  <a:cubicBezTo>
                    <a:pt x="2538" y="47200"/>
                    <a:pt x="0" y="39851"/>
                    <a:pt x="0" y="29959"/>
                  </a:cubicBezTo>
                  <a:cubicBezTo>
                    <a:pt x="0" y="24872"/>
                    <a:pt x="564" y="20350"/>
                    <a:pt x="1974" y="16675"/>
                  </a:cubicBezTo>
                  <a:cubicBezTo>
                    <a:pt x="3385" y="13001"/>
                    <a:pt x="5359" y="9892"/>
                    <a:pt x="7615" y="7348"/>
                  </a:cubicBezTo>
                  <a:cubicBezTo>
                    <a:pt x="9872" y="4805"/>
                    <a:pt x="12692" y="3109"/>
                    <a:pt x="16077" y="1696"/>
                  </a:cubicBezTo>
                  <a:cubicBezTo>
                    <a:pt x="19462" y="565"/>
                    <a:pt x="22846" y="0"/>
                    <a:pt x="26513" y="0"/>
                  </a:cubicBezTo>
                  <a:cubicBezTo>
                    <a:pt x="33846" y="0"/>
                    <a:pt x="39487" y="1696"/>
                    <a:pt x="43436" y="5370"/>
                  </a:cubicBezTo>
                  <a:cubicBezTo>
                    <a:pt x="47385" y="9044"/>
                    <a:pt x="49641" y="13284"/>
                    <a:pt x="50769" y="18089"/>
                  </a:cubicBezTo>
                  <a:lnTo>
                    <a:pt x="42026" y="19784"/>
                  </a:lnTo>
                  <a:cubicBezTo>
                    <a:pt x="41179" y="16958"/>
                    <a:pt x="39769" y="14414"/>
                    <a:pt x="37513" y="12153"/>
                  </a:cubicBezTo>
                  <a:cubicBezTo>
                    <a:pt x="35256" y="9892"/>
                    <a:pt x="31590" y="8479"/>
                    <a:pt x="26795" y="8479"/>
                  </a:cubicBezTo>
                  <a:cubicBezTo>
                    <a:pt x="21436" y="8479"/>
                    <a:pt x="17205" y="10457"/>
                    <a:pt x="14103" y="14132"/>
                  </a:cubicBezTo>
                  <a:cubicBezTo>
                    <a:pt x="11000" y="18089"/>
                    <a:pt x="9590" y="23176"/>
                    <a:pt x="9590" y="29677"/>
                  </a:cubicBezTo>
                  <a:cubicBezTo>
                    <a:pt x="9590" y="36177"/>
                    <a:pt x="11000" y="41265"/>
                    <a:pt x="14103" y="45222"/>
                  </a:cubicBezTo>
                  <a:cubicBezTo>
                    <a:pt x="16923" y="49178"/>
                    <a:pt x="21154" y="51157"/>
                    <a:pt x="26795" y="51157"/>
                  </a:cubicBezTo>
                  <a:cubicBezTo>
                    <a:pt x="31872" y="51157"/>
                    <a:pt x="35538" y="50026"/>
                    <a:pt x="37795" y="47483"/>
                  </a:cubicBezTo>
                  <a:cubicBezTo>
                    <a:pt x="39487" y="45504"/>
                    <a:pt x="40897" y="42960"/>
                    <a:pt x="41744" y="40134"/>
                  </a:cubicBezTo>
                </a:path>
              </a:pathLst>
            </a:custGeom>
            <a:solidFill>
              <a:srgbClr val="7F8183"/>
            </a:solidFill>
            <a:ln w="2790" cap="flat">
              <a:noFill/>
              <a:prstDash val="solid"/>
              <a:miter/>
            </a:ln>
          </p:spPr>
          <p:txBody>
            <a:bodyPr rtlCol="0" anchor="ctr"/>
            <a:lstStyle/>
            <a:p>
              <a:endParaRPr lang="x-none" sz="1905"/>
            </a:p>
          </p:txBody>
        </p:sp>
        <p:sp>
          <p:nvSpPr>
            <p:cNvPr id="29" name="Freeform 28">
              <a:extLst>
                <a:ext uri="{FF2B5EF4-FFF2-40B4-BE49-F238E27FC236}">
                  <a16:creationId xmlns:a16="http://schemas.microsoft.com/office/drawing/2014/main" id="{FC4F3CAD-D4EC-D04A-AB16-B7E0CBFE8147}"/>
                </a:ext>
              </a:extLst>
            </p:cNvPr>
            <p:cNvSpPr/>
            <p:nvPr/>
          </p:nvSpPr>
          <p:spPr>
            <a:xfrm>
              <a:off x="1882875" y="5812155"/>
              <a:ext cx="51333" cy="57374"/>
            </a:xfrm>
            <a:custGeom>
              <a:avLst/>
              <a:gdLst>
                <a:gd name="connsiteX0" fmla="*/ 0 w 51333"/>
                <a:gd name="connsiteY0" fmla="*/ 9044 h 57374"/>
                <a:gd name="connsiteX1" fmla="*/ 0 w 51333"/>
                <a:gd name="connsiteY1" fmla="*/ 0 h 57374"/>
                <a:gd name="connsiteX2" fmla="*/ 51333 w 51333"/>
                <a:gd name="connsiteY2" fmla="*/ 0 h 57374"/>
                <a:gd name="connsiteX3" fmla="*/ 51333 w 51333"/>
                <a:gd name="connsiteY3" fmla="*/ 9044 h 57374"/>
                <a:gd name="connsiteX4" fmla="*/ 30462 w 51333"/>
                <a:gd name="connsiteY4" fmla="*/ 9044 h 57374"/>
                <a:gd name="connsiteX5" fmla="*/ 30462 w 51333"/>
                <a:gd name="connsiteY5" fmla="*/ 57375 h 57374"/>
                <a:gd name="connsiteX6" fmla="*/ 20872 w 51333"/>
                <a:gd name="connsiteY6" fmla="*/ 57375 h 57374"/>
                <a:gd name="connsiteX7" fmla="*/ 20872 w 51333"/>
                <a:gd name="connsiteY7" fmla="*/ 9044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333" h="57374">
                  <a:moveTo>
                    <a:pt x="0" y="9044"/>
                  </a:moveTo>
                  <a:lnTo>
                    <a:pt x="0" y="0"/>
                  </a:lnTo>
                  <a:lnTo>
                    <a:pt x="51333" y="0"/>
                  </a:lnTo>
                  <a:lnTo>
                    <a:pt x="51333" y="9044"/>
                  </a:lnTo>
                  <a:lnTo>
                    <a:pt x="30462" y="9044"/>
                  </a:lnTo>
                  <a:lnTo>
                    <a:pt x="30462" y="57375"/>
                  </a:lnTo>
                  <a:lnTo>
                    <a:pt x="20872" y="57375"/>
                  </a:lnTo>
                  <a:lnTo>
                    <a:pt x="20872" y="9044"/>
                  </a:lnTo>
                  <a:close/>
                </a:path>
              </a:pathLst>
            </a:custGeom>
            <a:solidFill>
              <a:srgbClr val="7F8183"/>
            </a:solidFill>
            <a:ln w="2790" cap="flat">
              <a:noFill/>
              <a:prstDash val="solid"/>
              <a:miter/>
            </a:ln>
          </p:spPr>
          <p:txBody>
            <a:bodyPr rtlCol="0" anchor="ctr"/>
            <a:lstStyle/>
            <a:p>
              <a:endParaRPr lang="x-none" sz="1905"/>
            </a:p>
          </p:txBody>
        </p:sp>
        <p:grpSp>
          <p:nvGrpSpPr>
            <p:cNvPr id="30" name="Graphic 13">
              <a:extLst>
                <a:ext uri="{FF2B5EF4-FFF2-40B4-BE49-F238E27FC236}">
                  <a16:creationId xmlns:a16="http://schemas.microsoft.com/office/drawing/2014/main" id="{9E58D493-46A1-F04D-B91B-2102D960FDFE}"/>
                </a:ext>
              </a:extLst>
            </p:cNvPr>
            <p:cNvGrpSpPr/>
            <p:nvPr/>
          </p:nvGrpSpPr>
          <p:grpSpPr>
            <a:xfrm>
              <a:off x="1946055" y="5811024"/>
              <a:ext cx="110282" cy="59918"/>
              <a:chOff x="1946055" y="5811024"/>
              <a:chExt cx="110282" cy="59918"/>
            </a:xfrm>
            <a:solidFill>
              <a:srgbClr val="CFD4D9"/>
            </a:solidFill>
          </p:grpSpPr>
          <p:sp>
            <p:nvSpPr>
              <p:cNvPr id="52" name="Freeform 51">
                <a:extLst>
                  <a:ext uri="{FF2B5EF4-FFF2-40B4-BE49-F238E27FC236}">
                    <a16:creationId xmlns:a16="http://schemas.microsoft.com/office/drawing/2014/main" id="{DE353E8B-52BE-3841-9C75-07A3097861EF}"/>
                  </a:ext>
                </a:extLst>
              </p:cNvPr>
              <p:cNvSpPr/>
              <p:nvPr/>
            </p:nvSpPr>
            <p:spPr>
              <a:xfrm>
                <a:off x="1946055" y="5812155"/>
                <a:ext cx="45410" cy="57657"/>
              </a:xfrm>
              <a:custGeom>
                <a:avLst/>
                <a:gdLst>
                  <a:gd name="connsiteX0" fmla="*/ 26231 w 45410"/>
                  <a:gd name="connsiteY0" fmla="*/ 32220 h 57657"/>
                  <a:gd name="connsiteX1" fmla="*/ 9308 w 45410"/>
                  <a:gd name="connsiteY1" fmla="*/ 32220 h 57657"/>
                  <a:gd name="connsiteX2" fmla="*/ 9308 w 45410"/>
                  <a:gd name="connsiteY2" fmla="*/ 49178 h 57657"/>
                  <a:gd name="connsiteX3" fmla="*/ 26231 w 45410"/>
                  <a:gd name="connsiteY3" fmla="*/ 49178 h 57657"/>
                  <a:gd name="connsiteX4" fmla="*/ 34128 w 45410"/>
                  <a:gd name="connsiteY4" fmla="*/ 46917 h 57657"/>
                  <a:gd name="connsiteX5" fmla="*/ 36385 w 45410"/>
                  <a:gd name="connsiteY5" fmla="*/ 40699 h 57657"/>
                  <a:gd name="connsiteX6" fmla="*/ 33846 w 45410"/>
                  <a:gd name="connsiteY6" fmla="*/ 34199 h 57657"/>
                  <a:gd name="connsiteX7" fmla="*/ 26231 w 45410"/>
                  <a:gd name="connsiteY7" fmla="*/ 32220 h 57657"/>
                  <a:gd name="connsiteX8" fmla="*/ 24538 w 45410"/>
                  <a:gd name="connsiteY8" fmla="*/ 8196 h 57657"/>
                  <a:gd name="connsiteX9" fmla="*/ 9308 w 45410"/>
                  <a:gd name="connsiteY9" fmla="*/ 8196 h 57657"/>
                  <a:gd name="connsiteX10" fmla="*/ 9308 w 45410"/>
                  <a:gd name="connsiteY10" fmla="*/ 24307 h 57657"/>
                  <a:gd name="connsiteX11" fmla="*/ 25385 w 45410"/>
                  <a:gd name="connsiteY11" fmla="*/ 24307 h 57657"/>
                  <a:gd name="connsiteX12" fmla="*/ 32436 w 45410"/>
                  <a:gd name="connsiteY12" fmla="*/ 22328 h 57657"/>
                  <a:gd name="connsiteX13" fmla="*/ 34692 w 45410"/>
                  <a:gd name="connsiteY13" fmla="*/ 16110 h 57657"/>
                  <a:gd name="connsiteX14" fmla="*/ 32436 w 45410"/>
                  <a:gd name="connsiteY14" fmla="*/ 9892 h 57657"/>
                  <a:gd name="connsiteX15" fmla="*/ 24538 w 45410"/>
                  <a:gd name="connsiteY15" fmla="*/ 8196 h 57657"/>
                  <a:gd name="connsiteX16" fmla="*/ 0 w 45410"/>
                  <a:gd name="connsiteY16" fmla="*/ 57375 h 57657"/>
                  <a:gd name="connsiteX17" fmla="*/ 0 w 45410"/>
                  <a:gd name="connsiteY17" fmla="*/ 0 h 57657"/>
                  <a:gd name="connsiteX18" fmla="*/ 24538 w 45410"/>
                  <a:gd name="connsiteY18" fmla="*/ 0 h 57657"/>
                  <a:gd name="connsiteX19" fmla="*/ 38923 w 45410"/>
                  <a:gd name="connsiteY19" fmla="*/ 3957 h 57657"/>
                  <a:gd name="connsiteX20" fmla="*/ 44000 w 45410"/>
                  <a:gd name="connsiteY20" fmla="*/ 15545 h 57657"/>
                  <a:gd name="connsiteX21" fmla="*/ 42308 w 45410"/>
                  <a:gd name="connsiteY21" fmla="*/ 22328 h 57657"/>
                  <a:gd name="connsiteX22" fmla="*/ 35821 w 45410"/>
                  <a:gd name="connsiteY22" fmla="*/ 27698 h 57657"/>
                  <a:gd name="connsiteX23" fmla="*/ 43154 w 45410"/>
                  <a:gd name="connsiteY23" fmla="*/ 32786 h 57657"/>
                  <a:gd name="connsiteX24" fmla="*/ 45410 w 45410"/>
                  <a:gd name="connsiteY24" fmla="*/ 41265 h 57657"/>
                  <a:gd name="connsiteX25" fmla="*/ 40898 w 45410"/>
                  <a:gd name="connsiteY25" fmla="*/ 53135 h 57657"/>
                  <a:gd name="connsiteX26" fmla="*/ 26231 w 45410"/>
                  <a:gd name="connsiteY26" fmla="*/ 57657 h 57657"/>
                  <a:gd name="connsiteX27" fmla="*/ 0 w 45410"/>
                  <a:gd name="connsiteY27" fmla="*/ 57657 h 5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5410" h="57657">
                    <a:moveTo>
                      <a:pt x="26231" y="32220"/>
                    </a:moveTo>
                    <a:lnTo>
                      <a:pt x="9308" y="32220"/>
                    </a:lnTo>
                    <a:lnTo>
                      <a:pt x="9308" y="49178"/>
                    </a:lnTo>
                    <a:lnTo>
                      <a:pt x="26231" y="49178"/>
                    </a:lnTo>
                    <a:cubicBezTo>
                      <a:pt x="29897" y="49178"/>
                      <a:pt x="32436" y="48330"/>
                      <a:pt x="34128" y="46917"/>
                    </a:cubicBezTo>
                    <a:cubicBezTo>
                      <a:pt x="35538" y="45504"/>
                      <a:pt x="36385" y="43526"/>
                      <a:pt x="36385" y="40699"/>
                    </a:cubicBezTo>
                    <a:cubicBezTo>
                      <a:pt x="36385" y="37590"/>
                      <a:pt x="35538" y="35612"/>
                      <a:pt x="33846" y="34199"/>
                    </a:cubicBezTo>
                    <a:cubicBezTo>
                      <a:pt x="32436" y="33068"/>
                      <a:pt x="29897" y="32220"/>
                      <a:pt x="26231" y="32220"/>
                    </a:cubicBezTo>
                    <a:moveTo>
                      <a:pt x="24538" y="8196"/>
                    </a:moveTo>
                    <a:lnTo>
                      <a:pt x="9308" y="8196"/>
                    </a:lnTo>
                    <a:lnTo>
                      <a:pt x="9308" y="24307"/>
                    </a:lnTo>
                    <a:lnTo>
                      <a:pt x="25385" y="24307"/>
                    </a:lnTo>
                    <a:cubicBezTo>
                      <a:pt x="28487" y="24307"/>
                      <a:pt x="31026" y="23741"/>
                      <a:pt x="32436" y="22328"/>
                    </a:cubicBezTo>
                    <a:cubicBezTo>
                      <a:pt x="34128" y="20915"/>
                      <a:pt x="34692" y="18937"/>
                      <a:pt x="34692" y="16110"/>
                    </a:cubicBezTo>
                    <a:cubicBezTo>
                      <a:pt x="34692" y="13284"/>
                      <a:pt x="33846" y="11305"/>
                      <a:pt x="32436" y="9892"/>
                    </a:cubicBezTo>
                    <a:cubicBezTo>
                      <a:pt x="31308" y="9044"/>
                      <a:pt x="28487" y="8196"/>
                      <a:pt x="24538" y="8196"/>
                    </a:cubicBezTo>
                    <a:moveTo>
                      <a:pt x="0" y="57375"/>
                    </a:moveTo>
                    <a:lnTo>
                      <a:pt x="0" y="0"/>
                    </a:lnTo>
                    <a:lnTo>
                      <a:pt x="24538" y="0"/>
                    </a:lnTo>
                    <a:cubicBezTo>
                      <a:pt x="30744" y="0"/>
                      <a:pt x="35538" y="1413"/>
                      <a:pt x="38923" y="3957"/>
                    </a:cubicBezTo>
                    <a:cubicBezTo>
                      <a:pt x="42308" y="6501"/>
                      <a:pt x="44000" y="10457"/>
                      <a:pt x="44000" y="15545"/>
                    </a:cubicBezTo>
                    <a:cubicBezTo>
                      <a:pt x="44000" y="17806"/>
                      <a:pt x="43436" y="20067"/>
                      <a:pt x="42308" y="22328"/>
                    </a:cubicBezTo>
                    <a:cubicBezTo>
                      <a:pt x="41179" y="24589"/>
                      <a:pt x="39205" y="26568"/>
                      <a:pt x="35821" y="27698"/>
                    </a:cubicBezTo>
                    <a:cubicBezTo>
                      <a:pt x="39205" y="28829"/>
                      <a:pt x="41744" y="30524"/>
                      <a:pt x="43154" y="32786"/>
                    </a:cubicBezTo>
                    <a:cubicBezTo>
                      <a:pt x="44564" y="35047"/>
                      <a:pt x="45410" y="37873"/>
                      <a:pt x="45410" y="41265"/>
                    </a:cubicBezTo>
                    <a:cubicBezTo>
                      <a:pt x="45410" y="46069"/>
                      <a:pt x="44000" y="50026"/>
                      <a:pt x="40898" y="53135"/>
                    </a:cubicBezTo>
                    <a:cubicBezTo>
                      <a:pt x="37795" y="55962"/>
                      <a:pt x="33000" y="57657"/>
                      <a:pt x="26231" y="57657"/>
                    </a:cubicBezTo>
                    <a:lnTo>
                      <a:pt x="0" y="57657"/>
                    </a:lnTo>
                    <a:close/>
                  </a:path>
                </a:pathLst>
              </a:custGeom>
              <a:solidFill>
                <a:srgbClr val="7F8183"/>
              </a:solidFill>
              <a:ln w="2790" cap="flat">
                <a:noFill/>
                <a:prstDash val="solid"/>
                <a:miter/>
              </a:ln>
            </p:spPr>
            <p:txBody>
              <a:bodyPr rtlCol="0" anchor="ctr"/>
              <a:lstStyle/>
              <a:p>
                <a:endParaRPr lang="x-none" sz="1905"/>
              </a:p>
            </p:txBody>
          </p:sp>
          <p:sp>
            <p:nvSpPr>
              <p:cNvPr id="53" name="Freeform 52">
                <a:extLst>
                  <a:ext uri="{FF2B5EF4-FFF2-40B4-BE49-F238E27FC236}">
                    <a16:creationId xmlns:a16="http://schemas.microsoft.com/office/drawing/2014/main" id="{BCFB102D-2526-6147-8518-3876737E3B72}"/>
                  </a:ext>
                </a:extLst>
              </p:cNvPr>
              <p:cNvSpPr/>
              <p:nvPr/>
            </p:nvSpPr>
            <p:spPr>
              <a:xfrm>
                <a:off x="2002465" y="5811024"/>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487" y="49461"/>
                      <a:pt x="21718"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764"/>
                      <a:pt x="0" y="29959"/>
                    </a:cubicBezTo>
                    <a:cubicBezTo>
                      <a:pt x="0" y="20350"/>
                      <a:pt x="2538" y="13001"/>
                      <a:pt x="7615" y="7914"/>
                    </a:cubicBezTo>
                    <a:cubicBezTo>
                      <a:pt x="12692" y="2826"/>
                      <a:pt x="19179" y="0"/>
                      <a:pt x="27359" y="0"/>
                    </a:cubicBezTo>
                    <a:cubicBezTo>
                      <a:pt x="35256" y="0"/>
                      <a:pt x="41744" y="2544"/>
                      <a:pt x="46539" y="7914"/>
                    </a:cubicBezTo>
                    <a:cubicBezTo>
                      <a:pt x="51333" y="13001"/>
                      <a:pt x="53872" y="20350"/>
                      <a:pt x="53872" y="29959"/>
                    </a:cubicBezTo>
                    <a:cubicBezTo>
                      <a:pt x="53872" y="39286"/>
                      <a:pt x="51333" y="46635"/>
                      <a:pt x="46539" y="52005"/>
                    </a:cubicBezTo>
                    <a:cubicBezTo>
                      <a:pt x="41462" y="57092"/>
                      <a:pt x="35256" y="59919"/>
                      <a:pt x="27359" y="59919"/>
                    </a:cubicBezTo>
                  </a:path>
                </a:pathLst>
              </a:custGeom>
              <a:solidFill>
                <a:srgbClr val="7F8183"/>
              </a:solidFill>
              <a:ln w="2790" cap="flat">
                <a:noFill/>
                <a:prstDash val="solid"/>
                <a:miter/>
              </a:ln>
            </p:spPr>
            <p:txBody>
              <a:bodyPr rtlCol="0" anchor="ctr"/>
              <a:lstStyle/>
              <a:p>
                <a:endParaRPr lang="x-none" sz="1905"/>
              </a:p>
            </p:txBody>
          </p:sp>
        </p:grpSp>
        <p:sp>
          <p:nvSpPr>
            <p:cNvPr id="31" name="Freeform 30">
              <a:extLst>
                <a:ext uri="{FF2B5EF4-FFF2-40B4-BE49-F238E27FC236}">
                  <a16:creationId xmlns:a16="http://schemas.microsoft.com/office/drawing/2014/main" id="{79D1E9F0-39F8-9F44-8C13-7278B90A5A55}"/>
                </a:ext>
              </a:extLst>
            </p:cNvPr>
            <p:cNvSpPr/>
            <p:nvPr/>
          </p:nvSpPr>
          <p:spPr>
            <a:xfrm>
              <a:off x="1266593" y="5935383"/>
              <a:ext cx="48230" cy="57374"/>
            </a:xfrm>
            <a:custGeom>
              <a:avLst/>
              <a:gdLst>
                <a:gd name="connsiteX0" fmla="*/ 0 w 48230"/>
                <a:gd name="connsiteY0" fmla="*/ 57375 h 57374"/>
                <a:gd name="connsiteX1" fmla="*/ 0 w 48230"/>
                <a:gd name="connsiteY1" fmla="*/ 0 h 57374"/>
                <a:gd name="connsiteX2" fmla="*/ 48231 w 48230"/>
                <a:gd name="connsiteY2" fmla="*/ 0 h 57374"/>
                <a:gd name="connsiteX3" fmla="*/ 48231 w 48230"/>
                <a:gd name="connsiteY3" fmla="*/ 57375 h 57374"/>
                <a:gd name="connsiteX4" fmla="*/ 38641 w 48230"/>
                <a:gd name="connsiteY4" fmla="*/ 57375 h 57374"/>
                <a:gd name="connsiteX5" fmla="*/ 38641 w 48230"/>
                <a:gd name="connsiteY5" fmla="*/ 9044 h 57374"/>
                <a:gd name="connsiteX6" fmla="*/ 9308 w 48230"/>
                <a:gd name="connsiteY6" fmla="*/ 9044 h 57374"/>
                <a:gd name="connsiteX7" fmla="*/ 9308 w 48230"/>
                <a:gd name="connsiteY7"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30" h="57374">
                  <a:moveTo>
                    <a:pt x="0" y="57375"/>
                  </a:moveTo>
                  <a:lnTo>
                    <a:pt x="0" y="0"/>
                  </a:lnTo>
                  <a:lnTo>
                    <a:pt x="48231" y="0"/>
                  </a:lnTo>
                  <a:lnTo>
                    <a:pt x="48231" y="57375"/>
                  </a:lnTo>
                  <a:lnTo>
                    <a:pt x="38641" y="57375"/>
                  </a:lnTo>
                  <a:lnTo>
                    <a:pt x="38641" y="9044"/>
                  </a:lnTo>
                  <a:lnTo>
                    <a:pt x="9308" y="9044"/>
                  </a:lnTo>
                  <a:lnTo>
                    <a:pt x="9308" y="57375"/>
                  </a:lnTo>
                  <a:close/>
                </a:path>
              </a:pathLst>
            </a:custGeom>
            <a:solidFill>
              <a:srgbClr val="7F8183"/>
            </a:solidFill>
            <a:ln w="2790" cap="flat">
              <a:noFill/>
              <a:prstDash val="solid"/>
              <a:miter/>
            </a:ln>
          </p:spPr>
          <p:txBody>
            <a:bodyPr rtlCol="0" anchor="ctr"/>
            <a:lstStyle/>
            <a:p>
              <a:endParaRPr lang="x-none" sz="1905"/>
            </a:p>
          </p:txBody>
        </p:sp>
        <p:grpSp>
          <p:nvGrpSpPr>
            <p:cNvPr id="32" name="Graphic 13">
              <a:extLst>
                <a:ext uri="{FF2B5EF4-FFF2-40B4-BE49-F238E27FC236}">
                  <a16:creationId xmlns:a16="http://schemas.microsoft.com/office/drawing/2014/main" id="{EB62BF0B-A81A-A44F-AE22-88162C3844CD}"/>
                </a:ext>
              </a:extLst>
            </p:cNvPr>
            <p:cNvGrpSpPr/>
            <p:nvPr/>
          </p:nvGrpSpPr>
          <p:grpSpPr>
            <a:xfrm>
              <a:off x="1332593" y="5933970"/>
              <a:ext cx="245948" cy="82246"/>
              <a:chOff x="1332593" y="5933970"/>
              <a:chExt cx="245948" cy="82246"/>
            </a:xfrm>
            <a:solidFill>
              <a:srgbClr val="CFD4D9"/>
            </a:solidFill>
          </p:grpSpPr>
          <p:sp>
            <p:nvSpPr>
              <p:cNvPr id="48" name="Freeform 47">
                <a:extLst>
                  <a:ext uri="{FF2B5EF4-FFF2-40B4-BE49-F238E27FC236}">
                    <a16:creationId xmlns:a16="http://schemas.microsoft.com/office/drawing/2014/main" id="{A2E89EF2-ED59-D544-B823-BC59B0DCABE9}"/>
                  </a:ext>
                </a:extLst>
              </p:cNvPr>
              <p:cNvSpPr/>
              <p:nvPr/>
            </p:nvSpPr>
            <p:spPr>
              <a:xfrm>
                <a:off x="1332593" y="5933970"/>
                <a:ext cx="54153" cy="82246"/>
              </a:xfrm>
              <a:custGeom>
                <a:avLst/>
                <a:gdLst>
                  <a:gd name="connsiteX0" fmla="*/ 9590 w 54153"/>
                  <a:gd name="connsiteY0" fmla="*/ 34764 h 82246"/>
                  <a:gd name="connsiteX1" fmla="*/ 14949 w 54153"/>
                  <a:gd name="connsiteY1" fmla="*/ 46917 h 82246"/>
                  <a:gd name="connsiteX2" fmla="*/ 27641 w 54153"/>
                  <a:gd name="connsiteY2" fmla="*/ 51439 h 82246"/>
                  <a:gd name="connsiteX3" fmla="*/ 40051 w 54153"/>
                  <a:gd name="connsiteY3" fmla="*/ 45504 h 82246"/>
                  <a:gd name="connsiteX4" fmla="*/ 44564 w 54153"/>
                  <a:gd name="connsiteY4" fmla="*/ 29677 h 82246"/>
                  <a:gd name="connsiteX5" fmla="*/ 40051 w 54153"/>
                  <a:gd name="connsiteY5" fmla="*/ 14414 h 82246"/>
                  <a:gd name="connsiteX6" fmla="*/ 27359 w 54153"/>
                  <a:gd name="connsiteY6" fmla="*/ 8479 h 82246"/>
                  <a:gd name="connsiteX7" fmla="*/ 20872 w 54153"/>
                  <a:gd name="connsiteY7" fmla="*/ 9610 h 82246"/>
                  <a:gd name="connsiteX8" fmla="*/ 15231 w 54153"/>
                  <a:gd name="connsiteY8" fmla="*/ 13284 h 82246"/>
                  <a:gd name="connsiteX9" fmla="*/ 11282 w 54153"/>
                  <a:gd name="connsiteY9" fmla="*/ 19219 h 82246"/>
                  <a:gd name="connsiteX10" fmla="*/ 9872 w 54153"/>
                  <a:gd name="connsiteY10" fmla="*/ 27416 h 82246"/>
                  <a:gd name="connsiteX11" fmla="*/ 9872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590" y="34764"/>
                    </a:moveTo>
                    <a:cubicBezTo>
                      <a:pt x="9590" y="40134"/>
                      <a:pt x="11282" y="44091"/>
                      <a:pt x="14949" y="46917"/>
                    </a:cubicBezTo>
                    <a:cubicBezTo>
                      <a:pt x="18615" y="49744"/>
                      <a:pt x="22846" y="51439"/>
                      <a:pt x="27641" y="51439"/>
                    </a:cubicBezTo>
                    <a:cubicBezTo>
                      <a:pt x="33000" y="51439"/>
                      <a:pt x="36949" y="49461"/>
                      <a:pt x="40051" y="45504"/>
                    </a:cubicBezTo>
                    <a:cubicBezTo>
                      <a:pt x="43154" y="41547"/>
                      <a:pt x="44564" y="36460"/>
                      <a:pt x="44564" y="29677"/>
                    </a:cubicBezTo>
                    <a:cubicBezTo>
                      <a:pt x="44564" y="23459"/>
                      <a:pt x="43154" y="18371"/>
                      <a:pt x="40051" y="14414"/>
                    </a:cubicBezTo>
                    <a:cubicBezTo>
                      <a:pt x="36949" y="10457"/>
                      <a:pt x="32718" y="8479"/>
                      <a:pt x="27359" y="8479"/>
                    </a:cubicBezTo>
                    <a:cubicBezTo>
                      <a:pt x="25103" y="8479"/>
                      <a:pt x="22846" y="8762"/>
                      <a:pt x="20872" y="9610"/>
                    </a:cubicBezTo>
                    <a:cubicBezTo>
                      <a:pt x="18897" y="10457"/>
                      <a:pt x="16923" y="11588"/>
                      <a:pt x="15231" y="13284"/>
                    </a:cubicBezTo>
                    <a:cubicBezTo>
                      <a:pt x="13538" y="14980"/>
                      <a:pt x="12128" y="16958"/>
                      <a:pt x="11282" y="19219"/>
                    </a:cubicBezTo>
                    <a:cubicBezTo>
                      <a:pt x="10154" y="21763"/>
                      <a:pt x="9872" y="24307"/>
                      <a:pt x="9872" y="27416"/>
                    </a:cubicBezTo>
                    <a:lnTo>
                      <a:pt x="9872" y="34764"/>
                    </a:lnTo>
                    <a:close/>
                    <a:moveTo>
                      <a:pt x="0" y="82247"/>
                    </a:moveTo>
                    <a:lnTo>
                      <a:pt x="0" y="1413"/>
                    </a:lnTo>
                    <a:lnTo>
                      <a:pt x="9590" y="1413"/>
                    </a:lnTo>
                    <a:lnTo>
                      <a:pt x="9590" y="9044"/>
                    </a:lnTo>
                    <a:cubicBezTo>
                      <a:pt x="11564" y="5935"/>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sp>
            <p:nvSpPr>
              <p:cNvPr id="49" name="Freeform 48">
                <a:extLst>
                  <a:ext uri="{FF2B5EF4-FFF2-40B4-BE49-F238E27FC236}">
                    <a16:creationId xmlns:a16="http://schemas.microsoft.com/office/drawing/2014/main" id="{C8E47D0C-8741-8B49-9ED1-24ACD2050C8E}"/>
                  </a:ext>
                </a:extLst>
              </p:cNvPr>
              <p:cNvSpPr/>
              <p:nvPr/>
            </p:nvSpPr>
            <p:spPr>
              <a:xfrm>
                <a:off x="1397747" y="5934253"/>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487" y="49461"/>
                      <a:pt x="22000"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481"/>
                      <a:pt x="0" y="29959"/>
                    </a:cubicBezTo>
                    <a:cubicBezTo>
                      <a:pt x="0" y="20350"/>
                      <a:pt x="2538" y="13001"/>
                      <a:pt x="7615" y="7914"/>
                    </a:cubicBezTo>
                    <a:cubicBezTo>
                      <a:pt x="12692" y="2826"/>
                      <a:pt x="19180" y="0"/>
                      <a:pt x="27359" y="0"/>
                    </a:cubicBezTo>
                    <a:cubicBezTo>
                      <a:pt x="35256" y="0"/>
                      <a:pt x="41744" y="2544"/>
                      <a:pt x="46539" y="7914"/>
                    </a:cubicBezTo>
                    <a:cubicBezTo>
                      <a:pt x="51333" y="13001"/>
                      <a:pt x="53872" y="20350"/>
                      <a:pt x="53872" y="29959"/>
                    </a:cubicBezTo>
                    <a:cubicBezTo>
                      <a:pt x="53872" y="39286"/>
                      <a:pt x="51333" y="46635"/>
                      <a:pt x="46539" y="52005"/>
                    </a:cubicBezTo>
                    <a:cubicBezTo>
                      <a:pt x="41744" y="57092"/>
                      <a:pt x="35256" y="59919"/>
                      <a:pt x="27359" y="59919"/>
                    </a:cubicBezTo>
                  </a:path>
                </a:pathLst>
              </a:custGeom>
              <a:solidFill>
                <a:srgbClr val="7F8183"/>
              </a:solidFill>
              <a:ln w="2790" cap="flat">
                <a:noFill/>
                <a:prstDash val="solid"/>
                <a:miter/>
              </a:ln>
            </p:spPr>
            <p:txBody>
              <a:bodyPr rtlCol="0" anchor="ctr"/>
              <a:lstStyle/>
              <a:p>
                <a:endParaRPr lang="x-none" sz="1905"/>
              </a:p>
            </p:txBody>
          </p:sp>
          <p:sp>
            <p:nvSpPr>
              <p:cNvPr id="50" name="Freeform 49">
                <a:extLst>
                  <a:ext uri="{FF2B5EF4-FFF2-40B4-BE49-F238E27FC236}">
                    <a16:creationId xmlns:a16="http://schemas.microsoft.com/office/drawing/2014/main" id="{369E8573-BBD4-6C45-A542-DD563484DACE}"/>
                  </a:ext>
                </a:extLst>
              </p:cNvPr>
              <p:cNvSpPr/>
              <p:nvPr/>
            </p:nvSpPr>
            <p:spPr>
              <a:xfrm>
                <a:off x="1456696" y="5935383"/>
                <a:ext cx="63461" cy="73767"/>
              </a:xfrm>
              <a:custGeom>
                <a:avLst/>
                <a:gdLst>
                  <a:gd name="connsiteX0" fmla="*/ 22282 w 63461"/>
                  <a:gd name="connsiteY0" fmla="*/ 33068 h 73767"/>
                  <a:gd name="connsiteX1" fmla="*/ 20308 w 63461"/>
                  <a:gd name="connsiteY1" fmla="*/ 41830 h 73767"/>
                  <a:gd name="connsiteX2" fmla="*/ 16923 w 63461"/>
                  <a:gd name="connsiteY2" fmla="*/ 48331 h 73767"/>
                  <a:gd name="connsiteX3" fmla="*/ 44846 w 63461"/>
                  <a:gd name="connsiteY3" fmla="*/ 48331 h 73767"/>
                  <a:gd name="connsiteX4" fmla="*/ 44846 w 63461"/>
                  <a:gd name="connsiteY4" fmla="*/ 8762 h 73767"/>
                  <a:gd name="connsiteX5" fmla="*/ 23128 w 63461"/>
                  <a:gd name="connsiteY5" fmla="*/ 8762 h 73767"/>
                  <a:gd name="connsiteX6" fmla="*/ 23128 w 63461"/>
                  <a:gd name="connsiteY6" fmla="*/ 23176 h 73767"/>
                  <a:gd name="connsiteX7" fmla="*/ 22282 w 63461"/>
                  <a:gd name="connsiteY7" fmla="*/ 33068 h 73767"/>
                  <a:gd name="connsiteX8" fmla="*/ 0 w 63461"/>
                  <a:gd name="connsiteY8" fmla="*/ 48613 h 73767"/>
                  <a:gd name="connsiteX9" fmla="*/ 5923 w 63461"/>
                  <a:gd name="connsiteY9" fmla="*/ 48613 h 73767"/>
                  <a:gd name="connsiteX10" fmla="*/ 11000 w 63461"/>
                  <a:gd name="connsiteY10" fmla="*/ 41547 h 73767"/>
                  <a:gd name="connsiteX11" fmla="*/ 13256 w 63461"/>
                  <a:gd name="connsiteY11" fmla="*/ 31938 h 73767"/>
                  <a:gd name="connsiteX12" fmla="*/ 13538 w 63461"/>
                  <a:gd name="connsiteY12" fmla="*/ 27416 h 73767"/>
                  <a:gd name="connsiteX13" fmla="*/ 13821 w 63461"/>
                  <a:gd name="connsiteY13" fmla="*/ 21198 h 73767"/>
                  <a:gd name="connsiteX14" fmla="*/ 13821 w 63461"/>
                  <a:gd name="connsiteY14" fmla="*/ 12436 h 73767"/>
                  <a:gd name="connsiteX15" fmla="*/ 13821 w 63461"/>
                  <a:gd name="connsiteY15" fmla="*/ 0 h 73767"/>
                  <a:gd name="connsiteX16" fmla="*/ 54154 w 63461"/>
                  <a:gd name="connsiteY16" fmla="*/ 0 h 73767"/>
                  <a:gd name="connsiteX17" fmla="*/ 54154 w 63461"/>
                  <a:gd name="connsiteY17" fmla="*/ 48613 h 73767"/>
                  <a:gd name="connsiteX18" fmla="*/ 63462 w 63461"/>
                  <a:gd name="connsiteY18" fmla="*/ 48613 h 73767"/>
                  <a:gd name="connsiteX19" fmla="*/ 63462 w 63461"/>
                  <a:gd name="connsiteY19" fmla="*/ 73768 h 73767"/>
                  <a:gd name="connsiteX20" fmla="*/ 54154 w 63461"/>
                  <a:gd name="connsiteY20" fmla="*/ 73768 h 73767"/>
                  <a:gd name="connsiteX21" fmla="*/ 54154 w 63461"/>
                  <a:gd name="connsiteY21" fmla="*/ 57657 h 73767"/>
                  <a:gd name="connsiteX22" fmla="*/ 9308 w 63461"/>
                  <a:gd name="connsiteY22" fmla="*/ 57657 h 73767"/>
                  <a:gd name="connsiteX23" fmla="*/ 9308 w 63461"/>
                  <a:gd name="connsiteY23" fmla="*/ 73768 h 73767"/>
                  <a:gd name="connsiteX24" fmla="*/ 0 w 63461"/>
                  <a:gd name="connsiteY24" fmla="*/ 73768 h 73767"/>
                  <a:gd name="connsiteX25" fmla="*/ 0 w 63461"/>
                  <a:gd name="connsiteY25" fmla="*/ 48613 h 7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3461" h="73767">
                    <a:moveTo>
                      <a:pt x="22282" y="33068"/>
                    </a:moveTo>
                    <a:cubicBezTo>
                      <a:pt x="22000" y="36460"/>
                      <a:pt x="21154" y="39286"/>
                      <a:pt x="20308" y="41830"/>
                    </a:cubicBezTo>
                    <a:cubicBezTo>
                      <a:pt x="19180" y="44374"/>
                      <a:pt x="18051" y="46635"/>
                      <a:pt x="16923" y="48331"/>
                    </a:cubicBezTo>
                    <a:lnTo>
                      <a:pt x="44846" y="48331"/>
                    </a:lnTo>
                    <a:lnTo>
                      <a:pt x="44846" y="8762"/>
                    </a:lnTo>
                    <a:lnTo>
                      <a:pt x="23128" y="8762"/>
                    </a:lnTo>
                    <a:cubicBezTo>
                      <a:pt x="23128" y="14414"/>
                      <a:pt x="23128" y="19219"/>
                      <a:pt x="23128" y="23176"/>
                    </a:cubicBezTo>
                    <a:cubicBezTo>
                      <a:pt x="22564" y="27698"/>
                      <a:pt x="22564" y="30807"/>
                      <a:pt x="22282" y="33068"/>
                    </a:cubicBezTo>
                    <a:moveTo>
                      <a:pt x="0" y="48613"/>
                    </a:moveTo>
                    <a:lnTo>
                      <a:pt x="5923" y="48613"/>
                    </a:lnTo>
                    <a:cubicBezTo>
                      <a:pt x="7897" y="46917"/>
                      <a:pt x="9590" y="44656"/>
                      <a:pt x="11000" y="41547"/>
                    </a:cubicBezTo>
                    <a:cubicBezTo>
                      <a:pt x="12410" y="38438"/>
                      <a:pt x="13256" y="35329"/>
                      <a:pt x="13256" y="31938"/>
                    </a:cubicBezTo>
                    <a:cubicBezTo>
                      <a:pt x="13256" y="30525"/>
                      <a:pt x="13538" y="29111"/>
                      <a:pt x="13538" y="27416"/>
                    </a:cubicBezTo>
                    <a:cubicBezTo>
                      <a:pt x="13538" y="25720"/>
                      <a:pt x="13538" y="23741"/>
                      <a:pt x="13821" y="21198"/>
                    </a:cubicBezTo>
                    <a:cubicBezTo>
                      <a:pt x="13821" y="18654"/>
                      <a:pt x="13821" y="15828"/>
                      <a:pt x="13821" y="12436"/>
                    </a:cubicBezTo>
                    <a:cubicBezTo>
                      <a:pt x="13821" y="9044"/>
                      <a:pt x="13821" y="4805"/>
                      <a:pt x="13821" y="0"/>
                    </a:cubicBezTo>
                    <a:lnTo>
                      <a:pt x="54154" y="0"/>
                    </a:lnTo>
                    <a:lnTo>
                      <a:pt x="54154" y="48613"/>
                    </a:lnTo>
                    <a:lnTo>
                      <a:pt x="63462" y="48613"/>
                    </a:lnTo>
                    <a:lnTo>
                      <a:pt x="63462" y="73768"/>
                    </a:lnTo>
                    <a:lnTo>
                      <a:pt x="54154" y="73768"/>
                    </a:lnTo>
                    <a:lnTo>
                      <a:pt x="54154" y="57657"/>
                    </a:lnTo>
                    <a:lnTo>
                      <a:pt x="9308" y="57657"/>
                    </a:lnTo>
                    <a:lnTo>
                      <a:pt x="9308" y="73768"/>
                    </a:lnTo>
                    <a:lnTo>
                      <a:pt x="0" y="73768"/>
                    </a:lnTo>
                    <a:lnTo>
                      <a:pt x="0" y="48613"/>
                    </a:lnTo>
                    <a:close/>
                  </a:path>
                </a:pathLst>
              </a:custGeom>
              <a:solidFill>
                <a:srgbClr val="7F8183"/>
              </a:solidFill>
              <a:ln w="2790" cap="flat">
                <a:noFill/>
                <a:prstDash val="solid"/>
                <a:miter/>
              </a:ln>
            </p:spPr>
            <p:txBody>
              <a:bodyPr rtlCol="0" anchor="ctr"/>
              <a:lstStyle/>
              <a:p>
                <a:endParaRPr lang="x-none" sz="1905"/>
              </a:p>
            </p:txBody>
          </p:sp>
          <p:sp>
            <p:nvSpPr>
              <p:cNvPr id="51" name="Freeform 50">
                <a:extLst>
                  <a:ext uri="{FF2B5EF4-FFF2-40B4-BE49-F238E27FC236}">
                    <a16:creationId xmlns:a16="http://schemas.microsoft.com/office/drawing/2014/main" id="{BF3BA814-018D-A143-9911-CD40CA9B619D}"/>
                  </a:ext>
                </a:extLst>
              </p:cNvPr>
              <p:cNvSpPr/>
              <p:nvPr/>
            </p:nvSpPr>
            <p:spPr>
              <a:xfrm>
                <a:off x="1522978" y="5935383"/>
                <a:ext cx="55564" cy="80833"/>
              </a:xfrm>
              <a:custGeom>
                <a:avLst/>
                <a:gdLst>
                  <a:gd name="connsiteX0" fmla="*/ 29615 w 55564"/>
                  <a:gd name="connsiteY0" fmla="*/ 66419 h 80833"/>
                  <a:gd name="connsiteX1" fmla="*/ 22000 w 55564"/>
                  <a:gd name="connsiteY1" fmla="*/ 77724 h 80833"/>
                  <a:gd name="connsiteX2" fmla="*/ 11282 w 55564"/>
                  <a:gd name="connsiteY2" fmla="*/ 80833 h 80833"/>
                  <a:gd name="connsiteX3" fmla="*/ 5923 w 55564"/>
                  <a:gd name="connsiteY3" fmla="*/ 80833 h 80833"/>
                  <a:gd name="connsiteX4" fmla="*/ 5923 w 55564"/>
                  <a:gd name="connsiteY4" fmla="*/ 71789 h 80833"/>
                  <a:gd name="connsiteX5" fmla="*/ 9590 w 55564"/>
                  <a:gd name="connsiteY5" fmla="*/ 71789 h 80833"/>
                  <a:gd name="connsiteX6" fmla="*/ 16641 w 55564"/>
                  <a:gd name="connsiteY6" fmla="*/ 70093 h 80833"/>
                  <a:gd name="connsiteX7" fmla="*/ 21436 w 55564"/>
                  <a:gd name="connsiteY7" fmla="*/ 63310 h 80833"/>
                  <a:gd name="connsiteX8" fmla="*/ 23974 w 55564"/>
                  <a:gd name="connsiteY8" fmla="*/ 57092 h 80833"/>
                  <a:gd name="connsiteX9" fmla="*/ 0 w 55564"/>
                  <a:gd name="connsiteY9" fmla="*/ 0 h 80833"/>
                  <a:gd name="connsiteX10" fmla="*/ 10436 w 55564"/>
                  <a:gd name="connsiteY10" fmla="*/ 0 h 80833"/>
                  <a:gd name="connsiteX11" fmla="*/ 29051 w 55564"/>
                  <a:gd name="connsiteY11" fmla="*/ 45504 h 80833"/>
                  <a:gd name="connsiteX12" fmla="*/ 45692 w 55564"/>
                  <a:gd name="connsiteY12" fmla="*/ 0 h 80833"/>
                  <a:gd name="connsiteX13" fmla="*/ 55564 w 55564"/>
                  <a:gd name="connsiteY13" fmla="*/ 0 h 80833"/>
                  <a:gd name="connsiteX14" fmla="*/ 29615 w 55564"/>
                  <a:gd name="connsiteY14" fmla="*/ 66419 h 8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564" h="80833">
                    <a:moveTo>
                      <a:pt x="29615" y="66419"/>
                    </a:moveTo>
                    <a:cubicBezTo>
                      <a:pt x="27359" y="71789"/>
                      <a:pt x="25103" y="75746"/>
                      <a:pt x="22000" y="77724"/>
                    </a:cubicBezTo>
                    <a:cubicBezTo>
                      <a:pt x="19180" y="79986"/>
                      <a:pt x="15513" y="80833"/>
                      <a:pt x="11282" y="80833"/>
                    </a:cubicBezTo>
                    <a:lnTo>
                      <a:pt x="5923" y="80833"/>
                    </a:lnTo>
                    <a:lnTo>
                      <a:pt x="5923" y="71789"/>
                    </a:lnTo>
                    <a:lnTo>
                      <a:pt x="9590" y="71789"/>
                    </a:lnTo>
                    <a:cubicBezTo>
                      <a:pt x="12410" y="71789"/>
                      <a:pt x="14667" y="71224"/>
                      <a:pt x="16641" y="70093"/>
                    </a:cubicBezTo>
                    <a:cubicBezTo>
                      <a:pt x="18615" y="68963"/>
                      <a:pt x="20308" y="66702"/>
                      <a:pt x="21436" y="63310"/>
                    </a:cubicBezTo>
                    <a:lnTo>
                      <a:pt x="23974" y="57092"/>
                    </a:lnTo>
                    <a:lnTo>
                      <a:pt x="0" y="0"/>
                    </a:lnTo>
                    <a:lnTo>
                      <a:pt x="10436" y="0"/>
                    </a:lnTo>
                    <a:lnTo>
                      <a:pt x="29051" y="45504"/>
                    </a:lnTo>
                    <a:lnTo>
                      <a:pt x="45692" y="0"/>
                    </a:lnTo>
                    <a:lnTo>
                      <a:pt x="55564" y="0"/>
                    </a:lnTo>
                    <a:lnTo>
                      <a:pt x="29615" y="66419"/>
                    </a:lnTo>
                    <a:close/>
                  </a:path>
                </a:pathLst>
              </a:custGeom>
              <a:solidFill>
                <a:srgbClr val="7F8183"/>
              </a:solidFill>
              <a:ln w="2790" cap="flat">
                <a:noFill/>
                <a:prstDash val="solid"/>
                <a:miter/>
              </a:ln>
            </p:spPr>
            <p:txBody>
              <a:bodyPr rtlCol="0" anchor="ctr"/>
              <a:lstStyle/>
              <a:p>
                <a:endParaRPr lang="x-none" sz="1905"/>
              </a:p>
            </p:txBody>
          </p:sp>
        </p:grpSp>
        <p:sp>
          <p:nvSpPr>
            <p:cNvPr id="33" name="Freeform 32">
              <a:extLst>
                <a:ext uri="{FF2B5EF4-FFF2-40B4-BE49-F238E27FC236}">
                  <a16:creationId xmlns:a16="http://schemas.microsoft.com/office/drawing/2014/main" id="{5FD52627-DEB5-9E49-9783-F91E48C0C719}"/>
                </a:ext>
              </a:extLst>
            </p:cNvPr>
            <p:cNvSpPr/>
            <p:nvPr/>
          </p:nvSpPr>
          <p:spPr>
            <a:xfrm>
              <a:off x="1588414" y="5935383"/>
              <a:ext cx="66282" cy="57374"/>
            </a:xfrm>
            <a:custGeom>
              <a:avLst/>
              <a:gdLst>
                <a:gd name="connsiteX0" fmla="*/ 0 w 66282"/>
                <a:gd name="connsiteY0" fmla="*/ 57375 h 57374"/>
                <a:gd name="connsiteX1" fmla="*/ 0 w 66282"/>
                <a:gd name="connsiteY1" fmla="*/ 0 h 57374"/>
                <a:gd name="connsiteX2" fmla="*/ 14103 w 66282"/>
                <a:gd name="connsiteY2" fmla="*/ 0 h 57374"/>
                <a:gd name="connsiteX3" fmla="*/ 33282 w 66282"/>
                <a:gd name="connsiteY3" fmla="*/ 48048 h 57374"/>
                <a:gd name="connsiteX4" fmla="*/ 52744 w 66282"/>
                <a:gd name="connsiteY4" fmla="*/ 0 h 57374"/>
                <a:gd name="connsiteX5" fmla="*/ 66282 w 66282"/>
                <a:gd name="connsiteY5" fmla="*/ 0 h 57374"/>
                <a:gd name="connsiteX6" fmla="*/ 66282 w 66282"/>
                <a:gd name="connsiteY6" fmla="*/ 57375 h 57374"/>
                <a:gd name="connsiteX7" fmla="*/ 56974 w 66282"/>
                <a:gd name="connsiteY7" fmla="*/ 57375 h 57374"/>
                <a:gd name="connsiteX8" fmla="*/ 56974 w 66282"/>
                <a:gd name="connsiteY8" fmla="*/ 10457 h 57374"/>
                <a:gd name="connsiteX9" fmla="*/ 37795 w 66282"/>
                <a:gd name="connsiteY9" fmla="*/ 57375 h 57374"/>
                <a:gd name="connsiteX10" fmla="*/ 27923 w 66282"/>
                <a:gd name="connsiteY10" fmla="*/ 57375 h 57374"/>
                <a:gd name="connsiteX11" fmla="*/ 8744 w 66282"/>
                <a:gd name="connsiteY11" fmla="*/ 10457 h 57374"/>
                <a:gd name="connsiteX12" fmla="*/ 8744 w 66282"/>
                <a:gd name="connsiteY12"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282" h="57374">
                  <a:moveTo>
                    <a:pt x="0" y="57375"/>
                  </a:moveTo>
                  <a:lnTo>
                    <a:pt x="0" y="0"/>
                  </a:lnTo>
                  <a:lnTo>
                    <a:pt x="14103" y="0"/>
                  </a:lnTo>
                  <a:lnTo>
                    <a:pt x="33282" y="48048"/>
                  </a:lnTo>
                  <a:lnTo>
                    <a:pt x="52744" y="0"/>
                  </a:lnTo>
                  <a:lnTo>
                    <a:pt x="66282" y="0"/>
                  </a:lnTo>
                  <a:lnTo>
                    <a:pt x="66282" y="57375"/>
                  </a:lnTo>
                  <a:lnTo>
                    <a:pt x="56974" y="57375"/>
                  </a:lnTo>
                  <a:lnTo>
                    <a:pt x="56974" y="10457"/>
                  </a:lnTo>
                  <a:lnTo>
                    <a:pt x="37795" y="57375"/>
                  </a:lnTo>
                  <a:lnTo>
                    <a:pt x="27923" y="57375"/>
                  </a:lnTo>
                  <a:lnTo>
                    <a:pt x="8744" y="10457"/>
                  </a:lnTo>
                  <a:lnTo>
                    <a:pt x="8744" y="57375"/>
                  </a:lnTo>
                  <a:close/>
                </a:path>
              </a:pathLst>
            </a:custGeom>
            <a:solidFill>
              <a:srgbClr val="7F8183"/>
            </a:solidFill>
            <a:ln w="2790" cap="flat">
              <a:noFill/>
              <a:prstDash val="solid"/>
              <a:miter/>
            </a:ln>
          </p:spPr>
          <p:txBody>
            <a:bodyPr rtlCol="0" anchor="ctr"/>
            <a:lstStyle/>
            <a:p>
              <a:endParaRPr lang="x-none" sz="1905"/>
            </a:p>
          </p:txBody>
        </p:sp>
        <p:sp>
          <p:nvSpPr>
            <p:cNvPr id="34" name="Freeform 33">
              <a:extLst>
                <a:ext uri="{FF2B5EF4-FFF2-40B4-BE49-F238E27FC236}">
                  <a16:creationId xmlns:a16="http://schemas.microsoft.com/office/drawing/2014/main" id="{F64B53A7-1C62-0741-B3C6-8C727DF601CA}"/>
                </a:ext>
              </a:extLst>
            </p:cNvPr>
            <p:cNvSpPr/>
            <p:nvPr/>
          </p:nvSpPr>
          <p:spPr>
            <a:xfrm>
              <a:off x="1669926" y="5934253"/>
              <a:ext cx="46820" cy="59635"/>
            </a:xfrm>
            <a:custGeom>
              <a:avLst/>
              <a:gdLst>
                <a:gd name="connsiteX0" fmla="*/ 37513 w 46820"/>
                <a:gd name="connsiteY0" fmla="*/ 33068 h 59635"/>
                <a:gd name="connsiteX1" fmla="*/ 29897 w 46820"/>
                <a:gd name="connsiteY1" fmla="*/ 33068 h 59635"/>
                <a:gd name="connsiteX2" fmla="*/ 21718 w 46820"/>
                <a:gd name="connsiteY2" fmla="*/ 33068 h 59635"/>
                <a:gd name="connsiteX3" fmla="*/ 12692 w 46820"/>
                <a:gd name="connsiteY3" fmla="*/ 35612 h 59635"/>
                <a:gd name="connsiteX4" fmla="*/ 9590 w 46820"/>
                <a:gd name="connsiteY4" fmla="*/ 42395 h 59635"/>
                <a:gd name="connsiteX5" fmla="*/ 12410 w 46820"/>
                <a:gd name="connsiteY5" fmla="*/ 48896 h 59635"/>
                <a:gd name="connsiteX6" fmla="*/ 20308 w 46820"/>
                <a:gd name="connsiteY6" fmla="*/ 51439 h 59635"/>
                <a:gd name="connsiteX7" fmla="*/ 32436 w 46820"/>
                <a:gd name="connsiteY7" fmla="*/ 47765 h 59635"/>
                <a:gd name="connsiteX8" fmla="*/ 37513 w 46820"/>
                <a:gd name="connsiteY8" fmla="*/ 38438 h 59635"/>
                <a:gd name="connsiteX9" fmla="*/ 37513 w 46820"/>
                <a:gd name="connsiteY9" fmla="*/ 33068 h 59635"/>
                <a:gd name="connsiteX10" fmla="*/ 38077 w 46820"/>
                <a:gd name="connsiteY10" fmla="*/ 58505 h 59635"/>
                <a:gd name="connsiteX11" fmla="*/ 38077 w 46820"/>
                <a:gd name="connsiteY11" fmla="*/ 51722 h 59635"/>
                <a:gd name="connsiteX12" fmla="*/ 30744 w 46820"/>
                <a:gd name="connsiteY12" fmla="*/ 57375 h 59635"/>
                <a:gd name="connsiteX13" fmla="*/ 20026 w 46820"/>
                <a:gd name="connsiteY13" fmla="*/ 59636 h 59635"/>
                <a:gd name="connsiteX14" fmla="*/ 5359 w 46820"/>
                <a:gd name="connsiteY14" fmla="*/ 55114 h 59635"/>
                <a:gd name="connsiteX15" fmla="*/ 0 w 46820"/>
                <a:gd name="connsiteY15" fmla="*/ 42678 h 59635"/>
                <a:gd name="connsiteX16" fmla="*/ 5923 w 46820"/>
                <a:gd name="connsiteY16" fmla="*/ 29677 h 59635"/>
                <a:gd name="connsiteX17" fmla="*/ 21718 w 46820"/>
                <a:gd name="connsiteY17" fmla="*/ 25437 h 59635"/>
                <a:gd name="connsiteX18" fmla="*/ 29897 w 46820"/>
                <a:gd name="connsiteY18" fmla="*/ 25437 h 59635"/>
                <a:gd name="connsiteX19" fmla="*/ 37513 w 46820"/>
                <a:gd name="connsiteY19" fmla="*/ 25720 h 59635"/>
                <a:gd name="connsiteX20" fmla="*/ 37513 w 46820"/>
                <a:gd name="connsiteY20" fmla="*/ 20632 h 59635"/>
                <a:gd name="connsiteX21" fmla="*/ 33846 w 46820"/>
                <a:gd name="connsiteY21" fmla="*/ 11588 h 59635"/>
                <a:gd name="connsiteX22" fmla="*/ 24821 w 46820"/>
                <a:gd name="connsiteY22" fmla="*/ 8762 h 59635"/>
                <a:gd name="connsiteX23" fmla="*/ 15513 w 46820"/>
                <a:gd name="connsiteY23" fmla="*/ 11871 h 59635"/>
                <a:gd name="connsiteX24" fmla="*/ 11000 w 46820"/>
                <a:gd name="connsiteY24" fmla="*/ 19219 h 59635"/>
                <a:gd name="connsiteX25" fmla="*/ 1974 w 46820"/>
                <a:gd name="connsiteY25" fmla="*/ 17241 h 59635"/>
                <a:gd name="connsiteX26" fmla="*/ 9590 w 46820"/>
                <a:gd name="connsiteY26" fmla="*/ 4805 h 59635"/>
                <a:gd name="connsiteX27" fmla="*/ 24821 w 46820"/>
                <a:gd name="connsiteY27" fmla="*/ 0 h 59635"/>
                <a:gd name="connsiteX28" fmla="*/ 40615 w 46820"/>
                <a:gd name="connsiteY28" fmla="*/ 4805 h 59635"/>
                <a:gd name="connsiteX29" fmla="*/ 46821 w 46820"/>
                <a:gd name="connsiteY29" fmla="*/ 20067 h 59635"/>
                <a:gd name="connsiteX30" fmla="*/ 46821 w 46820"/>
                <a:gd name="connsiteY30" fmla="*/ 58505 h 59635"/>
                <a:gd name="connsiteX31" fmla="*/ 38077 w 46820"/>
                <a:gd name="connsiteY31" fmla="*/ 58505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820" h="59635">
                  <a:moveTo>
                    <a:pt x="37513" y="33068"/>
                  </a:moveTo>
                  <a:cubicBezTo>
                    <a:pt x="35256" y="33068"/>
                    <a:pt x="32718" y="33068"/>
                    <a:pt x="29897" y="33068"/>
                  </a:cubicBezTo>
                  <a:cubicBezTo>
                    <a:pt x="27359" y="33068"/>
                    <a:pt x="24538" y="33068"/>
                    <a:pt x="21718" y="33068"/>
                  </a:cubicBezTo>
                  <a:cubicBezTo>
                    <a:pt x="17769" y="33351"/>
                    <a:pt x="14667" y="34199"/>
                    <a:pt x="12692" y="35612"/>
                  </a:cubicBezTo>
                  <a:cubicBezTo>
                    <a:pt x="10718" y="37308"/>
                    <a:pt x="9590" y="39569"/>
                    <a:pt x="9590" y="42395"/>
                  </a:cubicBezTo>
                  <a:cubicBezTo>
                    <a:pt x="9590" y="45222"/>
                    <a:pt x="10436" y="47200"/>
                    <a:pt x="12410" y="48896"/>
                  </a:cubicBezTo>
                  <a:cubicBezTo>
                    <a:pt x="14385" y="50592"/>
                    <a:pt x="16923" y="51439"/>
                    <a:pt x="20308" y="51439"/>
                  </a:cubicBezTo>
                  <a:cubicBezTo>
                    <a:pt x="25103" y="51439"/>
                    <a:pt x="29051" y="50309"/>
                    <a:pt x="32436" y="47765"/>
                  </a:cubicBezTo>
                  <a:cubicBezTo>
                    <a:pt x="35821" y="45504"/>
                    <a:pt x="37513" y="42395"/>
                    <a:pt x="37513" y="38438"/>
                  </a:cubicBezTo>
                  <a:lnTo>
                    <a:pt x="37513" y="33068"/>
                  </a:lnTo>
                  <a:close/>
                  <a:moveTo>
                    <a:pt x="38077" y="58505"/>
                  </a:moveTo>
                  <a:lnTo>
                    <a:pt x="38077" y="51722"/>
                  </a:lnTo>
                  <a:cubicBezTo>
                    <a:pt x="36385" y="53983"/>
                    <a:pt x="33846" y="55962"/>
                    <a:pt x="30744" y="57375"/>
                  </a:cubicBezTo>
                  <a:cubicBezTo>
                    <a:pt x="27641" y="58788"/>
                    <a:pt x="24256" y="59636"/>
                    <a:pt x="20026" y="59636"/>
                  </a:cubicBezTo>
                  <a:cubicBezTo>
                    <a:pt x="13821" y="59636"/>
                    <a:pt x="9026" y="58223"/>
                    <a:pt x="5359" y="55114"/>
                  </a:cubicBezTo>
                  <a:cubicBezTo>
                    <a:pt x="1692" y="52005"/>
                    <a:pt x="0" y="47765"/>
                    <a:pt x="0" y="42678"/>
                  </a:cubicBezTo>
                  <a:cubicBezTo>
                    <a:pt x="0" y="36742"/>
                    <a:pt x="1974" y="32503"/>
                    <a:pt x="5923" y="29677"/>
                  </a:cubicBezTo>
                  <a:cubicBezTo>
                    <a:pt x="9872" y="27133"/>
                    <a:pt x="14949" y="25437"/>
                    <a:pt x="21718" y="25437"/>
                  </a:cubicBezTo>
                  <a:cubicBezTo>
                    <a:pt x="24538" y="25437"/>
                    <a:pt x="27359" y="25437"/>
                    <a:pt x="29897" y="25437"/>
                  </a:cubicBezTo>
                  <a:cubicBezTo>
                    <a:pt x="32436" y="25437"/>
                    <a:pt x="34974" y="25437"/>
                    <a:pt x="37513" y="25720"/>
                  </a:cubicBezTo>
                  <a:lnTo>
                    <a:pt x="37513" y="20632"/>
                  </a:lnTo>
                  <a:cubicBezTo>
                    <a:pt x="37513" y="16393"/>
                    <a:pt x="36385" y="13284"/>
                    <a:pt x="33846" y="11588"/>
                  </a:cubicBezTo>
                  <a:cubicBezTo>
                    <a:pt x="31590" y="9610"/>
                    <a:pt x="28487" y="8762"/>
                    <a:pt x="24821" y="8762"/>
                  </a:cubicBezTo>
                  <a:cubicBezTo>
                    <a:pt x="20872" y="8762"/>
                    <a:pt x="17769" y="9892"/>
                    <a:pt x="15513" y="11871"/>
                  </a:cubicBezTo>
                  <a:cubicBezTo>
                    <a:pt x="13538" y="13849"/>
                    <a:pt x="11846" y="16393"/>
                    <a:pt x="11000" y="19219"/>
                  </a:cubicBezTo>
                  <a:lnTo>
                    <a:pt x="1974" y="17241"/>
                  </a:lnTo>
                  <a:cubicBezTo>
                    <a:pt x="3103" y="12153"/>
                    <a:pt x="5641" y="8196"/>
                    <a:pt x="9590" y="4805"/>
                  </a:cubicBezTo>
                  <a:cubicBezTo>
                    <a:pt x="13538" y="1696"/>
                    <a:pt x="18615" y="0"/>
                    <a:pt x="24821" y="0"/>
                  </a:cubicBezTo>
                  <a:cubicBezTo>
                    <a:pt x="31308" y="0"/>
                    <a:pt x="36667" y="1696"/>
                    <a:pt x="40615" y="4805"/>
                  </a:cubicBezTo>
                  <a:cubicBezTo>
                    <a:pt x="44846" y="8196"/>
                    <a:pt x="46821" y="13284"/>
                    <a:pt x="46821" y="20067"/>
                  </a:cubicBezTo>
                  <a:lnTo>
                    <a:pt x="46821" y="58505"/>
                  </a:lnTo>
                  <a:lnTo>
                    <a:pt x="38077" y="58505"/>
                  </a:lnTo>
                  <a:close/>
                </a:path>
              </a:pathLst>
            </a:custGeom>
            <a:solidFill>
              <a:srgbClr val="7F8183"/>
            </a:solidFill>
            <a:ln w="2790" cap="flat">
              <a:noFill/>
              <a:prstDash val="solid"/>
              <a:miter/>
            </a:ln>
          </p:spPr>
          <p:txBody>
            <a:bodyPr rtlCol="0" anchor="ctr"/>
            <a:lstStyle/>
            <a:p>
              <a:endParaRPr lang="x-none" sz="1905"/>
            </a:p>
          </p:txBody>
        </p:sp>
        <p:sp>
          <p:nvSpPr>
            <p:cNvPr id="35" name="Freeform 34">
              <a:extLst>
                <a:ext uri="{FF2B5EF4-FFF2-40B4-BE49-F238E27FC236}">
                  <a16:creationId xmlns:a16="http://schemas.microsoft.com/office/drawing/2014/main" id="{0FE8553B-705A-8946-943B-B4040C6E5182}"/>
                </a:ext>
              </a:extLst>
            </p:cNvPr>
            <p:cNvSpPr/>
            <p:nvPr/>
          </p:nvSpPr>
          <p:spPr>
            <a:xfrm>
              <a:off x="1734234" y="5935383"/>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36" name="Freeform 35">
              <a:extLst>
                <a:ext uri="{FF2B5EF4-FFF2-40B4-BE49-F238E27FC236}">
                  <a16:creationId xmlns:a16="http://schemas.microsoft.com/office/drawing/2014/main" id="{915C41A6-8644-654E-BFD5-33855C6C37D2}"/>
                </a:ext>
              </a:extLst>
            </p:cNvPr>
            <p:cNvSpPr/>
            <p:nvPr/>
          </p:nvSpPr>
          <p:spPr>
            <a:xfrm>
              <a:off x="1801362" y="5935383"/>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37" name="Freeform 36">
              <a:extLst>
                <a:ext uri="{FF2B5EF4-FFF2-40B4-BE49-F238E27FC236}">
                  <a16:creationId xmlns:a16="http://schemas.microsoft.com/office/drawing/2014/main" id="{16CEE1F9-E449-3647-A184-C21EA6155EA6}"/>
                </a:ext>
              </a:extLst>
            </p:cNvPr>
            <p:cNvSpPr/>
            <p:nvPr/>
          </p:nvSpPr>
          <p:spPr>
            <a:xfrm>
              <a:off x="1868491" y="5935383"/>
              <a:ext cx="62333" cy="57374"/>
            </a:xfrm>
            <a:custGeom>
              <a:avLst/>
              <a:gdLst>
                <a:gd name="connsiteX0" fmla="*/ 52744 w 62333"/>
                <a:gd name="connsiteY0" fmla="*/ 0 h 57374"/>
                <a:gd name="connsiteX1" fmla="*/ 62333 w 62333"/>
                <a:gd name="connsiteY1" fmla="*/ 0 h 57374"/>
                <a:gd name="connsiteX2" fmla="*/ 62333 w 62333"/>
                <a:gd name="connsiteY2" fmla="*/ 57375 h 57374"/>
                <a:gd name="connsiteX3" fmla="*/ 52744 w 62333"/>
                <a:gd name="connsiteY3" fmla="*/ 57375 h 57374"/>
                <a:gd name="connsiteX4" fmla="*/ 52744 w 62333"/>
                <a:gd name="connsiteY4" fmla="*/ 0 h 57374"/>
                <a:gd name="connsiteX5" fmla="*/ 24256 w 62333"/>
                <a:gd name="connsiteY5" fmla="*/ 28546 h 57374"/>
                <a:gd name="connsiteX6" fmla="*/ 9590 w 62333"/>
                <a:gd name="connsiteY6" fmla="*/ 28546 h 57374"/>
                <a:gd name="connsiteX7" fmla="*/ 9590 w 62333"/>
                <a:gd name="connsiteY7" fmla="*/ 48896 h 57374"/>
                <a:gd name="connsiteX8" fmla="*/ 24256 w 62333"/>
                <a:gd name="connsiteY8" fmla="*/ 48896 h 57374"/>
                <a:gd name="connsiteX9" fmla="*/ 33000 w 62333"/>
                <a:gd name="connsiteY9" fmla="*/ 46069 h 57374"/>
                <a:gd name="connsiteX10" fmla="*/ 35256 w 62333"/>
                <a:gd name="connsiteY10" fmla="*/ 38438 h 57374"/>
                <a:gd name="connsiteX11" fmla="*/ 33000 w 62333"/>
                <a:gd name="connsiteY11" fmla="*/ 31090 h 57374"/>
                <a:gd name="connsiteX12" fmla="*/ 24256 w 62333"/>
                <a:gd name="connsiteY12" fmla="*/ 28546 h 57374"/>
                <a:gd name="connsiteX13" fmla="*/ 0 w 62333"/>
                <a:gd name="connsiteY13" fmla="*/ 57375 h 57374"/>
                <a:gd name="connsiteX14" fmla="*/ 0 w 62333"/>
                <a:gd name="connsiteY14" fmla="*/ 0 h 57374"/>
                <a:gd name="connsiteX15" fmla="*/ 9590 w 62333"/>
                <a:gd name="connsiteY15" fmla="*/ 0 h 57374"/>
                <a:gd name="connsiteX16" fmla="*/ 9590 w 62333"/>
                <a:gd name="connsiteY16" fmla="*/ 19784 h 57374"/>
                <a:gd name="connsiteX17" fmla="*/ 24256 w 62333"/>
                <a:gd name="connsiteY17" fmla="*/ 19784 h 57374"/>
                <a:gd name="connsiteX18" fmla="*/ 39205 w 62333"/>
                <a:gd name="connsiteY18" fmla="*/ 24589 h 57374"/>
                <a:gd name="connsiteX19" fmla="*/ 44282 w 62333"/>
                <a:gd name="connsiteY19" fmla="*/ 38156 h 57374"/>
                <a:gd name="connsiteX20" fmla="*/ 39205 w 62333"/>
                <a:gd name="connsiteY20" fmla="*/ 52287 h 57374"/>
                <a:gd name="connsiteX21" fmla="*/ 23974 w 62333"/>
                <a:gd name="connsiteY21" fmla="*/ 57375 h 57374"/>
                <a:gd name="connsiteX22" fmla="*/ 0 w 62333"/>
                <a:gd name="connsiteY22"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333" h="57374">
                  <a:moveTo>
                    <a:pt x="52744" y="0"/>
                  </a:moveTo>
                  <a:lnTo>
                    <a:pt x="62333" y="0"/>
                  </a:lnTo>
                  <a:lnTo>
                    <a:pt x="62333" y="57375"/>
                  </a:lnTo>
                  <a:lnTo>
                    <a:pt x="52744" y="57375"/>
                  </a:lnTo>
                  <a:lnTo>
                    <a:pt x="52744" y="0"/>
                  </a:lnTo>
                  <a:close/>
                  <a:moveTo>
                    <a:pt x="24256" y="28546"/>
                  </a:moveTo>
                  <a:lnTo>
                    <a:pt x="9590" y="28546"/>
                  </a:lnTo>
                  <a:lnTo>
                    <a:pt x="9590" y="48896"/>
                  </a:lnTo>
                  <a:lnTo>
                    <a:pt x="24256" y="48896"/>
                  </a:lnTo>
                  <a:cubicBezTo>
                    <a:pt x="28487" y="48896"/>
                    <a:pt x="31590" y="47765"/>
                    <a:pt x="33000" y="46069"/>
                  </a:cubicBezTo>
                  <a:cubicBezTo>
                    <a:pt x="34692" y="44091"/>
                    <a:pt x="35256" y="41547"/>
                    <a:pt x="35256" y="38438"/>
                  </a:cubicBezTo>
                  <a:cubicBezTo>
                    <a:pt x="35256" y="35329"/>
                    <a:pt x="34410" y="32786"/>
                    <a:pt x="33000" y="31090"/>
                  </a:cubicBezTo>
                  <a:cubicBezTo>
                    <a:pt x="31590" y="29394"/>
                    <a:pt x="28769" y="28546"/>
                    <a:pt x="24256" y="28546"/>
                  </a:cubicBezTo>
                  <a:moveTo>
                    <a:pt x="0" y="57375"/>
                  </a:moveTo>
                  <a:lnTo>
                    <a:pt x="0" y="0"/>
                  </a:lnTo>
                  <a:lnTo>
                    <a:pt x="9590" y="0"/>
                  </a:lnTo>
                  <a:lnTo>
                    <a:pt x="9590" y="19784"/>
                  </a:lnTo>
                  <a:lnTo>
                    <a:pt x="24256" y="19784"/>
                  </a:lnTo>
                  <a:cubicBezTo>
                    <a:pt x="30744" y="19784"/>
                    <a:pt x="35821" y="21480"/>
                    <a:pt x="39205" y="24589"/>
                  </a:cubicBezTo>
                  <a:cubicBezTo>
                    <a:pt x="42590" y="27698"/>
                    <a:pt x="44282" y="32220"/>
                    <a:pt x="44282" y="38156"/>
                  </a:cubicBezTo>
                  <a:cubicBezTo>
                    <a:pt x="44282" y="44091"/>
                    <a:pt x="42590" y="48896"/>
                    <a:pt x="39205" y="52287"/>
                  </a:cubicBezTo>
                  <a:cubicBezTo>
                    <a:pt x="35821" y="55679"/>
                    <a:pt x="30744" y="57375"/>
                    <a:pt x="23974" y="57375"/>
                  </a:cubicBezTo>
                  <a:lnTo>
                    <a:pt x="0" y="57375"/>
                  </a:lnTo>
                  <a:close/>
                </a:path>
              </a:pathLst>
            </a:custGeom>
            <a:solidFill>
              <a:srgbClr val="7F8183"/>
            </a:solidFill>
            <a:ln w="2790" cap="flat">
              <a:noFill/>
              <a:prstDash val="solid"/>
              <a:miter/>
            </a:ln>
          </p:spPr>
          <p:txBody>
            <a:bodyPr rtlCol="0" anchor="ctr"/>
            <a:lstStyle/>
            <a:p>
              <a:endParaRPr lang="x-none" sz="1905"/>
            </a:p>
          </p:txBody>
        </p:sp>
        <p:sp>
          <p:nvSpPr>
            <p:cNvPr id="38" name="Freeform 37">
              <a:extLst>
                <a:ext uri="{FF2B5EF4-FFF2-40B4-BE49-F238E27FC236}">
                  <a16:creationId xmlns:a16="http://schemas.microsoft.com/office/drawing/2014/main" id="{036E6186-0105-E64A-8F4D-E90DC776E3BC}"/>
                </a:ext>
              </a:extLst>
            </p:cNvPr>
            <p:cNvSpPr/>
            <p:nvPr/>
          </p:nvSpPr>
          <p:spPr>
            <a:xfrm>
              <a:off x="1941542" y="5935383"/>
              <a:ext cx="54435" cy="57374"/>
            </a:xfrm>
            <a:custGeom>
              <a:avLst/>
              <a:gdLst>
                <a:gd name="connsiteX0" fmla="*/ 42872 w 54435"/>
                <a:gd name="connsiteY0" fmla="*/ 57375 h 57374"/>
                <a:gd name="connsiteX1" fmla="*/ 26795 w 54435"/>
                <a:gd name="connsiteY1" fmla="*/ 34481 h 57374"/>
                <a:gd name="connsiteX2" fmla="*/ 11282 w 54435"/>
                <a:gd name="connsiteY2" fmla="*/ 57375 h 57374"/>
                <a:gd name="connsiteX3" fmla="*/ 0 w 54435"/>
                <a:gd name="connsiteY3" fmla="*/ 57375 h 57374"/>
                <a:gd name="connsiteX4" fmla="*/ 21154 w 54435"/>
                <a:gd name="connsiteY4" fmla="*/ 27981 h 57374"/>
                <a:gd name="connsiteX5" fmla="*/ 1410 w 54435"/>
                <a:gd name="connsiteY5" fmla="*/ 0 h 57374"/>
                <a:gd name="connsiteX6" fmla="*/ 12410 w 54435"/>
                <a:gd name="connsiteY6" fmla="*/ 0 h 57374"/>
                <a:gd name="connsiteX7" fmla="*/ 26795 w 54435"/>
                <a:gd name="connsiteY7" fmla="*/ 21198 h 57374"/>
                <a:gd name="connsiteX8" fmla="*/ 41462 w 54435"/>
                <a:gd name="connsiteY8" fmla="*/ 0 h 57374"/>
                <a:gd name="connsiteX9" fmla="*/ 52462 w 54435"/>
                <a:gd name="connsiteY9" fmla="*/ 0 h 57374"/>
                <a:gd name="connsiteX10" fmla="*/ 32436 w 54435"/>
                <a:gd name="connsiteY10" fmla="*/ 27416 h 57374"/>
                <a:gd name="connsiteX11" fmla="*/ 54436 w 54435"/>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35" h="57374">
                  <a:moveTo>
                    <a:pt x="42872" y="57375"/>
                  </a:moveTo>
                  <a:lnTo>
                    <a:pt x="26795" y="34481"/>
                  </a:lnTo>
                  <a:lnTo>
                    <a:pt x="11282" y="57375"/>
                  </a:lnTo>
                  <a:lnTo>
                    <a:pt x="0" y="57375"/>
                  </a:lnTo>
                  <a:lnTo>
                    <a:pt x="21154" y="27981"/>
                  </a:lnTo>
                  <a:lnTo>
                    <a:pt x="1410" y="0"/>
                  </a:lnTo>
                  <a:lnTo>
                    <a:pt x="12410" y="0"/>
                  </a:lnTo>
                  <a:lnTo>
                    <a:pt x="26795" y="21198"/>
                  </a:lnTo>
                  <a:lnTo>
                    <a:pt x="41462" y="0"/>
                  </a:lnTo>
                  <a:lnTo>
                    <a:pt x="52462" y="0"/>
                  </a:lnTo>
                  <a:lnTo>
                    <a:pt x="32436" y="27416"/>
                  </a:lnTo>
                  <a:lnTo>
                    <a:pt x="54436" y="57375"/>
                  </a:lnTo>
                  <a:close/>
                </a:path>
              </a:pathLst>
            </a:custGeom>
            <a:solidFill>
              <a:srgbClr val="7F8183"/>
            </a:solidFill>
            <a:ln w="2790" cap="flat">
              <a:noFill/>
              <a:prstDash val="solid"/>
              <a:miter/>
            </a:ln>
          </p:spPr>
          <p:txBody>
            <a:bodyPr rtlCol="0" anchor="ctr"/>
            <a:lstStyle/>
            <a:p>
              <a:endParaRPr lang="x-none" sz="1905"/>
            </a:p>
          </p:txBody>
        </p:sp>
        <p:grpSp>
          <p:nvGrpSpPr>
            <p:cNvPr id="39" name="Graphic 13">
              <a:extLst>
                <a:ext uri="{FF2B5EF4-FFF2-40B4-BE49-F238E27FC236}">
                  <a16:creationId xmlns:a16="http://schemas.microsoft.com/office/drawing/2014/main" id="{5FBDBB02-33F0-E145-BD7C-F1E09FAEE3A4}"/>
                </a:ext>
              </a:extLst>
            </p:cNvPr>
            <p:cNvGrpSpPr/>
            <p:nvPr/>
          </p:nvGrpSpPr>
          <p:grpSpPr>
            <a:xfrm>
              <a:off x="1266593" y="6057199"/>
              <a:ext cx="116205" cy="82246"/>
              <a:chOff x="1266593" y="6057199"/>
              <a:chExt cx="116205" cy="82246"/>
            </a:xfrm>
            <a:solidFill>
              <a:srgbClr val="CFD4D9"/>
            </a:solidFill>
          </p:grpSpPr>
          <p:sp>
            <p:nvSpPr>
              <p:cNvPr id="46" name="Freeform 45">
                <a:extLst>
                  <a:ext uri="{FF2B5EF4-FFF2-40B4-BE49-F238E27FC236}">
                    <a16:creationId xmlns:a16="http://schemas.microsoft.com/office/drawing/2014/main" id="{F0FECE7F-8435-6044-B8FB-533A792EF2A6}"/>
                  </a:ext>
                </a:extLst>
              </p:cNvPr>
              <p:cNvSpPr/>
              <p:nvPr/>
            </p:nvSpPr>
            <p:spPr>
              <a:xfrm>
                <a:off x="1266593" y="6057199"/>
                <a:ext cx="54153" cy="82246"/>
              </a:xfrm>
              <a:custGeom>
                <a:avLst/>
                <a:gdLst>
                  <a:gd name="connsiteX0" fmla="*/ 9308 w 54153"/>
                  <a:gd name="connsiteY0" fmla="*/ 34764 h 82246"/>
                  <a:gd name="connsiteX1" fmla="*/ 14667 w 54153"/>
                  <a:gd name="connsiteY1" fmla="*/ 46917 h 82246"/>
                  <a:gd name="connsiteX2" fmla="*/ 27359 w 54153"/>
                  <a:gd name="connsiteY2" fmla="*/ 51439 h 82246"/>
                  <a:gd name="connsiteX3" fmla="*/ 39769 w 54153"/>
                  <a:gd name="connsiteY3" fmla="*/ 45504 h 82246"/>
                  <a:gd name="connsiteX4" fmla="*/ 44282 w 54153"/>
                  <a:gd name="connsiteY4" fmla="*/ 29677 h 82246"/>
                  <a:gd name="connsiteX5" fmla="*/ 39769 w 54153"/>
                  <a:gd name="connsiteY5" fmla="*/ 14414 h 82246"/>
                  <a:gd name="connsiteX6" fmla="*/ 27077 w 54153"/>
                  <a:gd name="connsiteY6" fmla="*/ 8479 h 82246"/>
                  <a:gd name="connsiteX7" fmla="*/ 20590 w 54153"/>
                  <a:gd name="connsiteY7" fmla="*/ 9610 h 82246"/>
                  <a:gd name="connsiteX8" fmla="*/ 14949 w 54153"/>
                  <a:gd name="connsiteY8" fmla="*/ 13284 h 82246"/>
                  <a:gd name="connsiteX9" fmla="*/ 11000 w 54153"/>
                  <a:gd name="connsiteY9" fmla="*/ 19219 h 82246"/>
                  <a:gd name="connsiteX10" fmla="*/ 9590 w 54153"/>
                  <a:gd name="connsiteY10" fmla="*/ 27416 h 82246"/>
                  <a:gd name="connsiteX11" fmla="*/ 9590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308" y="34764"/>
                    </a:moveTo>
                    <a:cubicBezTo>
                      <a:pt x="9308" y="40134"/>
                      <a:pt x="11000" y="44091"/>
                      <a:pt x="14667" y="46917"/>
                    </a:cubicBezTo>
                    <a:cubicBezTo>
                      <a:pt x="18333" y="49744"/>
                      <a:pt x="22564" y="51439"/>
                      <a:pt x="27359" y="51439"/>
                    </a:cubicBezTo>
                    <a:cubicBezTo>
                      <a:pt x="32718" y="51439"/>
                      <a:pt x="36667" y="49461"/>
                      <a:pt x="39769" y="45504"/>
                    </a:cubicBezTo>
                    <a:cubicBezTo>
                      <a:pt x="42872" y="41547"/>
                      <a:pt x="44282" y="36460"/>
                      <a:pt x="44282" y="29677"/>
                    </a:cubicBezTo>
                    <a:cubicBezTo>
                      <a:pt x="44282" y="23459"/>
                      <a:pt x="42872" y="18371"/>
                      <a:pt x="39769" y="14414"/>
                    </a:cubicBezTo>
                    <a:cubicBezTo>
                      <a:pt x="36667" y="10457"/>
                      <a:pt x="32436" y="8479"/>
                      <a:pt x="27077" y="8479"/>
                    </a:cubicBezTo>
                    <a:cubicBezTo>
                      <a:pt x="24821" y="8479"/>
                      <a:pt x="22564" y="8762"/>
                      <a:pt x="20590" y="9610"/>
                    </a:cubicBezTo>
                    <a:cubicBezTo>
                      <a:pt x="18615" y="10457"/>
                      <a:pt x="16641" y="11588"/>
                      <a:pt x="14949" y="13284"/>
                    </a:cubicBezTo>
                    <a:cubicBezTo>
                      <a:pt x="13256" y="14980"/>
                      <a:pt x="11846" y="16958"/>
                      <a:pt x="11000" y="19219"/>
                    </a:cubicBezTo>
                    <a:cubicBezTo>
                      <a:pt x="9872" y="21763"/>
                      <a:pt x="9590" y="24307"/>
                      <a:pt x="9590" y="27416"/>
                    </a:cubicBezTo>
                    <a:lnTo>
                      <a:pt x="9590" y="34764"/>
                    </a:lnTo>
                    <a:close/>
                    <a:moveTo>
                      <a:pt x="0" y="82247"/>
                    </a:moveTo>
                    <a:lnTo>
                      <a:pt x="0" y="1413"/>
                    </a:lnTo>
                    <a:lnTo>
                      <a:pt x="9590" y="1413"/>
                    </a:lnTo>
                    <a:lnTo>
                      <a:pt x="9590" y="9044"/>
                    </a:lnTo>
                    <a:cubicBezTo>
                      <a:pt x="11564" y="5935"/>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sp>
            <p:nvSpPr>
              <p:cNvPr id="47" name="Freeform 46">
                <a:extLst>
                  <a:ext uri="{FF2B5EF4-FFF2-40B4-BE49-F238E27FC236}">
                    <a16:creationId xmlns:a16="http://schemas.microsoft.com/office/drawing/2014/main" id="{FA796D1A-66D1-CB48-8C0F-A82179D510D8}"/>
                  </a:ext>
                </a:extLst>
              </p:cNvPr>
              <p:cNvSpPr/>
              <p:nvPr/>
            </p:nvSpPr>
            <p:spPr>
              <a:xfrm>
                <a:off x="1331465" y="6057764"/>
                <a:ext cx="51333" cy="59635"/>
              </a:xfrm>
              <a:custGeom>
                <a:avLst/>
                <a:gdLst>
                  <a:gd name="connsiteX0" fmla="*/ 26513 w 51333"/>
                  <a:gd name="connsiteY0" fmla="*/ 7914 h 59635"/>
                  <a:gd name="connsiteX1" fmla="*/ 15513 w 51333"/>
                  <a:gd name="connsiteY1" fmla="*/ 12153 h 59635"/>
                  <a:gd name="connsiteX2" fmla="*/ 9872 w 51333"/>
                  <a:gd name="connsiteY2" fmla="*/ 23176 h 59635"/>
                  <a:gd name="connsiteX3" fmla="*/ 42026 w 51333"/>
                  <a:gd name="connsiteY3" fmla="*/ 23176 h 59635"/>
                  <a:gd name="connsiteX4" fmla="*/ 38077 w 51333"/>
                  <a:gd name="connsiteY4" fmla="*/ 12153 h 59635"/>
                  <a:gd name="connsiteX5" fmla="*/ 26513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9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513" y="7914"/>
                    </a:moveTo>
                    <a:cubicBezTo>
                      <a:pt x="22000" y="7914"/>
                      <a:pt x="18333" y="9327"/>
                      <a:pt x="15513" y="12153"/>
                    </a:cubicBezTo>
                    <a:cubicBezTo>
                      <a:pt x="12410" y="14980"/>
                      <a:pt x="10718" y="18654"/>
                      <a:pt x="9872" y="23176"/>
                    </a:cubicBezTo>
                    <a:lnTo>
                      <a:pt x="42026" y="23176"/>
                    </a:lnTo>
                    <a:cubicBezTo>
                      <a:pt x="41744" y="18654"/>
                      <a:pt x="40333" y="14980"/>
                      <a:pt x="38077" y="12153"/>
                    </a:cubicBezTo>
                    <a:cubicBezTo>
                      <a:pt x="35256" y="9327"/>
                      <a:pt x="31590" y="7914"/>
                      <a:pt x="26513"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9"/>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grpSp>
        <p:sp>
          <p:nvSpPr>
            <p:cNvPr id="40" name="Freeform 39">
              <a:extLst>
                <a:ext uri="{FF2B5EF4-FFF2-40B4-BE49-F238E27FC236}">
                  <a16:creationId xmlns:a16="http://schemas.microsoft.com/office/drawing/2014/main" id="{ED918880-8324-C548-8AEE-314114EB481D}"/>
                </a:ext>
              </a:extLst>
            </p:cNvPr>
            <p:cNvSpPr/>
            <p:nvPr/>
          </p:nvSpPr>
          <p:spPr>
            <a:xfrm>
              <a:off x="1396901" y="6058612"/>
              <a:ext cx="75307" cy="57374"/>
            </a:xfrm>
            <a:custGeom>
              <a:avLst/>
              <a:gdLst>
                <a:gd name="connsiteX0" fmla="*/ 75308 w 75307"/>
                <a:gd name="connsiteY0" fmla="*/ 0 h 57374"/>
                <a:gd name="connsiteX1" fmla="*/ 75308 w 75307"/>
                <a:gd name="connsiteY1" fmla="*/ 57375 h 57374"/>
                <a:gd name="connsiteX2" fmla="*/ 0 w 75307"/>
                <a:gd name="connsiteY2" fmla="*/ 57375 h 57374"/>
                <a:gd name="connsiteX3" fmla="*/ 0 w 75307"/>
                <a:gd name="connsiteY3" fmla="*/ 0 h 57374"/>
                <a:gd name="connsiteX4" fmla="*/ 9308 w 75307"/>
                <a:gd name="connsiteY4" fmla="*/ 0 h 57374"/>
                <a:gd name="connsiteX5" fmla="*/ 9308 w 75307"/>
                <a:gd name="connsiteY5" fmla="*/ 48613 h 57374"/>
                <a:gd name="connsiteX6" fmla="*/ 32718 w 75307"/>
                <a:gd name="connsiteY6" fmla="*/ 48613 h 57374"/>
                <a:gd name="connsiteX7" fmla="*/ 32718 w 75307"/>
                <a:gd name="connsiteY7" fmla="*/ 0 h 57374"/>
                <a:gd name="connsiteX8" fmla="*/ 42308 w 75307"/>
                <a:gd name="connsiteY8" fmla="*/ 0 h 57374"/>
                <a:gd name="connsiteX9" fmla="*/ 42308 w 75307"/>
                <a:gd name="connsiteY9" fmla="*/ 48613 h 57374"/>
                <a:gd name="connsiteX10" fmla="*/ 65718 w 75307"/>
                <a:gd name="connsiteY10" fmla="*/ 48613 h 57374"/>
                <a:gd name="connsiteX11" fmla="*/ 65718 w 75307"/>
                <a:gd name="connsiteY11" fmla="*/ 0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307" h="57374">
                  <a:moveTo>
                    <a:pt x="75308" y="0"/>
                  </a:moveTo>
                  <a:lnTo>
                    <a:pt x="75308" y="57375"/>
                  </a:lnTo>
                  <a:lnTo>
                    <a:pt x="0" y="57375"/>
                  </a:lnTo>
                  <a:lnTo>
                    <a:pt x="0" y="0"/>
                  </a:lnTo>
                  <a:lnTo>
                    <a:pt x="9308" y="0"/>
                  </a:lnTo>
                  <a:lnTo>
                    <a:pt x="9308" y="48613"/>
                  </a:lnTo>
                  <a:lnTo>
                    <a:pt x="32718" y="48613"/>
                  </a:lnTo>
                  <a:lnTo>
                    <a:pt x="32718" y="0"/>
                  </a:lnTo>
                  <a:lnTo>
                    <a:pt x="42308" y="0"/>
                  </a:lnTo>
                  <a:lnTo>
                    <a:pt x="42308" y="48613"/>
                  </a:lnTo>
                  <a:lnTo>
                    <a:pt x="65718" y="48613"/>
                  </a:lnTo>
                  <a:lnTo>
                    <a:pt x="65718" y="0"/>
                  </a:lnTo>
                  <a:close/>
                </a:path>
              </a:pathLst>
            </a:custGeom>
            <a:solidFill>
              <a:srgbClr val="7F8183"/>
            </a:solidFill>
            <a:ln w="2790" cap="flat">
              <a:noFill/>
              <a:prstDash val="solid"/>
              <a:miter/>
            </a:ln>
          </p:spPr>
          <p:txBody>
            <a:bodyPr rtlCol="0" anchor="ctr"/>
            <a:lstStyle/>
            <a:p>
              <a:endParaRPr lang="x-none" sz="1905"/>
            </a:p>
          </p:txBody>
        </p:sp>
        <p:sp>
          <p:nvSpPr>
            <p:cNvPr id="41" name="Freeform 40">
              <a:extLst>
                <a:ext uri="{FF2B5EF4-FFF2-40B4-BE49-F238E27FC236}">
                  <a16:creationId xmlns:a16="http://schemas.microsoft.com/office/drawing/2014/main" id="{55E19C41-400A-C242-8A6E-11EAC64B30A5}"/>
                </a:ext>
              </a:extLst>
            </p:cNvPr>
            <p:cNvSpPr/>
            <p:nvPr/>
          </p:nvSpPr>
          <p:spPr>
            <a:xfrm>
              <a:off x="1486311" y="6057764"/>
              <a:ext cx="51333" cy="59635"/>
            </a:xfrm>
            <a:custGeom>
              <a:avLst/>
              <a:gdLst>
                <a:gd name="connsiteX0" fmla="*/ 26513 w 51333"/>
                <a:gd name="connsiteY0" fmla="*/ 7914 h 59635"/>
                <a:gd name="connsiteX1" fmla="*/ 15513 w 51333"/>
                <a:gd name="connsiteY1" fmla="*/ 12153 h 59635"/>
                <a:gd name="connsiteX2" fmla="*/ 9872 w 51333"/>
                <a:gd name="connsiteY2" fmla="*/ 23176 h 59635"/>
                <a:gd name="connsiteX3" fmla="*/ 41744 w 51333"/>
                <a:gd name="connsiteY3" fmla="*/ 23176 h 59635"/>
                <a:gd name="connsiteX4" fmla="*/ 37795 w 51333"/>
                <a:gd name="connsiteY4" fmla="*/ 12153 h 59635"/>
                <a:gd name="connsiteX5" fmla="*/ 26513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9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513" y="7914"/>
                  </a:moveTo>
                  <a:cubicBezTo>
                    <a:pt x="22000" y="7914"/>
                    <a:pt x="18333" y="9327"/>
                    <a:pt x="15513" y="12153"/>
                  </a:cubicBezTo>
                  <a:cubicBezTo>
                    <a:pt x="12410" y="14980"/>
                    <a:pt x="10718" y="18654"/>
                    <a:pt x="9872" y="23176"/>
                  </a:cubicBezTo>
                  <a:lnTo>
                    <a:pt x="41744" y="23176"/>
                  </a:lnTo>
                  <a:cubicBezTo>
                    <a:pt x="41462" y="18654"/>
                    <a:pt x="40051" y="14980"/>
                    <a:pt x="37795" y="12153"/>
                  </a:cubicBezTo>
                  <a:cubicBezTo>
                    <a:pt x="35256" y="9327"/>
                    <a:pt x="31590" y="7914"/>
                    <a:pt x="26513"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9"/>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42" name="Freeform 41">
              <a:extLst>
                <a:ext uri="{FF2B5EF4-FFF2-40B4-BE49-F238E27FC236}">
                  <a16:creationId xmlns:a16="http://schemas.microsoft.com/office/drawing/2014/main" id="{137CFA86-F04E-2744-A8C9-FA04A16062EA}"/>
                </a:ext>
              </a:extLst>
            </p:cNvPr>
            <p:cNvSpPr/>
            <p:nvPr/>
          </p:nvSpPr>
          <p:spPr>
            <a:xfrm>
              <a:off x="1551747" y="6058612"/>
              <a:ext cx="49076" cy="57374"/>
            </a:xfrm>
            <a:custGeom>
              <a:avLst/>
              <a:gdLst>
                <a:gd name="connsiteX0" fmla="*/ 0 w 49076"/>
                <a:gd name="connsiteY0" fmla="*/ 57375 h 57374"/>
                <a:gd name="connsiteX1" fmla="*/ 0 w 49076"/>
                <a:gd name="connsiteY1" fmla="*/ 0 h 57374"/>
                <a:gd name="connsiteX2" fmla="*/ 9308 w 49076"/>
                <a:gd name="connsiteY2" fmla="*/ 0 h 57374"/>
                <a:gd name="connsiteX3" fmla="*/ 9308 w 49076"/>
                <a:gd name="connsiteY3" fmla="*/ 23459 h 57374"/>
                <a:gd name="connsiteX4" fmla="*/ 39769 w 49076"/>
                <a:gd name="connsiteY4" fmla="*/ 23459 h 57374"/>
                <a:gd name="connsiteX5" fmla="*/ 39769 w 49076"/>
                <a:gd name="connsiteY5" fmla="*/ 0 h 57374"/>
                <a:gd name="connsiteX6" fmla="*/ 49077 w 49076"/>
                <a:gd name="connsiteY6" fmla="*/ 0 h 57374"/>
                <a:gd name="connsiteX7" fmla="*/ 49077 w 49076"/>
                <a:gd name="connsiteY7" fmla="*/ 57375 h 57374"/>
                <a:gd name="connsiteX8" fmla="*/ 39769 w 49076"/>
                <a:gd name="connsiteY8" fmla="*/ 57375 h 57374"/>
                <a:gd name="connsiteX9" fmla="*/ 39769 w 49076"/>
                <a:gd name="connsiteY9" fmla="*/ 32503 h 57374"/>
                <a:gd name="connsiteX10" fmla="*/ 9308 w 49076"/>
                <a:gd name="connsiteY10" fmla="*/ 32503 h 57374"/>
                <a:gd name="connsiteX11" fmla="*/ 9308 w 49076"/>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076" h="57374">
                  <a:moveTo>
                    <a:pt x="0" y="57375"/>
                  </a:moveTo>
                  <a:lnTo>
                    <a:pt x="0" y="0"/>
                  </a:lnTo>
                  <a:lnTo>
                    <a:pt x="9308" y="0"/>
                  </a:lnTo>
                  <a:lnTo>
                    <a:pt x="9308" y="23459"/>
                  </a:lnTo>
                  <a:lnTo>
                    <a:pt x="39769" y="23459"/>
                  </a:lnTo>
                  <a:lnTo>
                    <a:pt x="39769" y="0"/>
                  </a:lnTo>
                  <a:lnTo>
                    <a:pt x="49077" y="0"/>
                  </a:lnTo>
                  <a:lnTo>
                    <a:pt x="49077" y="57375"/>
                  </a:lnTo>
                  <a:lnTo>
                    <a:pt x="39769" y="57375"/>
                  </a:lnTo>
                  <a:lnTo>
                    <a:pt x="39769" y="32503"/>
                  </a:lnTo>
                  <a:lnTo>
                    <a:pt x="9308" y="32503"/>
                  </a:lnTo>
                  <a:lnTo>
                    <a:pt x="9308" y="57375"/>
                  </a:lnTo>
                  <a:close/>
                </a:path>
              </a:pathLst>
            </a:custGeom>
            <a:solidFill>
              <a:srgbClr val="7F8183"/>
            </a:solidFill>
            <a:ln w="2790" cap="flat">
              <a:noFill/>
              <a:prstDash val="solid"/>
              <a:miter/>
            </a:ln>
          </p:spPr>
          <p:txBody>
            <a:bodyPr rtlCol="0" anchor="ctr"/>
            <a:lstStyle/>
            <a:p>
              <a:endParaRPr lang="x-none" sz="1905"/>
            </a:p>
          </p:txBody>
        </p:sp>
        <p:sp>
          <p:nvSpPr>
            <p:cNvPr id="43" name="Freeform 42">
              <a:extLst>
                <a:ext uri="{FF2B5EF4-FFF2-40B4-BE49-F238E27FC236}">
                  <a16:creationId xmlns:a16="http://schemas.microsoft.com/office/drawing/2014/main" id="{1C592BFF-770B-F14D-B62F-70E6DC318FA9}"/>
                </a:ext>
              </a:extLst>
            </p:cNvPr>
            <p:cNvSpPr/>
            <p:nvPr/>
          </p:nvSpPr>
          <p:spPr>
            <a:xfrm>
              <a:off x="1618875" y="6058612"/>
              <a:ext cx="47948" cy="57374"/>
            </a:xfrm>
            <a:custGeom>
              <a:avLst/>
              <a:gdLst>
                <a:gd name="connsiteX0" fmla="*/ 10154 w 47948"/>
                <a:gd name="connsiteY0" fmla="*/ 57375 h 57374"/>
                <a:gd name="connsiteX1" fmla="*/ 0 w 47948"/>
                <a:gd name="connsiteY1" fmla="*/ 57375 h 57374"/>
                <a:gd name="connsiteX2" fmla="*/ 0 w 47948"/>
                <a:gd name="connsiteY2" fmla="*/ 0 h 57374"/>
                <a:gd name="connsiteX3" fmla="*/ 9026 w 47948"/>
                <a:gd name="connsiteY3" fmla="*/ 0 h 57374"/>
                <a:gd name="connsiteX4" fmla="*/ 9026 w 47948"/>
                <a:gd name="connsiteY4" fmla="*/ 44939 h 57374"/>
                <a:gd name="connsiteX5" fmla="*/ 37513 w 47948"/>
                <a:gd name="connsiteY5" fmla="*/ 0 h 57374"/>
                <a:gd name="connsiteX6" fmla="*/ 47949 w 47948"/>
                <a:gd name="connsiteY6" fmla="*/ 0 h 57374"/>
                <a:gd name="connsiteX7" fmla="*/ 47949 w 47948"/>
                <a:gd name="connsiteY7" fmla="*/ 57375 h 57374"/>
                <a:gd name="connsiteX8" fmla="*/ 38923 w 47948"/>
                <a:gd name="connsiteY8" fmla="*/ 57375 h 57374"/>
                <a:gd name="connsiteX9" fmla="*/ 38923 w 47948"/>
                <a:gd name="connsiteY9" fmla="*/ 12153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48" h="57374">
                  <a:moveTo>
                    <a:pt x="10154" y="57375"/>
                  </a:moveTo>
                  <a:lnTo>
                    <a:pt x="0" y="57375"/>
                  </a:lnTo>
                  <a:lnTo>
                    <a:pt x="0" y="0"/>
                  </a:lnTo>
                  <a:lnTo>
                    <a:pt x="9026" y="0"/>
                  </a:lnTo>
                  <a:lnTo>
                    <a:pt x="9026" y="44939"/>
                  </a:lnTo>
                  <a:lnTo>
                    <a:pt x="37513" y="0"/>
                  </a:lnTo>
                  <a:lnTo>
                    <a:pt x="47949" y="0"/>
                  </a:lnTo>
                  <a:lnTo>
                    <a:pt x="47949" y="57375"/>
                  </a:lnTo>
                  <a:lnTo>
                    <a:pt x="38923" y="57375"/>
                  </a:lnTo>
                  <a:lnTo>
                    <a:pt x="38923" y="12153"/>
                  </a:lnTo>
                  <a:close/>
                </a:path>
              </a:pathLst>
            </a:custGeom>
            <a:solidFill>
              <a:srgbClr val="7F8183"/>
            </a:solidFill>
            <a:ln w="2790" cap="flat">
              <a:noFill/>
              <a:prstDash val="solid"/>
              <a:miter/>
            </a:ln>
          </p:spPr>
          <p:txBody>
            <a:bodyPr rtlCol="0" anchor="ctr"/>
            <a:lstStyle/>
            <a:p>
              <a:endParaRPr lang="x-none" sz="1905"/>
            </a:p>
          </p:txBody>
        </p:sp>
        <p:sp>
          <p:nvSpPr>
            <p:cNvPr id="44" name="Freeform 43">
              <a:extLst>
                <a:ext uri="{FF2B5EF4-FFF2-40B4-BE49-F238E27FC236}">
                  <a16:creationId xmlns:a16="http://schemas.microsoft.com/office/drawing/2014/main" id="{3C14E56D-D5A9-8B4C-89D7-0E81073AB749}"/>
                </a:ext>
              </a:extLst>
            </p:cNvPr>
            <p:cNvSpPr/>
            <p:nvPr/>
          </p:nvSpPr>
          <p:spPr>
            <a:xfrm>
              <a:off x="1684875" y="6036849"/>
              <a:ext cx="48230" cy="79137"/>
            </a:xfrm>
            <a:custGeom>
              <a:avLst/>
              <a:gdLst>
                <a:gd name="connsiteX0" fmla="*/ 24256 w 48230"/>
                <a:gd name="connsiteY0" fmla="*/ 15545 h 79137"/>
                <a:gd name="connsiteX1" fmla="*/ 11282 w 48230"/>
                <a:gd name="connsiteY1" fmla="*/ 11305 h 79137"/>
                <a:gd name="connsiteX2" fmla="*/ 7051 w 48230"/>
                <a:gd name="connsiteY2" fmla="*/ 0 h 79137"/>
                <a:gd name="connsiteX3" fmla="*/ 14949 w 48230"/>
                <a:gd name="connsiteY3" fmla="*/ 0 h 79137"/>
                <a:gd name="connsiteX4" fmla="*/ 17487 w 48230"/>
                <a:gd name="connsiteY4" fmla="*/ 6218 h 79137"/>
                <a:gd name="connsiteX5" fmla="*/ 23974 w 48230"/>
                <a:gd name="connsiteY5" fmla="*/ 8479 h 79137"/>
                <a:gd name="connsiteX6" fmla="*/ 30462 w 48230"/>
                <a:gd name="connsiteY6" fmla="*/ 6218 h 79137"/>
                <a:gd name="connsiteX7" fmla="*/ 33000 w 48230"/>
                <a:gd name="connsiteY7" fmla="*/ 0 h 79137"/>
                <a:gd name="connsiteX8" fmla="*/ 40897 w 48230"/>
                <a:gd name="connsiteY8" fmla="*/ 0 h 79137"/>
                <a:gd name="connsiteX9" fmla="*/ 36667 w 48230"/>
                <a:gd name="connsiteY9" fmla="*/ 11305 h 79137"/>
                <a:gd name="connsiteX10" fmla="*/ 24256 w 48230"/>
                <a:gd name="connsiteY10" fmla="*/ 15545 h 79137"/>
                <a:gd name="connsiteX11" fmla="*/ 10154 w 48230"/>
                <a:gd name="connsiteY11" fmla="*/ 79138 h 79137"/>
                <a:gd name="connsiteX12" fmla="*/ 0 w 48230"/>
                <a:gd name="connsiteY12" fmla="*/ 79138 h 79137"/>
                <a:gd name="connsiteX13" fmla="*/ 0 w 48230"/>
                <a:gd name="connsiteY13" fmla="*/ 21763 h 79137"/>
                <a:gd name="connsiteX14" fmla="*/ 9308 w 48230"/>
                <a:gd name="connsiteY14" fmla="*/ 21763 h 79137"/>
                <a:gd name="connsiteX15" fmla="*/ 9308 w 48230"/>
                <a:gd name="connsiteY15" fmla="*/ 66702 h 79137"/>
                <a:gd name="connsiteX16" fmla="*/ 37795 w 48230"/>
                <a:gd name="connsiteY16" fmla="*/ 21763 h 79137"/>
                <a:gd name="connsiteX17" fmla="*/ 48231 w 48230"/>
                <a:gd name="connsiteY17" fmla="*/ 21763 h 79137"/>
                <a:gd name="connsiteX18" fmla="*/ 48231 w 48230"/>
                <a:gd name="connsiteY18" fmla="*/ 79138 h 79137"/>
                <a:gd name="connsiteX19" fmla="*/ 38923 w 48230"/>
                <a:gd name="connsiteY19" fmla="*/ 79138 h 79137"/>
                <a:gd name="connsiteX20" fmla="*/ 38923 w 48230"/>
                <a:gd name="connsiteY20" fmla="*/ 33916 h 79137"/>
                <a:gd name="connsiteX21" fmla="*/ 10154 w 48230"/>
                <a:gd name="connsiteY21" fmla="*/ 79138 h 7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230" h="79137">
                  <a:moveTo>
                    <a:pt x="24256" y="15545"/>
                  </a:moveTo>
                  <a:cubicBezTo>
                    <a:pt x="18333" y="15545"/>
                    <a:pt x="14103" y="14132"/>
                    <a:pt x="11282" y="11305"/>
                  </a:cubicBezTo>
                  <a:cubicBezTo>
                    <a:pt x="8462" y="8479"/>
                    <a:pt x="7051" y="4805"/>
                    <a:pt x="7051" y="0"/>
                  </a:cubicBezTo>
                  <a:lnTo>
                    <a:pt x="14949" y="0"/>
                  </a:lnTo>
                  <a:cubicBezTo>
                    <a:pt x="15231" y="2544"/>
                    <a:pt x="16077" y="4805"/>
                    <a:pt x="17487" y="6218"/>
                  </a:cubicBezTo>
                  <a:cubicBezTo>
                    <a:pt x="18897" y="7631"/>
                    <a:pt x="21154" y="8479"/>
                    <a:pt x="23974" y="8479"/>
                  </a:cubicBezTo>
                  <a:cubicBezTo>
                    <a:pt x="26795" y="8479"/>
                    <a:pt x="29051" y="7631"/>
                    <a:pt x="30462" y="6218"/>
                  </a:cubicBezTo>
                  <a:cubicBezTo>
                    <a:pt x="31872" y="4805"/>
                    <a:pt x="32718" y="2544"/>
                    <a:pt x="33000" y="0"/>
                  </a:cubicBezTo>
                  <a:lnTo>
                    <a:pt x="40897" y="0"/>
                  </a:lnTo>
                  <a:cubicBezTo>
                    <a:pt x="40615" y="4522"/>
                    <a:pt x="39205" y="8196"/>
                    <a:pt x="36667" y="11305"/>
                  </a:cubicBezTo>
                  <a:cubicBezTo>
                    <a:pt x="34128" y="14132"/>
                    <a:pt x="29897" y="15545"/>
                    <a:pt x="24256" y="15545"/>
                  </a:cubicBezTo>
                  <a:moveTo>
                    <a:pt x="10154" y="79138"/>
                  </a:moveTo>
                  <a:lnTo>
                    <a:pt x="0" y="79138"/>
                  </a:lnTo>
                  <a:lnTo>
                    <a:pt x="0" y="21763"/>
                  </a:lnTo>
                  <a:lnTo>
                    <a:pt x="9308" y="21763"/>
                  </a:lnTo>
                  <a:lnTo>
                    <a:pt x="9308" y="66702"/>
                  </a:lnTo>
                  <a:lnTo>
                    <a:pt x="37795" y="21763"/>
                  </a:lnTo>
                  <a:lnTo>
                    <a:pt x="48231" y="21763"/>
                  </a:lnTo>
                  <a:lnTo>
                    <a:pt x="48231" y="79138"/>
                  </a:lnTo>
                  <a:lnTo>
                    <a:pt x="38923" y="79138"/>
                  </a:lnTo>
                  <a:lnTo>
                    <a:pt x="38923" y="33916"/>
                  </a:lnTo>
                  <a:lnTo>
                    <a:pt x="10154" y="79138"/>
                  </a:lnTo>
                  <a:close/>
                </a:path>
              </a:pathLst>
            </a:custGeom>
            <a:solidFill>
              <a:srgbClr val="7F8183"/>
            </a:solidFill>
            <a:ln w="2790" cap="flat">
              <a:noFill/>
              <a:prstDash val="solid"/>
              <a:miter/>
            </a:ln>
          </p:spPr>
          <p:txBody>
            <a:bodyPr rtlCol="0" anchor="ctr"/>
            <a:lstStyle/>
            <a:p>
              <a:endParaRPr lang="x-none" sz="1905"/>
            </a:p>
          </p:txBody>
        </p:sp>
        <p:sp>
          <p:nvSpPr>
            <p:cNvPr id="45" name="Freeform 44">
              <a:extLst>
                <a:ext uri="{FF2B5EF4-FFF2-40B4-BE49-F238E27FC236}">
                  <a16:creationId xmlns:a16="http://schemas.microsoft.com/office/drawing/2014/main" id="{D1C3A2D8-A269-6A47-A139-5A656E0B37D0}"/>
                </a:ext>
              </a:extLst>
            </p:cNvPr>
            <p:cNvSpPr/>
            <p:nvPr/>
          </p:nvSpPr>
          <p:spPr>
            <a:xfrm>
              <a:off x="1260952" y="5466493"/>
              <a:ext cx="483718" cy="255784"/>
            </a:xfrm>
            <a:custGeom>
              <a:avLst/>
              <a:gdLst>
                <a:gd name="connsiteX0" fmla="*/ 483718 w 483718"/>
                <a:gd name="connsiteY0" fmla="*/ 0 h 255784"/>
                <a:gd name="connsiteX1" fmla="*/ 0 w 483718"/>
                <a:gd name="connsiteY1" fmla="*/ 212541 h 255784"/>
                <a:gd name="connsiteX2" fmla="*/ 0 w 483718"/>
                <a:gd name="connsiteY2" fmla="*/ 255784 h 255784"/>
                <a:gd name="connsiteX3" fmla="*/ 483718 w 483718"/>
                <a:gd name="connsiteY3" fmla="*/ 43243 h 255784"/>
              </a:gdLst>
              <a:ahLst/>
              <a:cxnLst>
                <a:cxn ang="0">
                  <a:pos x="connsiteX0" y="connsiteY0"/>
                </a:cxn>
                <a:cxn ang="0">
                  <a:pos x="connsiteX1" y="connsiteY1"/>
                </a:cxn>
                <a:cxn ang="0">
                  <a:pos x="connsiteX2" y="connsiteY2"/>
                </a:cxn>
                <a:cxn ang="0">
                  <a:pos x="connsiteX3" y="connsiteY3"/>
                </a:cxn>
              </a:cxnLst>
              <a:rect l="l" t="t" r="r" b="b"/>
              <a:pathLst>
                <a:path w="483718" h="255784">
                  <a:moveTo>
                    <a:pt x="483718" y="0"/>
                  </a:moveTo>
                  <a:lnTo>
                    <a:pt x="0" y="212541"/>
                  </a:lnTo>
                  <a:lnTo>
                    <a:pt x="0" y="255784"/>
                  </a:lnTo>
                  <a:lnTo>
                    <a:pt x="483718" y="43243"/>
                  </a:lnTo>
                  <a:close/>
                </a:path>
              </a:pathLst>
            </a:custGeom>
            <a:solidFill>
              <a:srgbClr val="E22B26"/>
            </a:solidFill>
            <a:ln w="2790" cap="flat">
              <a:noFill/>
              <a:prstDash val="solid"/>
              <a:miter/>
            </a:ln>
          </p:spPr>
          <p:txBody>
            <a:bodyPr rtlCol="0" anchor="ctr"/>
            <a:lstStyle/>
            <a:p>
              <a:endParaRPr lang="x-none" sz="1905"/>
            </a:p>
          </p:txBody>
        </p:sp>
      </p:grpSp>
    </p:spTree>
    <p:extLst>
      <p:ext uri="{BB962C8B-B14F-4D97-AF65-F5344CB8AC3E}">
        <p14:creationId xmlns:p14="http://schemas.microsoft.com/office/powerpoint/2010/main" val="710117684"/>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19 Сопровождающий текст">
    <p:bg>
      <p:bgPr>
        <a:solidFill>
          <a:srgbClr val="FFFFFF"/>
        </a:solidFill>
        <a:effectLst/>
      </p:bgPr>
    </p:bg>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EB572FF-CA06-4849-8D94-3C3994A45B70}"/>
              </a:ext>
            </a:extLst>
          </p:cNvPr>
          <p:cNvSpPr>
            <a:spLocks noGrp="1"/>
          </p:cNvSpPr>
          <p:nvPr>
            <p:ph type="body" sz="quarter" idx="11" hasCustomPrompt="1"/>
          </p:nvPr>
        </p:nvSpPr>
        <p:spPr>
          <a:xfrm>
            <a:off x="381316" y="1278513"/>
            <a:ext cx="11429370" cy="1029869"/>
          </a:xfrm>
          <a:prstGeom prst="rect">
            <a:avLst/>
          </a:prstGeom>
        </p:spPr>
        <p:txBody>
          <a:bodyPr/>
          <a:lstStyle>
            <a:lvl1pPr marL="0" indent="0">
              <a:buFontTx/>
              <a:buNone/>
              <a:defRPr sz="2963"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Заголовок слайда</a:t>
            </a:r>
            <a:endParaRPr lang="x-none" dirty="0"/>
          </a:p>
        </p:txBody>
      </p:sp>
      <p:sp>
        <p:nvSpPr>
          <p:cNvPr id="8" name="Text Placeholder 8">
            <a:extLst>
              <a:ext uri="{FF2B5EF4-FFF2-40B4-BE49-F238E27FC236}">
                <a16:creationId xmlns:a16="http://schemas.microsoft.com/office/drawing/2014/main" id="{252C4B7C-9670-DF42-BC56-B170DECD75DC}"/>
              </a:ext>
            </a:extLst>
          </p:cNvPr>
          <p:cNvSpPr>
            <a:spLocks noGrp="1"/>
          </p:cNvSpPr>
          <p:nvPr>
            <p:ph type="body" sz="quarter" idx="27" hasCustomPrompt="1"/>
          </p:nvPr>
        </p:nvSpPr>
        <p:spPr>
          <a:xfrm>
            <a:off x="388590" y="2477728"/>
            <a:ext cx="11429370" cy="3842056"/>
          </a:xfrm>
          <a:prstGeom prst="rect">
            <a:avLst/>
          </a:prstGeom>
        </p:spPr>
        <p:txBody>
          <a:bodyPr/>
          <a:lstStyle>
            <a:lvl1pPr marL="0" indent="0">
              <a:buFontTx/>
              <a:buNone/>
              <a:defRPr sz="1376"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Текст слайда</a:t>
            </a:r>
            <a:endParaRPr lang="x-none" dirty="0"/>
          </a:p>
        </p:txBody>
      </p:sp>
      <p:cxnSp>
        <p:nvCxnSpPr>
          <p:cNvPr id="10" name="Straight Connector 9">
            <a:extLst>
              <a:ext uri="{FF2B5EF4-FFF2-40B4-BE49-F238E27FC236}">
                <a16:creationId xmlns:a16="http://schemas.microsoft.com/office/drawing/2014/main" id="{E508586F-874B-374D-83C3-AE2D248221F4}"/>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11" name="Text Placeholder 13">
            <a:extLst>
              <a:ext uri="{FF2B5EF4-FFF2-40B4-BE49-F238E27FC236}">
                <a16:creationId xmlns:a16="http://schemas.microsoft.com/office/drawing/2014/main" id="{598649D2-E782-5D48-8FCD-B39D7C72EF41}"/>
              </a:ext>
            </a:extLst>
          </p:cNvPr>
          <p:cNvSpPr>
            <a:spLocks noGrp="1"/>
          </p:cNvSpPr>
          <p:nvPr>
            <p:ph type="body" sz="quarter" idx="14" hasCustomPrompt="1"/>
          </p:nvPr>
        </p:nvSpPr>
        <p:spPr>
          <a:xfrm>
            <a:off x="295483"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Заголовок раздела</a:t>
            </a:r>
          </a:p>
        </p:txBody>
      </p:sp>
      <p:sp>
        <p:nvSpPr>
          <p:cNvPr id="13" name="Slide Number Placeholder 1">
            <a:extLst>
              <a:ext uri="{FF2B5EF4-FFF2-40B4-BE49-F238E27FC236}">
                <a16:creationId xmlns:a16="http://schemas.microsoft.com/office/drawing/2014/main" id="{9C321D37-B46B-774E-8AD4-106329636C69}"/>
              </a:ext>
            </a:extLst>
          </p:cNvPr>
          <p:cNvSpPr txBox="1">
            <a:spLocks/>
          </p:cNvSpPr>
          <p:nvPr userDrawn="1"/>
        </p:nvSpPr>
        <p:spPr>
          <a:xfrm>
            <a:off x="11108818" y="395811"/>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13">
            <a:extLst>
              <a:ext uri="{FF2B5EF4-FFF2-40B4-BE49-F238E27FC236}">
                <a16:creationId xmlns:a16="http://schemas.microsoft.com/office/drawing/2014/main" id="{875E4949-D1C2-3648-90A7-64A1873880BB}"/>
              </a:ext>
            </a:extLst>
          </p:cNvPr>
          <p:cNvSpPr>
            <a:spLocks noGrp="1"/>
          </p:cNvSpPr>
          <p:nvPr>
            <p:ph type="body" sz="quarter" idx="25" hasCustomPrompt="1"/>
          </p:nvPr>
        </p:nvSpPr>
        <p:spPr>
          <a:xfrm>
            <a:off x="10020017" y="6319800"/>
            <a:ext cx="1790667" cy="374160"/>
          </a:xfrm>
          <a:prstGeom prst="rect">
            <a:avLst/>
          </a:prstGeom>
        </p:spPr>
        <p:txBody>
          <a:bodyPr/>
          <a:lstStyle>
            <a:lvl1pPr marL="0" indent="0" algn="r">
              <a:buFontTx/>
              <a:buNone/>
              <a:defRPr sz="846"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Название презентации</a:t>
            </a:r>
            <a:endParaRPr lang="x-none" dirty="0"/>
          </a:p>
        </p:txBody>
      </p:sp>
    </p:spTree>
    <p:extLst>
      <p:ext uri="{BB962C8B-B14F-4D97-AF65-F5344CB8AC3E}">
        <p14:creationId xmlns:p14="http://schemas.microsoft.com/office/powerpoint/2010/main" val="1596834396"/>
      </p:ext>
    </p:extLst>
  </p:cSld>
  <p:clrMapOvr>
    <a:masterClrMapping/>
  </p:clrMapOvr>
  <p:transition>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1" y="2130425"/>
            <a:ext cx="10363200" cy="1470026"/>
          </a:xfrm>
        </p:spPr>
        <p:txBody>
          <a:bodyPr/>
          <a:lstStyle/>
          <a:p>
            <a:r>
              <a:rPr lang="ru-RU"/>
              <a:t>Образец заголовка</a:t>
            </a:r>
          </a:p>
        </p:txBody>
      </p:sp>
      <p:sp>
        <p:nvSpPr>
          <p:cNvPr id="3" name="Подзаголовок 2"/>
          <p:cNvSpPr>
            <a:spLocks noGrp="1"/>
          </p:cNvSpPr>
          <p:nvPr>
            <p:ph type="subTitle" idx="1"/>
          </p:nvPr>
        </p:nvSpPr>
        <p:spPr>
          <a:xfrm>
            <a:off x="1828800" y="3886200"/>
            <a:ext cx="8534401" cy="1752600"/>
          </a:xfrm>
        </p:spPr>
        <p:txBody>
          <a:bodyPr/>
          <a:lstStyle>
            <a:lvl1pPr marL="0" indent="0" algn="ctr">
              <a:buNone/>
              <a:defRPr>
                <a:solidFill>
                  <a:schemeClr val="tx1">
                    <a:tint val="75000"/>
                  </a:schemeClr>
                </a:solidFill>
              </a:defRPr>
            </a:lvl1pPr>
            <a:lvl2pPr marL="609542" indent="0" algn="ctr">
              <a:buNone/>
              <a:defRPr>
                <a:solidFill>
                  <a:schemeClr val="tx1">
                    <a:tint val="75000"/>
                  </a:schemeClr>
                </a:solidFill>
              </a:defRPr>
            </a:lvl2pPr>
            <a:lvl3pPr marL="1219084" indent="0" algn="ctr">
              <a:buNone/>
              <a:defRPr>
                <a:solidFill>
                  <a:schemeClr val="tx1">
                    <a:tint val="75000"/>
                  </a:schemeClr>
                </a:solidFill>
              </a:defRPr>
            </a:lvl3pPr>
            <a:lvl4pPr marL="1828625" indent="0" algn="ctr">
              <a:buNone/>
              <a:defRPr>
                <a:solidFill>
                  <a:schemeClr val="tx1">
                    <a:tint val="75000"/>
                  </a:schemeClr>
                </a:solidFill>
              </a:defRPr>
            </a:lvl4pPr>
            <a:lvl5pPr marL="2438167" indent="0" algn="ctr">
              <a:buNone/>
              <a:defRPr>
                <a:solidFill>
                  <a:schemeClr val="tx1">
                    <a:tint val="75000"/>
                  </a:schemeClr>
                </a:solidFill>
              </a:defRPr>
            </a:lvl5pPr>
            <a:lvl6pPr marL="3047709" indent="0" algn="ctr">
              <a:buNone/>
              <a:defRPr>
                <a:solidFill>
                  <a:schemeClr val="tx1">
                    <a:tint val="75000"/>
                  </a:schemeClr>
                </a:solidFill>
              </a:defRPr>
            </a:lvl6pPr>
            <a:lvl7pPr marL="3657251" indent="0" algn="ctr">
              <a:buNone/>
              <a:defRPr>
                <a:solidFill>
                  <a:schemeClr val="tx1">
                    <a:tint val="75000"/>
                  </a:schemeClr>
                </a:solidFill>
              </a:defRPr>
            </a:lvl7pPr>
            <a:lvl8pPr marL="4266792" indent="0" algn="ctr">
              <a:buNone/>
              <a:defRPr>
                <a:solidFill>
                  <a:schemeClr val="tx1">
                    <a:tint val="75000"/>
                  </a:schemeClr>
                </a:solidFill>
              </a:defRPr>
            </a:lvl8pPr>
            <a:lvl9pPr marL="4876334" indent="0" algn="ctr">
              <a:buNone/>
              <a:defRPr>
                <a:solidFill>
                  <a:schemeClr val="tx1">
                    <a:tint val="75000"/>
                  </a:schemeClr>
                </a:solidFill>
              </a:defRPr>
            </a:lvl9pPr>
          </a:lstStyle>
          <a:p>
            <a:r>
              <a:rPr lang="ru-RU"/>
              <a:t>Образец подзаголовка</a:t>
            </a:r>
          </a:p>
        </p:txBody>
      </p:sp>
      <p:sp>
        <p:nvSpPr>
          <p:cNvPr id="4" name="Дата 3"/>
          <p:cNvSpPr>
            <a:spLocks noGrp="1"/>
          </p:cNvSpPr>
          <p:nvPr>
            <p:ph type="dt" sz="half" idx="10"/>
          </p:nvPr>
        </p:nvSpPr>
        <p:spPr/>
        <p:txBody>
          <a:bodyPr/>
          <a:lstStyle/>
          <a:p>
            <a:fld id="{5B106E36-FD25-4E2D-B0AA-010F637433A0}" type="datetimeFigureOut">
              <a:rPr lang="ru-RU" smtClean="0"/>
              <a:pPr/>
              <a:t>12.07.2022</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725C68B6-61C2-468F-89AB-4B9F7531AA68}" type="slidenum">
              <a:rPr lang="ru-RU" smtClean="0"/>
              <a:pPr/>
              <a:t>‹#›</a:t>
            </a:fld>
            <a:endParaRPr lang="ru-RU"/>
          </a:p>
        </p:txBody>
      </p:sp>
    </p:spTree>
    <p:extLst>
      <p:ext uri="{BB962C8B-B14F-4D97-AF65-F5344CB8AC3E}">
        <p14:creationId xmlns:p14="http://schemas.microsoft.com/office/powerpoint/2010/main" val="32135206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5B106E36-FD25-4E2D-B0AA-010F637433A0}" type="datetimeFigureOut">
              <a:rPr lang="ru-RU" smtClean="0"/>
              <a:pPr/>
              <a:t>12.07.2022</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725C68B6-61C2-468F-89AB-4B9F7531AA68}" type="slidenum">
              <a:rPr lang="ru-RU" smtClean="0"/>
              <a:pPr/>
              <a:t>‹#›</a:t>
            </a:fld>
            <a:endParaRPr lang="ru-RU"/>
          </a:p>
        </p:txBody>
      </p:sp>
    </p:spTree>
    <p:extLst>
      <p:ext uri="{BB962C8B-B14F-4D97-AF65-F5344CB8AC3E}">
        <p14:creationId xmlns:p14="http://schemas.microsoft.com/office/powerpoint/2010/main" val="33993443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2"/>
            <a:ext cx="10363200" cy="1362074"/>
          </a:xfrm>
        </p:spPr>
        <p:txBody>
          <a:bodyPr anchor="t"/>
          <a:lstStyle>
            <a:lvl1pPr algn="l">
              <a:defRPr sz="5291" b="1" cap="all"/>
            </a:lvl1pPr>
          </a:lstStyle>
          <a:p>
            <a:r>
              <a:rPr lang="ru-RU"/>
              <a:t>Образец заголовка</a:t>
            </a:r>
          </a:p>
        </p:txBody>
      </p:sp>
      <p:sp>
        <p:nvSpPr>
          <p:cNvPr id="3" name="Текст 2"/>
          <p:cNvSpPr>
            <a:spLocks noGrp="1"/>
          </p:cNvSpPr>
          <p:nvPr>
            <p:ph type="body" idx="1"/>
          </p:nvPr>
        </p:nvSpPr>
        <p:spPr>
          <a:xfrm>
            <a:off x="963084" y="2906714"/>
            <a:ext cx="10363200" cy="1500186"/>
          </a:xfrm>
        </p:spPr>
        <p:txBody>
          <a:bodyPr anchor="b"/>
          <a:lstStyle>
            <a:lvl1pPr marL="0" indent="0">
              <a:buNone/>
              <a:defRPr sz="2645">
                <a:solidFill>
                  <a:schemeClr val="tx1">
                    <a:tint val="75000"/>
                  </a:schemeClr>
                </a:solidFill>
              </a:defRPr>
            </a:lvl1pPr>
            <a:lvl2pPr marL="609542" indent="0">
              <a:buNone/>
              <a:defRPr sz="2434">
                <a:solidFill>
                  <a:schemeClr val="tx1">
                    <a:tint val="75000"/>
                  </a:schemeClr>
                </a:solidFill>
              </a:defRPr>
            </a:lvl2pPr>
            <a:lvl3pPr marL="1219084" indent="0">
              <a:buNone/>
              <a:defRPr sz="2116">
                <a:solidFill>
                  <a:schemeClr val="tx1">
                    <a:tint val="75000"/>
                  </a:schemeClr>
                </a:solidFill>
              </a:defRPr>
            </a:lvl3pPr>
            <a:lvl4pPr marL="1828625" indent="0">
              <a:buNone/>
              <a:defRPr sz="1905">
                <a:solidFill>
                  <a:schemeClr val="tx1">
                    <a:tint val="75000"/>
                  </a:schemeClr>
                </a:solidFill>
              </a:defRPr>
            </a:lvl4pPr>
            <a:lvl5pPr marL="2438167" indent="0">
              <a:buNone/>
              <a:defRPr sz="1905">
                <a:solidFill>
                  <a:schemeClr val="tx1">
                    <a:tint val="75000"/>
                  </a:schemeClr>
                </a:solidFill>
              </a:defRPr>
            </a:lvl5pPr>
            <a:lvl6pPr marL="3047709" indent="0">
              <a:buNone/>
              <a:defRPr sz="1905">
                <a:solidFill>
                  <a:schemeClr val="tx1">
                    <a:tint val="75000"/>
                  </a:schemeClr>
                </a:solidFill>
              </a:defRPr>
            </a:lvl6pPr>
            <a:lvl7pPr marL="3657251" indent="0">
              <a:buNone/>
              <a:defRPr sz="1905">
                <a:solidFill>
                  <a:schemeClr val="tx1">
                    <a:tint val="75000"/>
                  </a:schemeClr>
                </a:solidFill>
              </a:defRPr>
            </a:lvl7pPr>
            <a:lvl8pPr marL="4266792" indent="0">
              <a:buNone/>
              <a:defRPr sz="1905">
                <a:solidFill>
                  <a:schemeClr val="tx1">
                    <a:tint val="75000"/>
                  </a:schemeClr>
                </a:solidFill>
              </a:defRPr>
            </a:lvl8pPr>
            <a:lvl9pPr marL="4876334" indent="0">
              <a:buNone/>
              <a:defRPr sz="1905">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fld id="{5B106E36-FD25-4E2D-B0AA-010F637433A0}" type="datetimeFigureOut">
              <a:rPr lang="ru-RU" smtClean="0"/>
              <a:pPr/>
              <a:t>12.07.2022</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725C68B6-61C2-468F-89AB-4B9F7531AA68}" type="slidenum">
              <a:rPr lang="ru-RU" smtClean="0"/>
              <a:pPr/>
              <a:t>‹#›</a:t>
            </a:fld>
            <a:endParaRPr lang="ru-RU"/>
          </a:p>
        </p:txBody>
      </p:sp>
    </p:spTree>
    <p:extLst>
      <p:ext uri="{BB962C8B-B14F-4D97-AF65-F5344CB8AC3E}">
        <p14:creationId xmlns:p14="http://schemas.microsoft.com/office/powerpoint/2010/main" val="6494559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sz="half" idx="1"/>
          </p:nvPr>
        </p:nvSpPr>
        <p:spPr>
          <a:xfrm>
            <a:off x="609600" y="1600201"/>
            <a:ext cx="5384800" cy="4525963"/>
          </a:xfrm>
        </p:spPr>
        <p:txBody>
          <a:bodyPr/>
          <a:lstStyle>
            <a:lvl1pPr>
              <a:defRPr sz="3703"/>
            </a:lvl1pPr>
            <a:lvl2pPr>
              <a:defRPr sz="3174"/>
            </a:lvl2pPr>
            <a:lvl3pPr>
              <a:defRPr sz="2645"/>
            </a:lvl3pPr>
            <a:lvl4pPr>
              <a:defRPr sz="2434"/>
            </a:lvl4pPr>
            <a:lvl5pPr>
              <a:defRPr sz="2434"/>
            </a:lvl5pPr>
            <a:lvl6pPr>
              <a:defRPr sz="2434"/>
            </a:lvl6pPr>
            <a:lvl7pPr>
              <a:defRPr sz="2434"/>
            </a:lvl7pPr>
            <a:lvl8pPr>
              <a:defRPr sz="2434"/>
            </a:lvl8pPr>
            <a:lvl9pPr>
              <a:defRPr sz="2434"/>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6197600" y="1600201"/>
            <a:ext cx="5384800" cy="4525963"/>
          </a:xfrm>
        </p:spPr>
        <p:txBody>
          <a:bodyPr/>
          <a:lstStyle>
            <a:lvl1pPr>
              <a:defRPr sz="3703"/>
            </a:lvl1pPr>
            <a:lvl2pPr>
              <a:defRPr sz="3174"/>
            </a:lvl2pPr>
            <a:lvl3pPr>
              <a:defRPr sz="2645"/>
            </a:lvl3pPr>
            <a:lvl4pPr>
              <a:defRPr sz="2434"/>
            </a:lvl4pPr>
            <a:lvl5pPr>
              <a:defRPr sz="2434"/>
            </a:lvl5pPr>
            <a:lvl6pPr>
              <a:defRPr sz="2434"/>
            </a:lvl6pPr>
            <a:lvl7pPr>
              <a:defRPr sz="2434"/>
            </a:lvl7pPr>
            <a:lvl8pPr>
              <a:defRPr sz="2434"/>
            </a:lvl8pPr>
            <a:lvl9pPr>
              <a:defRPr sz="2434"/>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5B106E36-FD25-4E2D-B0AA-010F637433A0}" type="datetimeFigureOut">
              <a:rPr lang="ru-RU" smtClean="0"/>
              <a:pPr/>
              <a:t>12.07.2022</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725C68B6-61C2-468F-89AB-4B9F7531AA68}" type="slidenum">
              <a:rPr lang="ru-RU" smtClean="0"/>
              <a:pPr/>
              <a:t>‹#›</a:t>
            </a:fld>
            <a:endParaRPr lang="ru-RU"/>
          </a:p>
        </p:txBody>
      </p:sp>
    </p:spTree>
    <p:extLst>
      <p:ext uri="{BB962C8B-B14F-4D97-AF65-F5344CB8AC3E}">
        <p14:creationId xmlns:p14="http://schemas.microsoft.com/office/powerpoint/2010/main" val="23631498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a:t>Образец заголовка</a:t>
            </a:r>
          </a:p>
        </p:txBody>
      </p:sp>
      <p:sp>
        <p:nvSpPr>
          <p:cNvPr id="3" name="Текст 2"/>
          <p:cNvSpPr>
            <a:spLocks noGrp="1"/>
          </p:cNvSpPr>
          <p:nvPr>
            <p:ph type="body" idx="1"/>
          </p:nvPr>
        </p:nvSpPr>
        <p:spPr>
          <a:xfrm>
            <a:off x="609601" y="1535113"/>
            <a:ext cx="5386917" cy="639762"/>
          </a:xfrm>
        </p:spPr>
        <p:txBody>
          <a:bodyPr anchor="b"/>
          <a:lstStyle>
            <a:lvl1pPr marL="0" indent="0">
              <a:buNone/>
              <a:defRPr sz="3174" b="1"/>
            </a:lvl1pPr>
            <a:lvl2pPr marL="609542" indent="0">
              <a:buNone/>
              <a:defRPr sz="2645" b="1"/>
            </a:lvl2pPr>
            <a:lvl3pPr marL="1219084" indent="0">
              <a:buNone/>
              <a:defRPr sz="2434" b="1"/>
            </a:lvl3pPr>
            <a:lvl4pPr marL="1828625" indent="0">
              <a:buNone/>
              <a:defRPr sz="2116" b="1"/>
            </a:lvl4pPr>
            <a:lvl5pPr marL="2438167" indent="0">
              <a:buNone/>
              <a:defRPr sz="2116" b="1"/>
            </a:lvl5pPr>
            <a:lvl6pPr marL="3047709" indent="0">
              <a:buNone/>
              <a:defRPr sz="2116" b="1"/>
            </a:lvl6pPr>
            <a:lvl7pPr marL="3657251" indent="0">
              <a:buNone/>
              <a:defRPr sz="2116" b="1"/>
            </a:lvl7pPr>
            <a:lvl8pPr marL="4266792" indent="0">
              <a:buNone/>
              <a:defRPr sz="2116" b="1"/>
            </a:lvl8pPr>
            <a:lvl9pPr marL="4876334" indent="0">
              <a:buNone/>
              <a:defRPr sz="2116" b="1"/>
            </a:lvl9pPr>
          </a:lstStyle>
          <a:p>
            <a:pPr lvl="0"/>
            <a:r>
              <a:rPr lang="ru-RU"/>
              <a:t>Образец текста</a:t>
            </a:r>
          </a:p>
        </p:txBody>
      </p:sp>
      <p:sp>
        <p:nvSpPr>
          <p:cNvPr id="4" name="Содержимое 3"/>
          <p:cNvSpPr>
            <a:spLocks noGrp="1"/>
          </p:cNvSpPr>
          <p:nvPr>
            <p:ph sz="half" idx="2"/>
          </p:nvPr>
        </p:nvSpPr>
        <p:spPr>
          <a:xfrm>
            <a:off x="609601" y="2174875"/>
            <a:ext cx="5386917" cy="3951288"/>
          </a:xfrm>
        </p:spPr>
        <p:txBody>
          <a:bodyPr/>
          <a:lstStyle>
            <a:lvl1pPr>
              <a:defRPr sz="3174"/>
            </a:lvl1pPr>
            <a:lvl2pPr>
              <a:defRPr sz="2645"/>
            </a:lvl2pPr>
            <a:lvl3pPr>
              <a:defRPr sz="2434"/>
            </a:lvl3pPr>
            <a:lvl4pPr>
              <a:defRPr sz="2116"/>
            </a:lvl4pPr>
            <a:lvl5pPr>
              <a:defRPr sz="2116"/>
            </a:lvl5pPr>
            <a:lvl6pPr>
              <a:defRPr sz="2116"/>
            </a:lvl6pPr>
            <a:lvl7pPr>
              <a:defRPr sz="2116"/>
            </a:lvl7pPr>
            <a:lvl8pPr>
              <a:defRPr sz="2116"/>
            </a:lvl8pPr>
            <a:lvl9pPr>
              <a:defRPr sz="2116"/>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6193369" y="1535113"/>
            <a:ext cx="5389033" cy="639762"/>
          </a:xfrm>
        </p:spPr>
        <p:txBody>
          <a:bodyPr anchor="b"/>
          <a:lstStyle>
            <a:lvl1pPr marL="0" indent="0">
              <a:buNone/>
              <a:defRPr sz="3174" b="1"/>
            </a:lvl1pPr>
            <a:lvl2pPr marL="609542" indent="0">
              <a:buNone/>
              <a:defRPr sz="2645" b="1"/>
            </a:lvl2pPr>
            <a:lvl3pPr marL="1219084" indent="0">
              <a:buNone/>
              <a:defRPr sz="2434" b="1"/>
            </a:lvl3pPr>
            <a:lvl4pPr marL="1828625" indent="0">
              <a:buNone/>
              <a:defRPr sz="2116" b="1"/>
            </a:lvl4pPr>
            <a:lvl5pPr marL="2438167" indent="0">
              <a:buNone/>
              <a:defRPr sz="2116" b="1"/>
            </a:lvl5pPr>
            <a:lvl6pPr marL="3047709" indent="0">
              <a:buNone/>
              <a:defRPr sz="2116" b="1"/>
            </a:lvl6pPr>
            <a:lvl7pPr marL="3657251" indent="0">
              <a:buNone/>
              <a:defRPr sz="2116" b="1"/>
            </a:lvl7pPr>
            <a:lvl8pPr marL="4266792" indent="0">
              <a:buNone/>
              <a:defRPr sz="2116" b="1"/>
            </a:lvl8pPr>
            <a:lvl9pPr marL="4876334" indent="0">
              <a:buNone/>
              <a:defRPr sz="2116" b="1"/>
            </a:lvl9pPr>
          </a:lstStyle>
          <a:p>
            <a:pPr lvl="0"/>
            <a:r>
              <a:rPr lang="ru-RU"/>
              <a:t>Образец текста</a:t>
            </a:r>
          </a:p>
        </p:txBody>
      </p:sp>
      <p:sp>
        <p:nvSpPr>
          <p:cNvPr id="6" name="Содержимое 5"/>
          <p:cNvSpPr>
            <a:spLocks noGrp="1"/>
          </p:cNvSpPr>
          <p:nvPr>
            <p:ph sz="quarter" idx="4"/>
          </p:nvPr>
        </p:nvSpPr>
        <p:spPr>
          <a:xfrm>
            <a:off x="6193369" y="2174875"/>
            <a:ext cx="5389033" cy="3951288"/>
          </a:xfrm>
        </p:spPr>
        <p:txBody>
          <a:bodyPr/>
          <a:lstStyle>
            <a:lvl1pPr>
              <a:defRPr sz="3174"/>
            </a:lvl1pPr>
            <a:lvl2pPr>
              <a:defRPr sz="2645"/>
            </a:lvl2pPr>
            <a:lvl3pPr>
              <a:defRPr sz="2434"/>
            </a:lvl3pPr>
            <a:lvl4pPr>
              <a:defRPr sz="2116"/>
            </a:lvl4pPr>
            <a:lvl5pPr>
              <a:defRPr sz="2116"/>
            </a:lvl5pPr>
            <a:lvl6pPr>
              <a:defRPr sz="2116"/>
            </a:lvl6pPr>
            <a:lvl7pPr>
              <a:defRPr sz="2116"/>
            </a:lvl7pPr>
            <a:lvl8pPr>
              <a:defRPr sz="2116"/>
            </a:lvl8pPr>
            <a:lvl9pPr>
              <a:defRPr sz="2116"/>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fld id="{5B106E36-FD25-4E2D-B0AA-010F637433A0}" type="datetimeFigureOut">
              <a:rPr lang="ru-RU" smtClean="0"/>
              <a:pPr/>
              <a:t>12.07.2022</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725C68B6-61C2-468F-89AB-4B9F7531AA68}" type="slidenum">
              <a:rPr lang="ru-RU" smtClean="0"/>
              <a:pPr/>
              <a:t>‹#›</a:t>
            </a:fld>
            <a:endParaRPr lang="ru-RU"/>
          </a:p>
        </p:txBody>
      </p:sp>
    </p:spTree>
    <p:extLst>
      <p:ext uri="{BB962C8B-B14F-4D97-AF65-F5344CB8AC3E}">
        <p14:creationId xmlns:p14="http://schemas.microsoft.com/office/powerpoint/2010/main" val="18692545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5B106E36-FD25-4E2D-B0AA-010F637433A0}" type="datetimeFigureOut">
              <a:rPr lang="ru-RU" smtClean="0"/>
              <a:pPr/>
              <a:t>12.07.2022</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725C68B6-61C2-468F-89AB-4B9F7531AA68}" type="slidenum">
              <a:rPr lang="ru-RU" smtClean="0"/>
              <a:pPr/>
              <a:t>‹#›</a:t>
            </a:fld>
            <a:endParaRPr lang="ru-RU"/>
          </a:p>
        </p:txBody>
      </p:sp>
    </p:spTree>
    <p:extLst>
      <p:ext uri="{BB962C8B-B14F-4D97-AF65-F5344CB8AC3E}">
        <p14:creationId xmlns:p14="http://schemas.microsoft.com/office/powerpoint/2010/main" val="26691857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5B106E36-FD25-4E2D-B0AA-010F637433A0}" type="datetimeFigureOut">
              <a:rPr lang="ru-RU" smtClean="0"/>
              <a:pPr/>
              <a:t>12.07.2022</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725C68B6-61C2-468F-89AB-4B9F7531AA68}" type="slidenum">
              <a:rPr lang="ru-RU" smtClean="0"/>
              <a:pPr/>
              <a:t>‹#›</a:t>
            </a:fld>
            <a:endParaRPr lang="ru-RU"/>
          </a:p>
        </p:txBody>
      </p:sp>
    </p:spTree>
    <p:extLst>
      <p:ext uri="{BB962C8B-B14F-4D97-AF65-F5344CB8AC3E}">
        <p14:creationId xmlns:p14="http://schemas.microsoft.com/office/powerpoint/2010/main" val="16833837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3" y="273049"/>
            <a:ext cx="4011084" cy="1162050"/>
          </a:xfrm>
        </p:spPr>
        <p:txBody>
          <a:bodyPr anchor="b"/>
          <a:lstStyle>
            <a:lvl1pPr algn="l">
              <a:defRPr sz="2645" b="1"/>
            </a:lvl1pPr>
          </a:lstStyle>
          <a:p>
            <a:r>
              <a:rPr lang="ru-RU"/>
              <a:t>Образец заголовка</a:t>
            </a:r>
          </a:p>
        </p:txBody>
      </p:sp>
      <p:sp>
        <p:nvSpPr>
          <p:cNvPr id="3" name="Содержимое 2"/>
          <p:cNvSpPr>
            <a:spLocks noGrp="1"/>
          </p:cNvSpPr>
          <p:nvPr>
            <p:ph idx="1"/>
          </p:nvPr>
        </p:nvSpPr>
        <p:spPr>
          <a:xfrm>
            <a:off x="4766733" y="273051"/>
            <a:ext cx="6815667" cy="5853113"/>
          </a:xfrm>
        </p:spPr>
        <p:txBody>
          <a:bodyPr/>
          <a:lstStyle>
            <a:lvl1pPr>
              <a:defRPr sz="4232"/>
            </a:lvl1pPr>
            <a:lvl2pPr>
              <a:defRPr sz="3703"/>
            </a:lvl2pPr>
            <a:lvl3pPr>
              <a:defRPr sz="3174"/>
            </a:lvl3pPr>
            <a:lvl4pPr>
              <a:defRPr sz="2645"/>
            </a:lvl4pPr>
            <a:lvl5pPr>
              <a:defRPr sz="2645"/>
            </a:lvl5pPr>
            <a:lvl6pPr>
              <a:defRPr sz="2645"/>
            </a:lvl6pPr>
            <a:lvl7pPr>
              <a:defRPr sz="2645"/>
            </a:lvl7pPr>
            <a:lvl8pPr>
              <a:defRPr sz="2645"/>
            </a:lvl8pPr>
            <a:lvl9pPr>
              <a:defRPr sz="2645"/>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609603" y="1435101"/>
            <a:ext cx="4011084" cy="4691063"/>
          </a:xfrm>
        </p:spPr>
        <p:txBody>
          <a:bodyPr/>
          <a:lstStyle>
            <a:lvl1pPr marL="0" indent="0">
              <a:buNone/>
              <a:defRPr sz="1905"/>
            </a:lvl1pPr>
            <a:lvl2pPr marL="609542" indent="0">
              <a:buNone/>
              <a:defRPr sz="1587"/>
            </a:lvl2pPr>
            <a:lvl3pPr marL="1219084" indent="0">
              <a:buNone/>
              <a:defRPr sz="1376"/>
            </a:lvl3pPr>
            <a:lvl4pPr marL="1828625" indent="0">
              <a:buNone/>
              <a:defRPr sz="1164"/>
            </a:lvl4pPr>
            <a:lvl5pPr marL="2438167" indent="0">
              <a:buNone/>
              <a:defRPr sz="1164"/>
            </a:lvl5pPr>
            <a:lvl6pPr marL="3047709" indent="0">
              <a:buNone/>
              <a:defRPr sz="1164"/>
            </a:lvl6pPr>
            <a:lvl7pPr marL="3657251" indent="0">
              <a:buNone/>
              <a:defRPr sz="1164"/>
            </a:lvl7pPr>
            <a:lvl8pPr marL="4266792" indent="0">
              <a:buNone/>
              <a:defRPr sz="1164"/>
            </a:lvl8pPr>
            <a:lvl9pPr marL="4876334" indent="0">
              <a:buNone/>
              <a:defRPr sz="1164"/>
            </a:lvl9pPr>
          </a:lstStyle>
          <a:p>
            <a:pPr lvl="0"/>
            <a:r>
              <a:rPr lang="ru-RU"/>
              <a:t>Образец текста</a:t>
            </a:r>
          </a:p>
        </p:txBody>
      </p:sp>
      <p:sp>
        <p:nvSpPr>
          <p:cNvPr id="5" name="Дата 4"/>
          <p:cNvSpPr>
            <a:spLocks noGrp="1"/>
          </p:cNvSpPr>
          <p:nvPr>
            <p:ph type="dt" sz="half" idx="10"/>
          </p:nvPr>
        </p:nvSpPr>
        <p:spPr/>
        <p:txBody>
          <a:bodyPr/>
          <a:lstStyle/>
          <a:p>
            <a:fld id="{5B106E36-FD25-4E2D-B0AA-010F637433A0}" type="datetimeFigureOut">
              <a:rPr lang="ru-RU" smtClean="0"/>
              <a:pPr/>
              <a:t>12.07.2022</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725C68B6-61C2-468F-89AB-4B9F7531AA68}" type="slidenum">
              <a:rPr lang="ru-RU" smtClean="0"/>
              <a:pPr/>
              <a:t>‹#›</a:t>
            </a:fld>
            <a:endParaRPr lang="ru-RU"/>
          </a:p>
        </p:txBody>
      </p:sp>
    </p:spTree>
    <p:extLst>
      <p:ext uri="{BB962C8B-B14F-4D97-AF65-F5344CB8AC3E}">
        <p14:creationId xmlns:p14="http://schemas.microsoft.com/office/powerpoint/2010/main" val="16664022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9"/>
          </a:xfrm>
        </p:spPr>
        <p:txBody>
          <a:bodyPr anchor="b"/>
          <a:lstStyle>
            <a:lvl1pPr algn="l">
              <a:defRPr sz="2645" b="1"/>
            </a:lvl1pPr>
          </a:lstStyle>
          <a:p>
            <a:r>
              <a:rPr lang="ru-RU"/>
              <a:t>Образец заголовка</a:t>
            </a:r>
          </a:p>
        </p:txBody>
      </p:sp>
      <p:sp>
        <p:nvSpPr>
          <p:cNvPr id="3" name="Рисунок 2"/>
          <p:cNvSpPr>
            <a:spLocks noGrp="1"/>
          </p:cNvSpPr>
          <p:nvPr>
            <p:ph type="pic" idx="1"/>
          </p:nvPr>
        </p:nvSpPr>
        <p:spPr>
          <a:xfrm>
            <a:off x="2389717" y="612775"/>
            <a:ext cx="7315200" cy="4114800"/>
          </a:xfrm>
        </p:spPr>
        <p:txBody>
          <a:bodyPr/>
          <a:lstStyle>
            <a:lvl1pPr marL="0" indent="0">
              <a:buNone/>
              <a:defRPr sz="4232"/>
            </a:lvl1pPr>
            <a:lvl2pPr marL="609542" indent="0">
              <a:buNone/>
              <a:defRPr sz="3703"/>
            </a:lvl2pPr>
            <a:lvl3pPr marL="1219084" indent="0">
              <a:buNone/>
              <a:defRPr sz="3174"/>
            </a:lvl3pPr>
            <a:lvl4pPr marL="1828625" indent="0">
              <a:buNone/>
              <a:defRPr sz="2645"/>
            </a:lvl4pPr>
            <a:lvl5pPr marL="2438167" indent="0">
              <a:buNone/>
              <a:defRPr sz="2645"/>
            </a:lvl5pPr>
            <a:lvl6pPr marL="3047709" indent="0">
              <a:buNone/>
              <a:defRPr sz="2645"/>
            </a:lvl6pPr>
            <a:lvl7pPr marL="3657251" indent="0">
              <a:buNone/>
              <a:defRPr sz="2645"/>
            </a:lvl7pPr>
            <a:lvl8pPr marL="4266792" indent="0">
              <a:buNone/>
              <a:defRPr sz="2645"/>
            </a:lvl8pPr>
            <a:lvl9pPr marL="4876334" indent="0">
              <a:buNone/>
              <a:defRPr sz="2645"/>
            </a:lvl9pPr>
          </a:lstStyle>
          <a:p>
            <a:endParaRPr lang="ru-RU"/>
          </a:p>
        </p:txBody>
      </p:sp>
      <p:sp>
        <p:nvSpPr>
          <p:cNvPr id="4" name="Текст 3"/>
          <p:cNvSpPr>
            <a:spLocks noGrp="1"/>
          </p:cNvSpPr>
          <p:nvPr>
            <p:ph type="body" sz="half" idx="2"/>
          </p:nvPr>
        </p:nvSpPr>
        <p:spPr>
          <a:xfrm>
            <a:off x="2389717" y="5367338"/>
            <a:ext cx="7315200" cy="804863"/>
          </a:xfrm>
        </p:spPr>
        <p:txBody>
          <a:bodyPr/>
          <a:lstStyle>
            <a:lvl1pPr marL="0" indent="0">
              <a:buNone/>
              <a:defRPr sz="1905"/>
            </a:lvl1pPr>
            <a:lvl2pPr marL="609542" indent="0">
              <a:buNone/>
              <a:defRPr sz="1587"/>
            </a:lvl2pPr>
            <a:lvl3pPr marL="1219084" indent="0">
              <a:buNone/>
              <a:defRPr sz="1376"/>
            </a:lvl3pPr>
            <a:lvl4pPr marL="1828625" indent="0">
              <a:buNone/>
              <a:defRPr sz="1164"/>
            </a:lvl4pPr>
            <a:lvl5pPr marL="2438167" indent="0">
              <a:buNone/>
              <a:defRPr sz="1164"/>
            </a:lvl5pPr>
            <a:lvl6pPr marL="3047709" indent="0">
              <a:buNone/>
              <a:defRPr sz="1164"/>
            </a:lvl6pPr>
            <a:lvl7pPr marL="3657251" indent="0">
              <a:buNone/>
              <a:defRPr sz="1164"/>
            </a:lvl7pPr>
            <a:lvl8pPr marL="4266792" indent="0">
              <a:buNone/>
              <a:defRPr sz="1164"/>
            </a:lvl8pPr>
            <a:lvl9pPr marL="4876334" indent="0">
              <a:buNone/>
              <a:defRPr sz="1164"/>
            </a:lvl9pPr>
          </a:lstStyle>
          <a:p>
            <a:pPr lvl="0"/>
            <a:r>
              <a:rPr lang="ru-RU"/>
              <a:t>Образец текста</a:t>
            </a:r>
          </a:p>
        </p:txBody>
      </p:sp>
      <p:sp>
        <p:nvSpPr>
          <p:cNvPr id="5" name="Дата 4"/>
          <p:cNvSpPr>
            <a:spLocks noGrp="1"/>
          </p:cNvSpPr>
          <p:nvPr>
            <p:ph type="dt" sz="half" idx="10"/>
          </p:nvPr>
        </p:nvSpPr>
        <p:spPr/>
        <p:txBody>
          <a:bodyPr/>
          <a:lstStyle/>
          <a:p>
            <a:fld id="{5B106E36-FD25-4E2D-B0AA-010F637433A0}" type="datetimeFigureOut">
              <a:rPr lang="ru-RU" smtClean="0"/>
              <a:pPr/>
              <a:t>12.07.2022</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725C68B6-61C2-468F-89AB-4B9F7531AA68}" type="slidenum">
              <a:rPr lang="ru-RU" smtClean="0"/>
              <a:pPr/>
              <a:t>‹#›</a:t>
            </a:fld>
            <a:endParaRPr lang="ru-RU"/>
          </a:p>
        </p:txBody>
      </p:sp>
    </p:spTree>
    <p:extLst>
      <p:ext uri="{BB962C8B-B14F-4D97-AF65-F5344CB8AC3E}">
        <p14:creationId xmlns:p14="http://schemas.microsoft.com/office/powerpoint/2010/main" val="16256640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FFFFFF"/>
        </a:solidFill>
        <a:effectLst/>
      </p:bgPr>
    </p:bg>
    <p:spTree>
      <p:nvGrpSpPr>
        <p:cNvPr id="1" name=""/>
        <p:cNvGrpSpPr/>
        <p:nvPr/>
      </p:nvGrpSpPr>
      <p:grpSpPr>
        <a:xfrm>
          <a:off x="0" y="0"/>
          <a:ext cx="0" cy="0"/>
          <a:chOff x="0" y="0"/>
          <a:chExt cx="0" cy="0"/>
        </a:xfrm>
      </p:grpSpPr>
      <p:sp>
        <p:nvSpPr>
          <p:cNvPr id="15" name="Text Placeholder 10">
            <a:extLst>
              <a:ext uri="{FF2B5EF4-FFF2-40B4-BE49-F238E27FC236}">
                <a16:creationId xmlns:a16="http://schemas.microsoft.com/office/drawing/2014/main" id="{E22FD203-2C1F-4E4C-9734-9F16B1997A4F}"/>
              </a:ext>
            </a:extLst>
          </p:cNvPr>
          <p:cNvSpPr>
            <a:spLocks noGrp="1"/>
          </p:cNvSpPr>
          <p:nvPr>
            <p:ph type="body" sz="quarter" idx="12" hasCustomPrompt="1"/>
          </p:nvPr>
        </p:nvSpPr>
        <p:spPr>
          <a:xfrm>
            <a:off x="3124431" y="4539714"/>
            <a:ext cx="7733807" cy="546241"/>
          </a:xfrm>
          <a:prstGeom prst="rect">
            <a:avLst/>
          </a:prstGeom>
        </p:spPr>
        <p:txBody>
          <a:bodyPr lIns="180000" rIns="864000" anchor="t"/>
          <a:lstStyle>
            <a:lvl1pPr marL="0" marR="0" indent="0" algn="l" defTabSz="967527" rtl="0" eaLnBrk="1" fontAlgn="auto" latinLnBrk="0" hangingPunct="1">
              <a:lnSpc>
                <a:spcPct val="100000"/>
              </a:lnSpc>
              <a:spcBef>
                <a:spcPct val="20000"/>
              </a:spcBef>
              <a:spcAft>
                <a:spcPts val="0"/>
              </a:spcAft>
              <a:buClrTx/>
              <a:buSzTx/>
              <a:buFontTx/>
              <a:buNone/>
              <a:tabLst/>
              <a:defRPr lang="en-GB" sz="1905" b="0" i="0" smtClean="0">
                <a:solidFill>
                  <a:srgbClr val="19212C"/>
                </a:solidFill>
                <a:effectLst/>
              </a:defRPr>
            </a:lvl1pPr>
          </a:lstStyle>
          <a:p>
            <a:pPr marL="0" marR="0" lvl="0" indent="0" algn="l" defTabSz="967527" rtl="0" eaLnBrk="1" fontAlgn="auto" latinLnBrk="0" hangingPunct="1">
              <a:lnSpc>
                <a:spcPct val="100000"/>
              </a:lnSpc>
              <a:spcBef>
                <a:spcPct val="20000"/>
              </a:spcBef>
              <a:spcAft>
                <a:spcPts val="0"/>
              </a:spcAft>
              <a:buClrTx/>
              <a:buSzTx/>
              <a:buFontTx/>
              <a:buNone/>
              <a:tabLst/>
              <a:defRPr/>
            </a:pPr>
            <a:r>
              <a:rPr lang="en-US" dirty="0"/>
              <a:t>Lorem ipsum dolor sit </a:t>
            </a:r>
            <a:r>
              <a:rPr lang="en-US" dirty="0" err="1"/>
              <a:t>amet</a:t>
            </a:r>
            <a:r>
              <a:rPr lang="ru-RU" dirty="0"/>
              <a:t>, </a:t>
            </a:r>
            <a:r>
              <a:rPr lang="en-GB" dirty="0" err="1"/>
              <a:t>consectetur</a:t>
            </a:r>
            <a:r>
              <a:rPr lang="en-GB" dirty="0"/>
              <a:t> </a:t>
            </a:r>
            <a:r>
              <a:rPr lang="en-GB" dirty="0" err="1"/>
              <a:t>adipiscing</a:t>
            </a:r>
            <a:r>
              <a:rPr lang="ru-RU" dirty="0"/>
              <a:t> </a:t>
            </a:r>
            <a:endParaRPr lang="x-none" dirty="0"/>
          </a:p>
        </p:txBody>
      </p:sp>
      <p:sp>
        <p:nvSpPr>
          <p:cNvPr id="17" name="Text Placeholder 10">
            <a:extLst>
              <a:ext uri="{FF2B5EF4-FFF2-40B4-BE49-F238E27FC236}">
                <a16:creationId xmlns:a16="http://schemas.microsoft.com/office/drawing/2014/main" id="{99DCB56B-BDDC-0847-BBF5-0FBB08D48C30}"/>
              </a:ext>
            </a:extLst>
          </p:cNvPr>
          <p:cNvSpPr>
            <a:spLocks noGrp="1"/>
          </p:cNvSpPr>
          <p:nvPr>
            <p:ph type="body" sz="quarter" idx="11" hasCustomPrompt="1"/>
          </p:nvPr>
        </p:nvSpPr>
        <p:spPr>
          <a:xfrm>
            <a:off x="3088055" y="5661530"/>
            <a:ext cx="3884802" cy="888610"/>
          </a:xfrm>
          <a:prstGeom prst="rect">
            <a:avLst/>
          </a:prstGeom>
        </p:spPr>
        <p:txBody>
          <a:bodyPr lIns="180000" rIns="864000" anchor="b"/>
          <a:lstStyle>
            <a:lvl1pPr marL="0" indent="0">
              <a:buFontTx/>
              <a:buNone/>
              <a:defRPr sz="1376"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Докладчик</a:t>
            </a:r>
            <a:br>
              <a:rPr lang="ru-RU" dirty="0"/>
            </a:br>
            <a:r>
              <a:rPr lang="ru-RU" dirty="0"/>
              <a:t>Фамилия Имя Отчество</a:t>
            </a:r>
            <a:endParaRPr lang="x-none" dirty="0"/>
          </a:p>
        </p:txBody>
      </p:sp>
      <p:sp>
        <p:nvSpPr>
          <p:cNvPr id="18" name="Text Placeholder 10">
            <a:extLst>
              <a:ext uri="{FF2B5EF4-FFF2-40B4-BE49-F238E27FC236}">
                <a16:creationId xmlns:a16="http://schemas.microsoft.com/office/drawing/2014/main" id="{F6500C01-2B19-2F42-91FE-7C84F669F253}"/>
              </a:ext>
            </a:extLst>
          </p:cNvPr>
          <p:cNvSpPr>
            <a:spLocks noGrp="1"/>
          </p:cNvSpPr>
          <p:nvPr>
            <p:ph type="body" sz="quarter" idx="10" hasCustomPrompt="1"/>
          </p:nvPr>
        </p:nvSpPr>
        <p:spPr>
          <a:xfrm>
            <a:off x="7975017" y="5661530"/>
            <a:ext cx="4837829" cy="888610"/>
          </a:xfrm>
          <a:prstGeom prst="rect">
            <a:avLst/>
          </a:prstGeom>
        </p:spPr>
        <p:txBody>
          <a:bodyPr lIns="180000" rIns="864000" anchor="b"/>
          <a:lstStyle>
            <a:lvl1pPr marL="0" indent="0">
              <a:buFontTx/>
              <a:buNone/>
              <a:defRPr sz="1376" b="0" i="0">
                <a:solidFill>
                  <a:srgbClr val="E41910"/>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Subtitle</a:t>
            </a:r>
            <a:endParaRPr lang="x-none" dirty="0"/>
          </a:p>
        </p:txBody>
      </p:sp>
      <p:sp>
        <p:nvSpPr>
          <p:cNvPr id="19" name="Title 1">
            <a:extLst>
              <a:ext uri="{FF2B5EF4-FFF2-40B4-BE49-F238E27FC236}">
                <a16:creationId xmlns:a16="http://schemas.microsoft.com/office/drawing/2014/main" id="{E86D0E17-017B-CF40-9CCB-7F9B1B25165C}"/>
              </a:ext>
            </a:extLst>
          </p:cNvPr>
          <p:cNvSpPr>
            <a:spLocks noGrp="1"/>
          </p:cNvSpPr>
          <p:nvPr>
            <p:ph type="ctrTitle" hasCustomPrompt="1"/>
          </p:nvPr>
        </p:nvSpPr>
        <p:spPr>
          <a:xfrm>
            <a:off x="3124430" y="1043288"/>
            <a:ext cx="8686255" cy="2476276"/>
          </a:xfrm>
          <a:prstGeom prst="rect">
            <a:avLst/>
          </a:prstGeom>
          <a:noFill/>
        </p:spPr>
        <p:txBody>
          <a:bodyPr lIns="180000" tIns="180000" rIns="864000" bIns="36000" anchor="b" anchorCtr="0">
            <a:noAutofit/>
          </a:bodyPr>
          <a:lstStyle>
            <a:lvl1pPr algn="l">
              <a:lnSpc>
                <a:spcPct val="100000"/>
              </a:lnSpc>
              <a:defRPr sz="4444" b="0" i="0" cap="none" spc="212" baseline="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Title slide header</a:t>
            </a:r>
            <a:r>
              <a:rPr lang="mr-IN" dirty="0"/>
              <a:t>…</a:t>
            </a:r>
            <a:r>
              <a:rPr lang="en-US" dirty="0"/>
              <a:t/>
            </a:r>
            <a:br>
              <a:rPr lang="en-US" dirty="0"/>
            </a:br>
            <a:r>
              <a:rPr lang="en-US" dirty="0"/>
              <a:t>Title slide header</a:t>
            </a:r>
            <a:r>
              <a:rPr lang="mr-IN" dirty="0"/>
              <a:t>…</a:t>
            </a:r>
            <a:r>
              <a:rPr lang="en-US" dirty="0"/>
              <a:t> </a:t>
            </a:r>
            <a:br>
              <a:rPr lang="en-US" dirty="0"/>
            </a:br>
            <a:r>
              <a:rPr lang="en-US" dirty="0"/>
              <a:t>Title slide header</a:t>
            </a:r>
            <a:r>
              <a:rPr lang="mr-IN" dirty="0"/>
              <a:t>…</a:t>
            </a:r>
            <a:endParaRPr lang="en-US" dirty="0"/>
          </a:p>
        </p:txBody>
      </p:sp>
      <p:grpSp>
        <p:nvGrpSpPr>
          <p:cNvPr id="8" name="Graphic 2">
            <a:extLst>
              <a:ext uri="{FF2B5EF4-FFF2-40B4-BE49-F238E27FC236}">
                <a16:creationId xmlns:a16="http://schemas.microsoft.com/office/drawing/2014/main" id="{9179D459-76A3-234B-BBDE-A62C80D7F483}"/>
              </a:ext>
            </a:extLst>
          </p:cNvPr>
          <p:cNvGrpSpPr/>
          <p:nvPr userDrawn="1"/>
        </p:nvGrpSpPr>
        <p:grpSpPr>
          <a:xfrm>
            <a:off x="381316" y="1430358"/>
            <a:ext cx="1793447" cy="1905660"/>
            <a:chOff x="4522787" y="1925637"/>
            <a:chExt cx="2472690" cy="2627001"/>
          </a:xfrm>
        </p:grpSpPr>
        <p:sp>
          <p:nvSpPr>
            <p:cNvPr id="9" name="Freeform 8">
              <a:extLst>
                <a:ext uri="{FF2B5EF4-FFF2-40B4-BE49-F238E27FC236}">
                  <a16:creationId xmlns:a16="http://schemas.microsoft.com/office/drawing/2014/main" id="{D245156D-F4D5-764B-B8BC-D8FB794705CF}"/>
                </a:ext>
              </a:extLst>
            </p:cNvPr>
            <p:cNvSpPr/>
            <p:nvPr/>
          </p:nvSpPr>
          <p:spPr>
            <a:xfrm>
              <a:off x="4522787" y="1925637"/>
              <a:ext cx="2472690" cy="1641876"/>
            </a:xfrm>
            <a:custGeom>
              <a:avLst/>
              <a:gdLst>
                <a:gd name="connsiteX0" fmla="*/ 700088 w 2472690"/>
                <a:gd name="connsiteY0" fmla="*/ 820938 h 1641876"/>
                <a:gd name="connsiteX1" fmla="*/ 1235393 w 2472690"/>
                <a:gd name="connsiteY1" fmla="*/ 287566 h 1641876"/>
                <a:gd name="connsiteX2" fmla="*/ 1497330 w 2472690"/>
                <a:gd name="connsiteY2" fmla="*/ 355898 h 1641876"/>
                <a:gd name="connsiteX3" fmla="*/ 1497330 w 2472690"/>
                <a:gd name="connsiteY3" fmla="*/ 0 h 1641876"/>
                <a:gd name="connsiteX4" fmla="*/ 0 w 2472690"/>
                <a:gd name="connsiteY4" fmla="*/ 647260 h 1641876"/>
                <a:gd name="connsiteX5" fmla="*/ 0 w 2472690"/>
                <a:gd name="connsiteY5" fmla="*/ 1641876 h 1641876"/>
                <a:gd name="connsiteX6" fmla="*/ 914400 w 2472690"/>
                <a:gd name="connsiteY6" fmla="*/ 1247067 h 1641876"/>
                <a:gd name="connsiteX7" fmla="*/ 700088 w 2472690"/>
                <a:gd name="connsiteY7" fmla="*/ 820938 h 1641876"/>
                <a:gd name="connsiteX8" fmla="*/ 1558290 w 2472690"/>
                <a:gd name="connsiteY8" fmla="*/ 394810 h 1641876"/>
                <a:gd name="connsiteX9" fmla="*/ 1771650 w 2472690"/>
                <a:gd name="connsiteY9" fmla="*/ 820938 h 1641876"/>
                <a:gd name="connsiteX10" fmla="*/ 1236345 w 2472690"/>
                <a:gd name="connsiteY10" fmla="*/ 1354311 h 1641876"/>
                <a:gd name="connsiteX11" fmla="*/ 974408 w 2472690"/>
                <a:gd name="connsiteY11" fmla="*/ 1285978 h 1641876"/>
                <a:gd name="connsiteX12" fmla="*/ 974408 w 2472690"/>
                <a:gd name="connsiteY12" fmla="*/ 1641876 h 1641876"/>
                <a:gd name="connsiteX13" fmla="*/ 2472690 w 2472690"/>
                <a:gd name="connsiteY13" fmla="*/ 994616 h 1641876"/>
                <a:gd name="connsiteX14" fmla="*/ 2472690 w 2472690"/>
                <a:gd name="connsiteY14" fmla="*/ 0 h 1641876"/>
                <a:gd name="connsiteX15" fmla="*/ 1558290 w 2472690"/>
                <a:gd name="connsiteY15" fmla="*/ 394810 h 164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72690" h="1641876">
                  <a:moveTo>
                    <a:pt x="700088" y="820938"/>
                  </a:moveTo>
                  <a:cubicBezTo>
                    <a:pt x="700088" y="525780"/>
                    <a:pt x="940118" y="287566"/>
                    <a:pt x="1235393" y="287566"/>
                  </a:cubicBezTo>
                  <a:cubicBezTo>
                    <a:pt x="1330643" y="287566"/>
                    <a:pt x="1420178" y="312241"/>
                    <a:pt x="1497330" y="355898"/>
                  </a:cubicBezTo>
                  <a:lnTo>
                    <a:pt x="1497330" y="0"/>
                  </a:lnTo>
                  <a:lnTo>
                    <a:pt x="0" y="647260"/>
                  </a:lnTo>
                  <a:lnTo>
                    <a:pt x="0" y="1641876"/>
                  </a:lnTo>
                  <a:lnTo>
                    <a:pt x="914400" y="1247067"/>
                  </a:lnTo>
                  <a:cubicBezTo>
                    <a:pt x="784860" y="1150262"/>
                    <a:pt x="700088" y="995565"/>
                    <a:pt x="700088" y="820938"/>
                  </a:cubicBezTo>
                  <a:close/>
                  <a:moveTo>
                    <a:pt x="1558290" y="394810"/>
                  </a:moveTo>
                  <a:cubicBezTo>
                    <a:pt x="1687830" y="491614"/>
                    <a:pt x="1771650" y="647260"/>
                    <a:pt x="1771650" y="820938"/>
                  </a:cubicBezTo>
                  <a:cubicBezTo>
                    <a:pt x="1771650" y="1116096"/>
                    <a:pt x="1531620" y="1354311"/>
                    <a:pt x="1236345" y="1354311"/>
                  </a:cubicBezTo>
                  <a:cubicBezTo>
                    <a:pt x="1141095" y="1354311"/>
                    <a:pt x="1051560" y="1329635"/>
                    <a:pt x="974408" y="1285978"/>
                  </a:cubicBezTo>
                  <a:lnTo>
                    <a:pt x="974408" y="1641876"/>
                  </a:lnTo>
                  <a:lnTo>
                    <a:pt x="2472690" y="994616"/>
                  </a:lnTo>
                  <a:lnTo>
                    <a:pt x="2472690" y="0"/>
                  </a:lnTo>
                  <a:lnTo>
                    <a:pt x="1558290" y="394810"/>
                  </a:lnTo>
                  <a:close/>
                </a:path>
              </a:pathLst>
            </a:custGeom>
            <a:solidFill>
              <a:srgbClr val="7F8183"/>
            </a:solidFill>
            <a:ln w="9525" cap="flat">
              <a:noFill/>
              <a:prstDash val="solid"/>
              <a:miter/>
            </a:ln>
          </p:spPr>
          <p:txBody>
            <a:bodyPr rtlCol="0" anchor="ctr"/>
            <a:lstStyle/>
            <a:p>
              <a:endParaRPr lang="x-none" sz="1905"/>
            </a:p>
          </p:txBody>
        </p:sp>
        <p:sp>
          <p:nvSpPr>
            <p:cNvPr id="10" name="Freeform 9">
              <a:extLst>
                <a:ext uri="{FF2B5EF4-FFF2-40B4-BE49-F238E27FC236}">
                  <a16:creationId xmlns:a16="http://schemas.microsoft.com/office/drawing/2014/main" id="{22759C32-66C4-F746-B268-4A60EC6F21C0}"/>
                </a:ext>
              </a:extLst>
            </p:cNvPr>
            <p:cNvSpPr/>
            <p:nvPr/>
          </p:nvSpPr>
          <p:spPr>
            <a:xfrm>
              <a:off x="5470524" y="2459009"/>
              <a:ext cx="577215" cy="575131"/>
            </a:xfrm>
            <a:custGeom>
              <a:avLst/>
              <a:gdLst>
                <a:gd name="connsiteX0" fmla="*/ 577215 w 577215"/>
                <a:gd name="connsiteY0" fmla="*/ 287566 h 575131"/>
                <a:gd name="connsiteX1" fmla="*/ 288608 w 577215"/>
                <a:gd name="connsiteY1" fmla="*/ 575131 h 575131"/>
                <a:gd name="connsiteX2" fmla="*/ 0 w 577215"/>
                <a:gd name="connsiteY2" fmla="*/ 287566 h 575131"/>
                <a:gd name="connsiteX3" fmla="*/ 288608 w 577215"/>
                <a:gd name="connsiteY3" fmla="*/ 0 h 575131"/>
                <a:gd name="connsiteX4" fmla="*/ 577215 w 577215"/>
                <a:gd name="connsiteY4" fmla="*/ 287566 h 57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15" h="575131">
                  <a:moveTo>
                    <a:pt x="577215" y="287566"/>
                  </a:moveTo>
                  <a:cubicBezTo>
                    <a:pt x="577215" y="446059"/>
                    <a:pt x="447675" y="575131"/>
                    <a:pt x="288608" y="575131"/>
                  </a:cubicBezTo>
                  <a:cubicBezTo>
                    <a:pt x="129540" y="575131"/>
                    <a:pt x="0" y="446059"/>
                    <a:pt x="0" y="287566"/>
                  </a:cubicBezTo>
                  <a:cubicBezTo>
                    <a:pt x="0" y="129072"/>
                    <a:pt x="129540" y="0"/>
                    <a:pt x="288608" y="0"/>
                  </a:cubicBezTo>
                  <a:cubicBezTo>
                    <a:pt x="447675" y="0"/>
                    <a:pt x="577215" y="129072"/>
                    <a:pt x="577215" y="287566"/>
                  </a:cubicBezTo>
                  <a:close/>
                </a:path>
              </a:pathLst>
            </a:custGeom>
            <a:solidFill>
              <a:srgbClr val="E72B2B"/>
            </a:solidFill>
            <a:ln w="9525" cap="flat">
              <a:noFill/>
              <a:prstDash val="solid"/>
              <a:miter/>
            </a:ln>
          </p:spPr>
          <p:txBody>
            <a:bodyPr rtlCol="0" anchor="ctr"/>
            <a:lstStyle/>
            <a:p>
              <a:endParaRPr lang="x-none" sz="1905"/>
            </a:p>
          </p:txBody>
        </p:sp>
        <p:sp>
          <p:nvSpPr>
            <p:cNvPr id="11" name="Freeform 10">
              <a:extLst>
                <a:ext uri="{FF2B5EF4-FFF2-40B4-BE49-F238E27FC236}">
                  <a16:creationId xmlns:a16="http://schemas.microsoft.com/office/drawing/2014/main" id="{1D30D49F-F7A4-D142-9453-95E50EA0436F}"/>
                </a:ext>
              </a:extLst>
            </p:cNvPr>
            <p:cNvSpPr/>
            <p:nvPr/>
          </p:nvSpPr>
          <p:spPr>
            <a:xfrm>
              <a:off x="4522787" y="3863620"/>
              <a:ext cx="2472690" cy="689018"/>
            </a:xfrm>
            <a:custGeom>
              <a:avLst/>
              <a:gdLst>
                <a:gd name="connsiteX0" fmla="*/ 345758 w 2472690"/>
                <a:gd name="connsiteY0" fmla="*/ 0 h 689018"/>
                <a:gd name="connsiteX1" fmla="*/ 0 w 2472690"/>
                <a:gd name="connsiteY1" fmla="*/ 344509 h 689018"/>
                <a:gd name="connsiteX2" fmla="*/ 345758 w 2472690"/>
                <a:gd name="connsiteY2" fmla="*/ 689019 h 689018"/>
                <a:gd name="connsiteX3" fmla="*/ 691515 w 2472690"/>
                <a:gd name="connsiteY3" fmla="*/ 344509 h 689018"/>
                <a:gd name="connsiteX4" fmla="*/ 345758 w 2472690"/>
                <a:gd name="connsiteY4" fmla="*/ 0 h 689018"/>
                <a:gd name="connsiteX5" fmla="*/ 345758 w 2472690"/>
                <a:gd name="connsiteY5" fmla="*/ 525780 h 689018"/>
                <a:gd name="connsiteX6" fmla="*/ 164783 w 2472690"/>
                <a:gd name="connsiteY6" fmla="*/ 345458 h 689018"/>
                <a:gd name="connsiteX7" fmla="*/ 345758 w 2472690"/>
                <a:gd name="connsiteY7" fmla="*/ 165137 h 689018"/>
                <a:gd name="connsiteX8" fmla="*/ 526733 w 2472690"/>
                <a:gd name="connsiteY8" fmla="*/ 345458 h 689018"/>
                <a:gd name="connsiteX9" fmla="*/ 345758 w 2472690"/>
                <a:gd name="connsiteY9" fmla="*/ 525780 h 689018"/>
                <a:gd name="connsiteX10" fmla="*/ 1253490 w 2472690"/>
                <a:gd name="connsiteY10" fmla="*/ 284718 h 689018"/>
                <a:gd name="connsiteX11" fmla="*/ 1063943 w 2472690"/>
                <a:gd name="connsiteY11" fmla="*/ 17083 h 689018"/>
                <a:gd name="connsiteX12" fmla="*/ 899160 w 2472690"/>
                <a:gd name="connsiteY12" fmla="*/ 17083 h 689018"/>
                <a:gd name="connsiteX13" fmla="*/ 899160 w 2472690"/>
                <a:gd name="connsiteY13" fmla="*/ 673834 h 689018"/>
                <a:gd name="connsiteX14" fmla="*/ 1063943 w 2472690"/>
                <a:gd name="connsiteY14" fmla="*/ 673834 h 689018"/>
                <a:gd name="connsiteX15" fmla="*/ 1063943 w 2472690"/>
                <a:gd name="connsiteY15" fmla="*/ 301802 h 689018"/>
                <a:gd name="connsiteX16" fmla="*/ 1152525 w 2472690"/>
                <a:gd name="connsiteY16" fmla="*/ 427078 h 689018"/>
                <a:gd name="connsiteX17" fmla="*/ 1253490 w 2472690"/>
                <a:gd name="connsiteY17" fmla="*/ 569437 h 689018"/>
                <a:gd name="connsiteX18" fmla="*/ 1354455 w 2472690"/>
                <a:gd name="connsiteY18" fmla="*/ 427078 h 689018"/>
                <a:gd name="connsiteX19" fmla="*/ 1443038 w 2472690"/>
                <a:gd name="connsiteY19" fmla="*/ 301802 h 689018"/>
                <a:gd name="connsiteX20" fmla="*/ 1443038 w 2472690"/>
                <a:gd name="connsiteY20" fmla="*/ 673834 h 689018"/>
                <a:gd name="connsiteX21" fmla="*/ 1607820 w 2472690"/>
                <a:gd name="connsiteY21" fmla="*/ 673834 h 689018"/>
                <a:gd name="connsiteX22" fmla="*/ 1607820 w 2472690"/>
                <a:gd name="connsiteY22" fmla="*/ 17083 h 689018"/>
                <a:gd name="connsiteX23" fmla="*/ 1443038 w 2472690"/>
                <a:gd name="connsiteY23" fmla="*/ 17083 h 689018"/>
                <a:gd name="connsiteX24" fmla="*/ 1253490 w 2472690"/>
                <a:gd name="connsiteY24" fmla="*/ 284718 h 689018"/>
                <a:gd name="connsiteX25" fmla="*/ 2472690 w 2472690"/>
                <a:gd name="connsiteY25" fmla="*/ 18032 h 689018"/>
                <a:gd name="connsiteX26" fmla="*/ 2270760 w 2472690"/>
                <a:gd name="connsiteY26" fmla="*/ 18032 h 689018"/>
                <a:gd name="connsiteX27" fmla="*/ 2037398 w 2472690"/>
                <a:gd name="connsiteY27" fmla="*/ 336917 h 689018"/>
                <a:gd name="connsiteX28" fmla="*/ 2037398 w 2472690"/>
                <a:gd name="connsiteY28" fmla="*/ 18032 h 689018"/>
                <a:gd name="connsiteX29" fmla="*/ 1872615 w 2472690"/>
                <a:gd name="connsiteY29" fmla="*/ 18032 h 689018"/>
                <a:gd name="connsiteX30" fmla="*/ 1872615 w 2472690"/>
                <a:gd name="connsiteY30" fmla="*/ 674783 h 689018"/>
                <a:gd name="connsiteX31" fmla="*/ 2037398 w 2472690"/>
                <a:gd name="connsiteY31" fmla="*/ 674783 h 689018"/>
                <a:gd name="connsiteX32" fmla="*/ 2037398 w 2472690"/>
                <a:gd name="connsiteY32" fmla="*/ 354000 h 689018"/>
                <a:gd name="connsiteX33" fmla="*/ 2270760 w 2472690"/>
                <a:gd name="connsiteY33" fmla="*/ 674783 h 689018"/>
                <a:gd name="connsiteX34" fmla="*/ 2472690 w 2472690"/>
                <a:gd name="connsiteY34" fmla="*/ 674783 h 689018"/>
                <a:gd name="connsiteX35" fmla="*/ 2231708 w 2472690"/>
                <a:gd name="connsiteY35" fmla="*/ 346407 h 689018"/>
                <a:gd name="connsiteX36" fmla="*/ 2472690 w 2472690"/>
                <a:gd name="connsiteY36" fmla="*/ 18032 h 68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72690" h="689018">
                  <a:moveTo>
                    <a:pt x="345758" y="0"/>
                  </a:moveTo>
                  <a:cubicBezTo>
                    <a:pt x="155258" y="0"/>
                    <a:pt x="0" y="154697"/>
                    <a:pt x="0" y="344509"/>
                  </a:cubicBezTo>
                  <a:cubicBezTo>
                    <a:pt x="0" y="535271"/>
                    <a:pt x="155258" y="689019"/>
                    <a:pt x="345758" y="689019"/>
                  </a:cubicBezTo>
                  <a:cubicBezTo>
                    <a:pt x="537210" y="689019"/>
                    <a:pt x="691515" y="534322"/>
                    <a:pt x="691515" y="344509"/>
                  </a:cubicBezTo>
                  <a:cubicBezTo>
                    <a:pt x="692468" y="154697"/>
                    <a:pt x="537210" y="0"/>
                    <a:pt x="345758" y="0"/>
                  </a:cubicBezTo>
                  <a:close/>
                  <a:moveTo>
                    <a:pt x="345758" y="525780"/>
                  </a:moveTo>
                  <a:cubicBezTo>
                    <a:pt x="245745" y="525780"/>
                    <a:pt x="164783" y="445110"/>
                    <a:pt x="164783" y="345458"/>
                  </a:cubicBezTo>
                  <a:cubicBezTo>
                    <a:pt x="164783" y="245807"/>
                    <a:pt x="245745" y="165137"/>
                    <a:pt x="345758" y="165137"/>
                  </a:cubicBezTo>
                  <a:cubicBezTo>
                    <a:pt x="445770" y="165137"/>
                    <a:pt x="526733" y="245807"/>
                    <a:pt x="526733" y="345458"/>
                  </a:cubicBezTo>
                  <a:cubicBezTo>
                    <a:pt x="527685" y="444161"/>
                    <a:pt x="445770" y="525780"/>
                    <a:pt x="345758" y="525780"/>
                  </a:cubicBezTo>
                  <a:close/>
                  <a:moveTo>
                    <a:pt x="1253490" y="284718"/>
                  </a:moveTo>
                  <a:lnTo>
                    <a:pt x="1063943" y="17083"/>
                  </a:lnTo>
                  <a:lnTo>
                    <a:pt x="899160" y="17083"/>
                  </a:lnTo>
                  <a:lnTo>
                    <a:pt x="899160" y="673834"/>
                  </a:lnTo>
                  <a:lnTo>
                    <a:pt x="1063943" y="673834"/>
                  </a:lnTo>
                  <a:lnTo>
                    <a:pt x="1063943" y="301802"/>
                  </a:lnTo>
                  <a:lnTo>
                    <a:pt x="1152525" y="427078"/>
                  </a:lnTo>
                  <a:lnTo>
                    <a:pt x="1253490" y="569437"/>
                  </a:lnTo>
                  <a:lnTo>
                    <a:pt x="1354455" y="427078"/>
                  </a:lnTo>
                  <a:lnTo>
                    <a:pt x="1443038" y="301802"/>
                  </a:lnTo>
                  <a:lnTo>
                    <a:pt x="1443038" y="673834"/>
                  </a:lnTo>
                  <a:lnTo>
                    <a:pt x="1607820" y="673834"/>
                  </a:lnTo>
                  <a:lnTo>
                    <a:pt x="1607820" y="17083"/>
                  </a:lnTo>
                  <a:lnTo>
                    <a:pt x="1443038" y="17083"/>
                  </a:lnTo>
                  <a:lnTo>
                    <a:pt x="1253490" y="284718"/>
                  </a:lnTo>
                  <a:close/>
                  <a:moveTo>
                    <a:pt x="2472690" y="18032"/>
                  </a:moveTo>
                  <a:lnTo>
                    <a:pt x="2270760" y="18032"/>
                  </a:lnTo>
                  <a:lnTo>
                    <a:pt x="2037398" y="336917"/>
                  </a:lnTo>
                  <a:lnTo>
                    <a:pt x="2037398" y="18032"/>
                  </a:lnTo>
                  <a:lnTo>
                    <a:pt x="1872615" y="18032"/>
                  </a:lnTo>
                  <a:lnTo>
                    <a:pt x="1872615" y="674783"/>
                  </a:lnTo>
                  <a:lnTo>
                    <a:pt x="2037398" y="674783"/>
                  </a:lnTo>
                  <a:lnTo>
                    <a:pt x="2037398" y="354000"/>
                  </a:lnTo>
                  <a:lnTo>
                    <a:pt x="2270760" y="674783"/>
                  </a:lnTo>
                  <a:lnTo>
                    <a:pt x="2472690" y="674783"/>
                  </a:lnTo>
                  <a:lnTo>
                    <a:pt x="2231708" y="346407"/>
                  </a:lnTo>
                  <a:lnTo>
                    <a:pt x="2472690" y="18032"/>
                  </a:lnTo>
                  <a:close/>
                </a:path>
              </a:pathLst>
            </a:custGeom>
            <a:solidFill>
              <a:srgbClr val="7F8183"/>
            </a:solidFill>
            <a:ln w="9525" cap="flat">
              <a:noFill/>
              <a:prstDash val="solid"/>
              <a:miter/>
            </a:ln>
          </p:spPr>
          <p:txBody>
            <a:bodyPr rtlCol="0" anchor="ctr"/>
            <a:lstStyle/>
            <a:p>
              <a:endParaRPr lang="x-none" sz="1905"/>
            </a:p>
          </p:txBody>
        </p:sp>
      </p:grpSp>
      <p:grpSp>
        <p:nvGrpSpPr>
          <p:cNvPr id="2" name="Graphic 11">
            <a:extLst>
              <a:ext uri="{FF2B5EF4-FFF2-40B4-BE49-F238E27FC236}">
                <a16:creationId xmlns:a16="http://schemas.microsoft.com/office/drawing/2014/main" id="{2B14A07C-F107-AD4B-84D8-19021835B693}"/>
              </a:ext>
            </a:extLst>
          </p:cNvPr>
          <p:cNvGrpSpPr/>
          <p:nvPr/>
        </p:nvGrpSpPr>
        <p:grpSpPr>
          <a:xfrm>
            <a:off x="324375" y="4961067"/>
            <a:ext cx="1904203" cy="1638552"/>
            <a:chOff x="306551" y="4687749"/>
            <a:chExt cx="1799571" cy="1548280"/>
          </a:xfrm>
        </p:grpSpPr>
        <p:grpSp>
          <p:nvGrpSpPr>
            <p:cNvPr id="3" name="Graphic 11">
              <a:extLst>
                <a:ext uri="{FF2B5EF4-FFF2-40B4-BE49-F238E27FC236}">
                  <a16:creationId xmlns:a16="http://schemas.microsoft.com/office/drawing/2014/main" id="{2B14A07C-F107-AD4B-84D8-19021835B693}"/>
                </a:ext>
              </a:extLst>
            </p:cNvPr>
            <p:cNvGrpSpPr/>
            <p:nvPr/>
          </p:nvGrpSpPr>
          <p:grpSpPr>
            <a:xfrm>
              <a:off x="363507" y="5419387"/>
              <a:ext cx="704074" cy="228902"/>
              <a:chOff x="363507" y="5419387"/>
              <a:chExt cx="704074" cy="228902"/>
            </a:xfrm>
            <a:solidFill>
              <a:srgbClr val="CFD4D9"/>
            </a:solidFill>
          </p:grpSpPr>
          <p:sp>
            <p:nvSpPr>
              <p:cNvPr id="4" name="Freeform 3">
                <a:extLst>
                  <a:ext uri="{FF2B5EF4-FFF2-40B4-BE49-F238E27FC236}">
                    <a16:creationId xmlns:a16="http://schemas.microsoft.com/office/drawing/2014/main" id="{A10631D4-F199-2743-A560-F09432C5EC06}"/>
                  </a:ext>
                </a:extLst>
              </p:cNvPr>
              <p:cNvSpPr/>
              <p:nvPr/>
            </p:nvSpPr>
            <p:spPr>
              <a:xfrm>
                <a:off x="363507" y="5419387"/>
                <a:ext cx="155114" cy="180936"/>
              </a:xfrm>
              <a:custGeom>
                <a:avLst/>
                <a:gdLst>
                  <a:gd name="connsiteX0" fmla="*/ 81799 w 155114"/>
                  <a:gd name="connsiteY0" fmla="*/ 160900 h 180936"/>
                  <a:gd name="connsiteX1" fmla="*/ 118154 w 155114"/>
                  <a:gd name="connsiteY1" fmla="*/ 149971 h 180936"/>
                  <a:gd name="connsiteX2" fmla="*/ 134513 w 155114"/>
                  <a:gd name="connsiteY2" fmla="*/ 120219 h 180936"/>
                  <a:gd name="connsiteX3" fmla="*/ 155115 w 155114"/>
                  <a:gd name="connsiteY3" fmla="*/ 123862 h 180936"/>
                  <a:gd name="connsiteX4" fmla="*/ 130878 w 155114"/>
                  <a:gd name="connsiteY4" fmla="*/ 166364 h 180936"/>
                  <a:gd name="connsiteX5" fmla="*/ 81193 w 155114"/>
                  <a:gd name="connsiteY5" fmla="*/ 180936 h 180936"/>
                  <a:gd name="connsiteX6" fmla="*/ 21813 w 155114"/>
                  <a:gd name="connsiteY6" fmla="*/ 156650 h 180936"/>
                  <a:gd name="connsiteX7" fmla="*/ 0 w 155114"/>
                  <a:gd name="connsiteY7" fmla="*/ 90468 h 180936"/>
                  <a:gd name="connsiteX8" fmla="*/ 6059 w 155114"/>
                  <a:gd name="connsiteY8" fmla="*/ 52217 h 180936"/>
                  <a:gd name="connsiteX9" fmla="*/ 22419 w 155114"/>
                  <a:gd name="connsiteY9" fmla="*/ 23680 h 180936"/>
                  <a:gd name="connsiteX10" fmla="*/ 47867 w 155114"/>
                  <a:gd name="connsiteY10" fmla="*/ 6072 h 180936"/>
                  <a:gd name="connsiteX11" fmla="*/ 81193 w 155114"/>
                  <a:gd name="connsiteY11" fmla="*/ 0 h 180936"/>
                  <a:gd name="connsiteX12" fmla="*/ 130878 w 155114"/>
                  <a:gd name="connsiteY12" fmla="*/ 14572 h 180936"/>
                  <a:gd name="connsiteX13" fmla="*/ 154509 w 155114"/>
                  <a:gd name="connsiteY13" fmla="*/ 57074 h 180936"/>
                  <a:gd name="connsiteX14" fmla="*/ 133907 w 155114"/>
                  <a:gd name="connsiteY14" fmla="*/ 60717 h 180936"/>
                  <a:gd name="connsiteX15" fmla="*/ 117548 w 155114"/>
                  <a:gd name="connsiteY15" fmla="*/ 31573 h 180936"/>
                  <a:gd name="connsiteX16" fmla="*/ 81193 w 155114"/>
                  <a:gd name="connsiteY16" fmla="*/ 20037 h 180936"/>
                  <a:gd name="connsiteX17" fmla="*/ 55138 w 155114"/>
                  <a:gd name="connsiteY17" fmla="*/ 25501 h 180936"/>
                  <a:gd name="connsiteX18" fmla="*/ 36355 w 155114"/>
                  <a:gd name="connsiteY18" fmla="*/ 40073 h 180936"/>
                  <a:gd name="connsiteX19" fmla="*/ 24843 w 155114"/>
                  <a:gd name="connsiteY19" fmla="*/ 62538 h 180936"/>
                  <a:gd name="connsiteX20" fmla="*/ 21207 w 155114"/>
                  <a:gd name="connsiteY20" fmla="*/ 91683 h 180936"/>
                  <a:gd name="connsiteX21" fmla="*/ 36961 w 155114"/>
                  <a:gd name="connsiteY21" fmla="*/ 142685 h 180936"/>
                  <a:gd name="connsiteX22" fmla="*/ 81799 w 155114"/>
                  <a:gd name="connsiteY22" fmla="*/ 160900 h 180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5114" h="180936">
                    <a:moveTo>
                      <a:pt x="81799" y="160900"/>
                    </a:moveTo>
                    <a:cubicBezTo>
                      <a:pt x="97553" y="160900"/>
                      <a:pt x="109671" y="157257"/>
                      <a:pt x="118154" y="149971"/>
                    </a:cubicBezTo>
                    <a:cubicBezTo>
                      <a:pt x="126636" y="142685"/>
                      <a:pt x="132090" y="132970"/>
                      <a:pt x="134513" y="120219"/>
                    </a:cubicBezTo>
                    <a:lnTo>
                      <a:pt x="155115" y="123862"/>
                    </a:lnTo>
                    <a:cubicBezTo>
                      <a:pt x="152085" y="142077"/>
                      <a:pt x="143602" y="156650"/>
                      <a:pt x="130878" y="166364"/>
                    </a:cubicBezTo>
                    <a:cubicBezTo>
                      <a:pt x="118154" y="176079"/>
                      <a:pt x="101794" y="180936"/>
                      <a:pt x="81193" y="180936"/>
                    </a:cubicBezTo>
                    <a:cubicBezTo>
                      <a:pt x="56350" y="180936"/>
                      <a:pt x="36355" y="173043"/>
                      <a:pt x="21813" y="156650"/>
                    </a:cubicBezTo>
                    <a:cubicBezTo>
                      <a:pt x="7271" y="140256"/>
                      <a:pt x="0" y="118398"/>
                      <a:pt x="0" y="90468"/>
                    </a:cubicBezTo>
                    <a:cubicBezTo>
                      <a:pt x="0" y="75896"/>
                      <a:pt x="1818" y="63146"/>
                      <a:pt x="6059" y="52217"/>
                    </a:cubicBezTo>
                    <a:cubicBezTo>
                      <a:pt x="9695" y="40680"/>
                      <a:pt x="15754" y="31573"/>
                      <a:pt x="22419" y="23680"/>
                    </a:cubicBezTo>
                    <a:cubicBezTo>
                      <a:pt x="29690" y="15786"/>
                      <a:pt x="38173" y="9715"/>
                      <a:pt x="47867" y="6072"/>
                    </a:cubicBezTo>
                    <a:cubicBezTo>
                      <a:pt x="58168" y="1822"/>
                      <a:pt x="69074" y="0"/>
                      <a:pt x="81193" y="0"/>
                    </a:cubicBezTo>
                    <a:cubicBezTo>
                      <a:pt x="101794" y="0"/>
                      <a:pt x="118154" y="4857"/>
                      <a:pt x="130878" y="14572"/>
                    </a:cubicBezTo>
                    <a:cubicBezTo>
                      <a:pt x="143602" y="24287"/>
                      <a:pt x="151479" y="38859"/>
                      <a:pt x="154509" y="57074"/>
                    </a:cubicBezTo>
                    <a:lnTo>
                      <a:pt x="133907" y="60717"/>
                    </a:lnTo>
                    <a:cubicBezTo>
                      <a:pt x="131484" y="49181"/>
                      <a:pt x="126031" y="39466"/>
                      <a:pt x="117548" y="31573"/>
                    </a:cubicBezTo>
                    <a:cubicBezTo>
                      <a:pt x="109065" y="23680"/>
                      <a:pt x="96947" y="20037"/>
                      <a:pt x="81193" y="20037"/>
                    </a:cubicBezTo>
                    <a:cubicBezTo>
                      <a:pt x="71498" y="20037"/>
                      <a:pt x="63015" y="21858"/>
                      <a:pt x="55138" y="25501"/>
                    </a:cubicBezTo>
                    <a:cubicBezTo>
                      <a:pt x="47867" y="29144"/>
                      <a:pt x="41202" y="34001"/>
                      <a:pt x="36355" y="40073"/>
                    </a:cubicBezTo>
                    <a:cubicBezTo>
                      <a:pt x="31508" y="46145"/>
                      <a:pt x="27872" y="53431"/>
                      <a:pt x="24843" y="62538"/>
                    </a:cubicBezTo>
                    <a:cubicBezTo>
                      <a:pt x="22419" y="71039"/>
                      <a:pt x="21207" y="80753"/>
                      <a:pt x="21207" y="91683"/>
                    </a:cubicBezTo>
                    <a:cubicBezTo>
                      <a:pt x="21207" y="112933"/>
                      <a:pt x="26660" y="129934"/>
                      <a:pt x="36961" y="142685"/>
                    </a:cubicBezTo>
                    <a:cubicBezTo>
                      <a:pt x="47867" y="154828"/>
                      <a:pt x="62409" y="160900"/>
                      <a:pt x="81799" y="160900"/>
                    </a:cubicBezTo>
                  </a:path>
                </a:pathLst>
              </a:custGeom>
              <a:solidFill>
                <a:srgbClr val="7F8183"/>
              </a:solidFill>
              <a:ln w="6029" cap="flat">
                <a:noFill/>
                <a:prstDash val="solid"/>
                <a:miter/>
              </a:ln>
            </p:spPr>
            <p:txBody>
              <a:bodyPr rtlCol="0" anchor="ctr"/>
              <a:lstStyle/>
              <a:p>
                <a:endParaRPr lang="x-none" sz="1905"/>
              </a:p>
            </p:txBody>
          </p:sp>
          <p:sp>
            <p:nvSpPr>
              <p:cNvPr id="5" name="Freeform 4">
                <a:extLst>
                  <a:ext uri="{FF2B5EF4-FFF2-40B4-BE49-F238E27FC236}">
                    <a16:creationId xmlns:a16="http://schemas.microsoft.com/office/drawing/2014/main" id="{95F7A21D-6CE6-3D40-87B8-A27DCD746457}"/>
                  </a:ext>
                </a:extLst>
              </p:cNvPr>
              <p:cNvSpPr/>
              <p:nvPr/>
            </p:nvSpPr>
            <p:spPr>
              <a:xfrm>
                <a:off x="542858" y="5472210"/>
                <a:ext cx="115729" cy="128719"/>
              </a:xfrm>
              <a:custGeom>
                <a:avLst/>
                <a:gdLst>
                  <a:gd name="connsiteX0" fmla="*/ 58774 w 115729"/>
                  <a:gd name="connsiteY0" fmla="*/ 109898 h 128719"/>
                  <a:gd name="connsiteX1" fmla="*/ 86646 w 115729"/>
                  <a:gd name="connsiteY1" fmla="*/ 97754 h 128719"/>
                  <a:gd name="connsiteX2" fmla="*/ 95735 w 115729"/>
                  <a:gd name="connsiteY2" fmla="*/ 63753 h 128719"/>
                  <a:gd name="connsiteX3" fmla="*/ 86646 w 115729"/>
                  <a:gd name="connsiteY3" fmla="*/ 29751 h 128719"/>
                  <a:gd name="connsiteX4" fmla="*/ 58774 w 115729"/>
                  <a:gd name="connsiteY4" fmla="*/ 17608 h 128719"/>
                  <a:gd name="connsiteX5" fmla="*/ 30902 w 115729"/>
                  <a:gd name="connsiteY5" fmla="*/ 29751 h 128719"/>
                  <a:gd name="connsiteX6" fmla="*/ 21207 w 115729"/>
                  <a:gd name="connsiteY6" fmla="*/ 63753 h 128719"/>
                  <a:gd name="connsiteX7" fmla="*/ 31508 w 115729"/>
                  <a:gd name="connsiteY7" fmla="*/ 97754 h 128719"/>
                  <a:gd name="connsiteX8" fmla="*/ 58774 w 115729"/>
                  <a:gd name="connsiteY8" fmla="*/ 109898 h 128719"/>
                  <a:gd name="connsiteX9" fmla="*/ 58774 w 115729"/>
                  <a:gd name="connsiteY9" fmla="*/ 128720 h 128719"/>
                  <a:gd name="connsiteX10" fmla="*/ 35143 w 115729"/>
                  <a:gd name="connsiteY10" fmla="*/ 124470 h 128719"/>
                  <a:gd name="connsiteX11" fmla="*/ 16360 w 115729"/>
                  <a:gd name="connsiteY11" fmla="*/ 112326 h 128719"/>
                  <a:gd name="connsiteX12" fmla="*/ 4241 w 115729"/>
                  <a:gd name="connsiteY12" fmla="*/ 91683 h 128719"/>
                  <a:gd name="connsiteX13" fmla="*/ 0 w 115729"/>
                  <a:gd name="connsiteY13" fmla="*/ 64360 h 128719"/>
                  <a:gd name="connsiteX14" fmla="*/ 16360 w 115729"/>
                  <a:gd name="connsiteY14" fmla="*/ 17001 h 128719"/>
                  <a:gd name="connsiteX15" fmla="*/ 58774 w 115729"/>
                  <a:gd name="connsiteY15" fmla="*/ 0 h 128719"/>
                  <a:gd name="connsiteX16" fmla="*/ 99976 w 115729"/>
                  <a:gd name="connsiteY16" fmla="*/ 17001 h 128719"/>
                  <a:gd name="connsiteX17" fmla="*/ 115730 w 115729"/>
                  <a:gd name="connsiteY17" fmla="*/ 64360 h 128719"/>
                  <a:gd name="connsiteX18" fmla="*/ 99976 w 115729"/>
                  <a:gd name="connsiteY18" fmla="*/ 111719 h 128719"/>
                  <a:gd name="connsiteX19" fmla="*/ 58774 w 115729"/>
                  <a:gd name="connsiteY19" fmla="*/ 128720 h 12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5729" h="128719">
                    <a:moveTo>
                      <a:pt x="58774" y="109898"/>
                    </a:moveTo>
                    <a:cubicBezTo>
                      <a:pt x="70892" y="109898"/>
                      <a:pt x="79981" y="105647"/>
                      <a:pt x="86646" y="97754"/>
                    </a:cubicBezTo>
                    <a:cubicBezTo>
                      <a:pt x="92705" y="89254"/>
                      <a:pt x="95735" y="78325"/>
                      <a:pt x="95735" y="63753"/>
                    </a:cubicBezTo>
                    <a:cubicBezTo>
                      <a:pt x="95735" y="49181"/>
                      <a:pt x="92705" y="38252"/>
                      <a:pt x="86646" y="29751"/>
                    </a:cubicBezTo>
                    <a:cubicBezTo>
                      <a:pt x="80587" y="21858"/>
                      <a:pt x="71498" y="17608"/>
                      <a:pt x="58774" y="17608"/>
                    </a:cubicBezTo>
                    <a:cubicBezTo>
                      <a:pt x="46656" y="17608"/>
                      <a:pt x="37567" y="21858"/>
                      <a:pt x="30902" y="29751"/>
                    </a:cubicBezTo>
                    <a:cubicBezTo>
                      <a:pt x="24237" y="37644"/>
                      <a:pt x="21207" y="49181"/>
                      <a:pt x="21207" y="63753"/>
                    </a:cubicBezTo>
                    <a:cubicBezTo>
                      <a:pt x="21207" y="78325"/>
                      <a:pt x="24843" y="89254"/>
                      <a:pt x="31508" y="97754"/>
                    </a:cubicBezTo>
                    <a:cubicBezTo>
                      <a:pt x="38173" y="106255"/>
                      <a:pt x="47261" y="109898"/>
                      <a:pt x="58774" y="109898"/>
                    </a:cubicBezTo>
                    <a:moveTo>
                      <a:pt x="58774" y="128720"/>
                    </a:moveTo>
                    <a:cubicBezTo>
                      <a:pt x="50291" y="128720"/>
                      <a:pt x="42414" y="127505"/>
                      <a:pt x="35143" y="124470"/>
                    </a:cubicBezTo>
                    <a:cubicBezTo>
                      <a:pt x="27872" y="121434"/>
                      <a:pt x="21813" y="117184"/>
                      <a:pt x="16360" y="112326"/>
                    </a:cubicBezTo>
                    <a:cubicBezTo>
                      <a:pt x="11512" y="106862"/>
                      <a:pt x="7271" y="100183"/>
                      <a:pt x="4241" y="91683"/>
                    </a:cubicBezTo>
                    <a:cubicBezTo>
                      <a:pt x="1212" y="83789"/>
                      <a:pt x="0" y="74682"/>
                      <a:pt x="0" y="64360"/>
                    </a:cubicBezTo>
                    <a:cubicBezTo>
                      <a:pt x="0" y="43716"/>
                      <a:pt x="5453" y="27930"/>
                      <a:pt x="16360" y="17001"/>
                    </a:cubicBezTo>
                    <a:cubicBezTo>
                      <a:pt x="27266" y="6072"/>
                      <a:pt x="41202" y="0"/>
                      <a:pt x="58774" y="0"/>
                    </a:cubicBezTo>
                    <a:cubicBezTo>
                      <a:pt x="75740" y="0"/>
                      <a:pt x="89676" y="5465"/>
                      <a:pt x="99976" y="17001"/>
                    </a:cubicBezTo>
                    <a:cubicBezTo>
                      <a:pt x="110277" y="27930"/>
                      <a:pt x="115730" y="43716"/>
                      <a:pt x="115730" y="64360"/>
                    </a:cubicBezTo>
                    <a:cubicBezTo>
                      <a:pt x="115730" y="84396"/>
                      <a:pt x="110277" y="100183"/>
                      <a:pt x="99976" y="111719"/>
                    </a:cubicBezTo>
                    <a:cubicBezTo>
                      <a:pt x="89676" y="122648"/>
                      <a:pt x="76345" y="128720"/>
                      <a:pt x="58774" y="128720"/>
                    </a:cubicBezTo>
                  </a:path>
                </a:pathLst>
              </a:custGeom>
              <a:solidFill>
                <a:srgbClr val="7F8183"/>
              </a:solidFill>
              <a:ln w="6029" cap="flat">
                <a:noFill/>
                <a:prstDash val="solid"/>
                <a:miter/>
              </a:ln>
            </p:spPr>
            <p:txBody>
              <a:bodyPr rtlCol="0" anchor="ctr"/>
              <a:lstStyle/>
              <a:p>
                <a:endParaRPr lang="x-none" sz="1905"/>
              </a:p>
            </p:txBody>
          </p:sp>
          <p:sp>
            <p:nvSpPr>
              <p:cNvPr id="6" name="Freeform 5">
                <a:extLst>
                  <a:ext uri="{FF2B5EF4-FFF2-40B4-BE49-F238E27FC236}">
                    <a16:creationId xmlns:a16="http://schemas.microsoft.com/office/drawing/2014/main" id="{26B82B9C-C334-8B4F-8B44-53E8A3865E31}"/>
                  </a:ext>
                </a:extLst>
              </p:cNvPr>
              <p:cNvSpPr/>
              <p:nvPr/>
            </p:nvSpPr>
            <p:spPr>
              <a:xfrm>
                <a:off x="690095" y="5474639"/>
                <a:ext cx="97552" cy="123862"/>
              </a:xfrm>
              <a:custGeom>
                <a:avLst/>
                <a:gdLst>
                  <a:gd name="connsiteX0" fmla="*/ 56350 w 97552"/>
                  <a:gd name="connsiteY0" fmla="*/ 69217 h 123862"/>
                  <a:gd name="connsiteX1" fmla="*/ 19995 w 97552"/>
                  <a:gd name="connsiteY1" fmla="*/ 69217 h 123862"/>
                  <a:gd name="connsiteX2" fmla="*/ 19995 w 97552"/>
                  <a:gd name="connsiteY2" fmla="*/ 105647 h 123862"/>
                  <a:gd name="connsiteX3" fmla="*/ 56350 w 97552"/>
                  <a:gd name="connsiteY3" fmla="*/ 105647 h 123862"/>
                  <a:gd name="connsiteX4" fmla="*/ 73316 w 97552"/>
                  <a:gd name="connsiteY4" fmla="*/ 100790 h 123862"/>
                  <a:gd name="connsiteX5" fmla="*/ 78163 w 97552"/>
                  <a:gd name="connsiteY5" fmla="*/ 87432 h 123862"/>
                  <a:gd name="connsiteX6" fmla="*/ 72710 w 97552"/>
                  <a:gd name="connsiteY6" fmla="*/ 73467 h 123862"/>
                  <a:gd name="connsiteX7" fmla="*/ 56350 w 97552"/>
                  <a:gd name="connsiteY7" fmla="*/ 69217 h 123862"/>
                  <a:gd name="connsiteX8" fmla="*/ 52715 w 97552"/>
                  <a:gd name="connsiteY8" fmla="*/ 17608 h 123862"/>
                  <a:gd name="connsiteX9" fmla="*/ 19995 w 97552"/>
                  <a:gd name="connsiteY9" fmla="*/ 17608 h 123862"/>
                  <a:gd name="connsiteX10" fmla="*/ 19995 w 97552"/>
                  <a:gd name="connsiteY10" fmla="*/ 52216 h 123862"/>
                  <a:gd name="connsiteX11" fmla="*/ 54532 w 97552"/>
                  <a:gd name="connsiteY11" fmla="*/ 52216 h 123862"/>
                  <a:gd name="connsiteX12" fmla="*/ 69680 w 97552"/>
                  <a:gd name="connsiteY12" fmla="*/ 47966 h 123862"/>
                  <a:gd name="connsiteX13" fmla="*/ 74528 w 97552"/>
                  <a:gd name="connsiteY13" fmla="*/ 34609 h 123862"/>
                  <a:gd name="connsiteX14" fmla="*/ 69680 w 97552"/>
                  <a:gd name="connsiteY14" fmla="*/ 21251 h 123862"/>
                  <a:gd name="connsiteX15" fmla="*/ 52715 w 97552"/>
                  <a:gd name="connsiteY15" fmla="*/ 17608 h 123862"/>
                  <a:gd name="connsiteX16" fmla="*/ 0 w 97552"/>
                  <a:gd name="connsiteY16" fmla="*/ 123255 h 123862"/>
                  <a:gd name="connsiteX17" fmla="*/ 0 w 97552"/>
                  <a:gd name="connsiteY17" fmla="*/ 0 h 123862"/>
                  <a:gd name="connsiteX18" fmla="*/ 52715 w 97552"/>
                  <a:gd name="connsiteY18" fmla="*/ 0 h 123862"/>
                  <a:gd name="connsiteX19" fmla="*/ 83616 w 97552"/>
                  <a:gd name="connsiteY19" fmla="*/ 8500 h 123862"/>
                  <a:gd name="connsiteX20" fmla="*/ 94523 w 97552"/>
                  <a:gd name="connsiteY20" fmla="*/ 33394 h 123862"/>
                  <a:gd name="connsiteX21" fmla="*/ 90887 w 97552"/>
                  <a:gd name="connsiteY21" fmla="*/ 47966 h 123862"/>
                  <a:gd name="connsiteX22" fmla="*/ 76951 w 97552"/>
                  <a:gd name="connsiteY22" fmla="*/ 59502 h 123862"/>
                  <a:gd name="connsiteX23" fmla="*/ 92705 w 97552"/>
                  <a:gd name="connsiteY23" fmla="*/ 70432 h 123862"/>
                  <a:gd name="connsiteX24" fmla="*/ 97553 w 97552"/>
                  <a:gd name="connsiteY24" fmla="*/ 88647 h 123862"/>
                  <a:gd name="connsiteX25" fmla="*/ 87858 w 97552"/>
                  <a:gd name="connsiteY25" fmla="*/ 114148 h 123862"/>
                  <a:gd name="connsiteX26" fmla="*/ 56350 w 97552"/>
                  <a:gd name="connsiteY26" fmla="*/ 123862 h 123862"/>
                  <a:gd name="connsiteX27" fmla="*/ 0 w 97552"/>
                  <a:gd name="connsiteY27" fmla="*/ 123862 h 123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7552" h="123862">
                    <a:moveTo>
                      <a:pt x="56350" y="69217"/>
                    </a:moveTo>
                    <a:lnTo>
                      <a:pt x="19995" y="69217"/>
                    </a:lnTo>
                    <a:lnTo>
                      <a:pt x="19995" y="105647"/>
                    </a:lnTo>
                    <a:lnTo>
                      <a:pt x="56350" y="105647"/>
                    </a:lnTo>
                    <a:cubicBezTo>
                      <a:pt x="64227" y="105647"/>
                      <a:pt x="69680" y="103826"/>
                      <a:pt x="73316" y="100790"/>
                    </a:cubicBezTo>
                    <a:cubicBezTo>
                      <a:pt x="76345" y="97754"/>
                      <a:pt x="78163" y="93504"/>
                      <a:pt x="78163" y="87432"/>
                    </a:cubicBezTo>
                    <a:cubicBezTo>
                      <a:pt x="78163" y="80753"/>
                      <a:pt x="76345" y="76503"/>
                      <a:pt x="72710" y="73467"/>
                    </a:cubicBezTo>
                    <a:cubicBezTo>
                      <a:pt x="69680" y="71039"/>
                      <a:pt x="64227" y="69217"/>
                      <a:pt x="56350" y="69217"/>
                    </a:cubicBezTo>
                    <a:moveTo>
                      <a:pt x="52715" y="17608"/>
                    </a:moveTo>
                    <a:lnTo>
                      <a:pt x="19995" y="17608"/>
                    </a:lnTo>
                    <a:lnTo>
                      <a:pt x="19995" y="52216"/>
                    </a:lnTo>
                    <a:lnTo>
                      <a:pt x="54532" y="52216"/>
                    </a:lnTo>
                    <a:cubicBezTo>
                      <a:pt x="61198" y="52216"/>
                      <a:pt x="66651" y="51002"/>
                      <a:pt x="69680" y="47966"/>
                    </a:cubicBezTo>
                    <a:cubicBezTo>
                      <a:pt x="73316" y="44930"/>
                      <a:pt x="74528" y="40680"/>
                      <a:pt x="74528" y="34609"/>
                    </a:cubicBezTo>
                    <a:cubicBezTo>
                      <a:pt x="74528" y="28537"/>
                      <a:pt x="72710" y="24287"/>
                      <a:pt x="69680" y="21251"/>
                    </a:cubicBezTo>
                    <a:cubicBezTo>
                      <a:pt x="67257" y="19429"/>
                      <a:pt x="61198" y="17608"/>
                      <a:pt x="52715" y="17608"/>
                    </a:cubicBezTo>
                    <a:moveTo>
                      <a:pt x="0" y="123255"/>
                    </a:moveTo>
                    <a:lnTo>
                      <a:pt x="0" y="0"/>
                    </a:lnTo>
                    <a:lnTo>
                      <a:pt x="52715" y="0"/>
                    </a:lnTo>
                    <a:cubicBezTo>
                      <a:pt x="66045" y="0"/>
                      <a:pt x="76345" y="3036"/>
                      <a:pt x="83616" y="8500"/>
                    </a:cubicBezTo>
                    <a:cubicBezTo>
                      <a:pt x="90887" y="13965"/>
                      <a:pt x="94523" y="22465"/>
                      <a:pt x="94523" y="33394"/>
                    </a:cubicBezTo>
                    <a:cubicBezTo>
                      <a:pt x="94523" y="38252"/>
                      <a:pt x="93311" y="43109"/>
                      <a:pt x="90887" y="47966"/>
                    </a:cubicBezTo>
                    <a:cubicBezTo>
                      <a:pt x="88464" y="52824"/>
                      <a:pt x="84222" y="57074"/>
                      <a:pt x="76951" y="59502"/>
                    </a:cubicBezTo>
                    <a:cubicBezTo>
                      <a:pt x="84222" y="61931"/>
                      <a:pt x="89676" y="65574"/>
                      <a:pt x="92705" y="70432"/>
                    </a:cubicBezTo>
                    <a:cubicBezTo>
                      <a:pt x="95735" y="75289"/>
                      <a:pt x="97553" y="81361"/>
                      <a:pt x="97553" y="88647"/>
                    </a:cubicBezTo>
                    <a:cubicBezTo>
                      <a:pt x="97553" y="98968"/>
                      <a:pt x="94523" y="107469"/>
                      <a:pt x="87858" y="114148"/>
                    </a:cubicBezTo>
                    <a:cubicBezTo>
                      <a:pt x="81193" y="120219"/>
                      <a:pt x="70892" y="123862"/>
                      <a:pt x="56350" y="123862"/>
                    </a:cubicBezTo>
                    <a:lnTo>
                      <a:pt x="0" y="123862"/>
                    </a:lnTo>
                    <a:close/>
                  </a:path>
                </a:pathLst>
              </a:custGeom>
              <a:solidFill>
                <a:srgbClr val="7F8183"/>
              </a:solidFill>
              <a:ln w="6029" cap="flat">
                <a:noFill/>
                <a:prstDash val="solid"/>
                <a:miter/>
              </a:ln>
            </p:spPr>
            <p:txBody>
              <a:bodyPr rtlCol="0" anchor="ctr"/>
              <a:lstStyle/>
              <a:p>
                <a:endParaRPr lang="x-none" sz="1905"/>
              </a:p>
            </p:txBody>
          </p:sp>
          <p:sp>
            <p:nvSpPr>
              <p:cNvPr id="7" name="Freeform 6">
                <a:extLst>
                  <a:ext uri="{FF2B5EF4-FFF2-40B4-BE49-F238E27FC236}">
                    <a16:creationId xmlns:a16="http://schemas.microsoft.com/office/drawing/2014/main" id="{74343383-0ABD-2B40-A082-B3607EEAF702}"/>
                  </a:ext>
                </a:extLst>
              </p:cNvPr>
              <p:cNvSpPr/>
              <p:nvPr/>
            </p:nvSpPr>
            <p:spPr>
              <a:xfrm>
                <a:off x="810673" y="5472818"/>
                <a:ext cx="110276" cy="128112"/>
              </a:xfrm>
              <a:custGeom>
                <a:avLst/>
                <a:gdLst>
                  <a:gd name="connsiteX0" fmla="*/ 57562 w 110276"/>
                  <a:gd name="connsiteY0" fmla="*/ 17001 h 128112"/>
                  <a:gd name="connsiteX1" fmla="*/ 33931 w 110276"/>
                  <a:gd name="connsiteY1" fmla="*/ 26108 h 128112"/>
                  <a:gd name="connsiteX2" fmla="*/ 21813 w 110276"/>
                  <a:gd name="connsiteY2" fmla="*/ 49788 h 128112"/>
                  <a:gd name="connsiteX3" fmla="*/ 90887 w 110276"/>
                  <a:gd name="connsiteY3" fmla="*/ 49788 h 128112"/>
                  <a:gd name="connsiteX4" fmla="*/ 82405 w 110276"/>
                  <a:gd name="connsiteY4" fmla="*/ 26108 h 128112"/>
                  <a:gd name="connsiteX5" fmla="*/ 57562 w 110276"/>
                  <a:gd name="connsiteY5" fmla="*/ 17001 h 128112"/>
                  <a:gd name="connsiteX6" fmla="*/ 110277 w 110276"/>
                  <a:gd name="connsiteY6" fmla="*/ 67396 h 128112"/>
                  <a:gd name="connsiteX7" fmla="*/ 20601 w 110276"/>
                  <a:gd name="connsiteY7" fmla="*/ 67396 h 128112"/>
                  <a:gd name="connsiteX8" fmla="*/ 32114 w 110276"/>
                  <a:gd name="connsiteY8" fmla="*/ 98969 h 128112"/>
                  <a:gd name="connsiteX9" fmla="*/ 58168 w 110276"/>
                  <a:gd name="connsiteY9" fmla="*/ 109897 h 128112"/>
                  <a:gd name="connsiteX10" fmla="*/ 80587 w 110276"/>
                  <a:gd name="connsiteY10" fmla="*/ 103219 h 128112"/>
                  <a:gd name="connsiteX11" fmla="*/ 90887 w 110276"/>
                  <a:gd name="connsiteY11" fmla="*/ 87432 h 128112"/>
                  <a:gd name="connsiteX12" fmla="*/ 110277 w 110276"/>
                  <a:gd name="connsiteY12" fmla="*/ 91075 h 128112"/>
                  <a:gd name="connsiteX13" fmla="*/ 92099 w 110276"/>
                  <a:gd name="connsiteY13" fmla="*/ 118398 h 128112"/>
                  <a:gd name="connsiteX14" fmla="*/ 57562 w 110276"/>
                  <a:gd name="connsiteY14" fmla="*/ 128113 h 128112"/>
                  <a:gd name="connsiteX15" fmla="*/ 15754 w 110276"/>
                  <a:gd name="connsiteY15" fmla="*/ 111112 h 128112"/>
                  <a:gd name="connsiteX16" fmla="*/ 0 w 110276"/>
                  <a:gd name="connsiteY16" fmla="*/ 63753 h 128112"/>
                  <a:gd name="connsiteX17" fmla="*/ 4241 w 110276"/>
                  <a:gd name="connsiteY17" fmla="*/ 36430 h 128112"/>
                  <a:gd name="connsiteX18" fmla="*/ 16360 w 110276"/>
                  <a:gd name="connsiteY18" fmla="*/ 16394 h 128112"/>
                  <a:gd name="connsiteX19" fmla="*/ 34537 w 110276"/>
                  <a:gd name="connsiteY19" fmla="*/ 4250 h 128112"/>
                  <a:gd name="connsiteX20" fmla="*/ 56956 w 110276"/>
                  <a:gd name="connsiteY20" fmla="*/ 0 h 128112"/>
                  <a:gd name="connsiteX21" fmla="*/ 95735 w 110276"/>
                  <a:gd name="connsiteY21" fmla="*/ 15786 h 128112"/>
                  <a:gd name="connsiteX22" fmla="*/ 110277 w 110276"/>
                  <a:gd name="connsiteY22" fmla="*/ 59503 h 128112"/>
                  <a:gd name="connsiteX23" fmla="*/ 110277 w 110276"/>
                  <a:gd name="connsiteY23" fmla="*/ 67396 h 12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0276" h="128112">
                    <a:moveTo>
                      <a:pt x="57562" y="17001"/>
                    </a:moveTo>
                    <a:cubicBezTo>
                      <a:pt x="47867" y="17001"/>
                      <a:pt x="39991" y="20037"/>
                      <a:pt x="33931" y="26108"/>
                    </a:cubicBezTo>
                    <a:cubicBezTo>
                      <a:pt x="27266" y="32180"/>
                      <a:pt x="23631" y="40073"/>
                      <a:pt x="21813" y="49788"/>
                    </a:cubicBezTo>
                    <a:lnTo>
                      <a:pt x="90887" y="49788"/>
                    </a:lnTo>
                    <a:cubicBezTo>
                      <a:pt x="90282" y="40073"/>
                      <a:pt x="87252" y="32180"/>
                      <a:pt x="82405" y="26108"/>
                    </a:cubicBezTo>
                    <a:cubicBezTo>
                      <a:pt x="75740" y="20037"/>
                      <a:pt x="67863" y="17001"/>
                      <a:pt x="57562" y="17001"/>
                    </a:cubicBezTo>
                    <a:moveTo>
                      <a:pt x="110277" y="67396"/>
                    </a:moveTo>
                    <a:lnTo>
                      <a:pt x="20601" y="67396"/>
                    </a:lnTo>
                    <a:cubicBezTo>
                      <a:pt x="21207" y="81361"/>
                      <a:pt x="24843" y="91682"/>
                      <a:pt x="32114" y="98969"/>
                    </a:cubicBezTo>
                    <a:cubicBezTo>
                      <a:pt x="38779" y="106255"/>
                      <a:pt x="47867" y="109897"/>
                      <a:pt x="58168" y="109897"/>
                    </a:cubicBezTo>
                    <a:cubicBezTo>
                      <a:pt x="67863" y="109897"/>
                      <a:pt x="75134" y="107469"/>
                      <a:pt x="80587" y="103219"/>
                    </a:cubicBezTo>
                    <a:cubicBezTo>
                      <a:pt x="86040" y="98969"/>
                      <a:pt x="89070" y="93504"/>
                      <a:pt x="90887" y="87432"/>
                    </a:cubicBezTo>
                    <a:lnTo>
                      <a:pt x="110277" y="91075"/>
                    </a:lnTo>
                    <a:cubicBezTo>
                      <a:pt x="107247" y="102611"/>
                      <a:pt x="101188" y="111719"/>
                      <a:pt x="92099" y="118398"/>
                    </a:cubicBezTo>
                    <a:cubicBezTo>
                      <a:pt x="83011" y="125077"/>
                      <a:pt x="71498" y="128113"/>
                      <a:pt x="57562" y="128113"/>
                    </a:cubicBezTo>
                    <a:cubicBezTo>
                      <a:pt x="39991" y="128113"/>
                      <a:pt x="26054" y="122648"/>
                      <a:pt x="15754" y="111112"/>
                    </a:cubicBezTo>
                    <a:cubicBezTo>
                      <a:pt x="5453" y="99576"/>
                      <a:pt x="0" y="83789"/>
                      <a:pt x="0" y="63753"/>
                    </a:cubicBezTo>
                    <a:cubicBezTo>
                      <a:pt x="0" y="53431"/>
                      <a:pt x="1212" y="44323"/>
                      <a:pt x="4241" y="36430"/>
                    </a:cubicBezTo>
                    <a:cubicBezTo>
                      <a:pt x="7271" y="28537"/>
                      <a:pt x="11512" y="21858"/>
                      <a:pt x="16360" y="16394"/>
                    </a:cubicBezTo>
                    <a:cubicBezTo>
                      <a:pt x="21207" y="10929"/>
                      <a:pt x="27872" y="6679"/>
                      <a:pt x="34537" y="4250"/>
                    </a:cubicBezTo>
                    <a:cubicBezTo>
                      <a:pt x="41808" y="1214"/>
                      <a:pt x="49079" y="0"/>
                      <a:pt x="56956" y="0"/>
                    </a:cubicBezTo>
                    <a:cubicBezTo>
                      <a:pt x="73316" y="0"/>
                      <a:pt x="86040" y="5464"/>
                      <a:pt x="95735" y="15786"/>
                    </a:cubicBezTo>
                    <a:cubicBezTo>
                      <a:pt x="105429" y="26108"/>
                      <a:pt x="110277" y="40680"/>
                      <a:pt x="110277" y="59503"/>
                    </a:cubicBezTo>
                    <a:lnTo>
                      <a:pt x="110277" y="67396"/>
                    </a:lnTo>
                    <a:close/>
                  </a:path>
                </a:pathLst>
              </a:custGeom>
              <a:solidFill>
                <a:srgbClr val="7F8183"/>
              </a:solidFill>
              <a:ln w="6029" cap="flat">
                <a:noFill/>
                <a:prstDash val="solid"/>
                <a:miter/>
              </a:ln>
            </p:spPr>
            <p:txBody>
              <a:bodyPr rtlCol="0" anchor="ctr"/>
              <a:lstStyle/>
              <a:p>
                <a:endParaRPr lang="x-none" sz="1905"/>
              </a:p>
            </p:txBody>
          </p:sp>
          <p:sp>
            <p:nvSpPr>
              <p:cNvPr id="13" name="Freeform 12">
                <a:extLst>
                  <a:ext uri="{FF2B5EF4-FFF2-40B4-BE49-F238E27FC236}">
                    <a16:creationId xmlns:a16="http://schemas.microsoft.com/office/drawing/2014/main" id="{9B15B812-661C-8541-A3A5-7627839E7AD2}"/>
                  </a:ext>
                </a:extLst>
              </p:cNvPr>
              <p:cNvSpPr/>
              <p:nvPr/>
            </p:nvSpPr>
            <p:spPr>
              <a:xfrm>
                <a:off x="951245" y="5471603"/>
                <a:ext cx="116335" cy="176686"/>
              </a:xfrm>
              <a:custGeom>
                <a:avLst/>
                <a:gdLst>
                  <a:gd name="connsiteX0" fmla="*/ 20601 w 116335"/>
                  <a:gd name="connsiteY0" fmla="*/ 74682 h 176686"/>
                  <a:gd name="connsiteX1" fmla="*/ 32114 w 116335"/>
                  <a:gd name="connsiteY1" fmla="*/ 100790 h 176686"/>
                  <a:gd name="connsiteX2" fmla="*/ 59380 w 116335"/>
                  <a:gd name="connsiteY2" fmla="*/ 110505 h 176686"/>
                  <a:gd name="connsiteX3" fmla="*/ 86040 w 116335"/>
                  <a:gd name="connsiteY3" fmla="*/ 97754 h 176686"/>
                  <a:gd name="connsiteX4" fmla="*/ 95735 w 116335"/>
                  <a:gd name="connsiteY4" fmla="*/ 63753 h 176686"/>
                  <a:gd name="connsiteX5" fmla="*/ 86040 w 116335"/>
                  <a:gd name="connsiteY5" fmla="*/ 30966 h 176686"/>
                  <a:gd name="connsiteX6" fmla="*/ 58774 w 116335"/>
                  <a:gd name="connsiteY6" fmla="*/ 18215 h 176686"/>
                  <a:gd name="connsiteX7" fmla="*/ 44838 w 116335"/>
                  <a:gd name="connsiteY7" fmla="*/ 20644 h 176686"/>
                  <a:gd name="connsiteX8" fmla="*/ 32719 w 116335"/>
                  <a:gd name="connsiteY8" fmla="*/ 28537 h 176686"/>
                  <a:gd name="connsiteX9" fmla="*/ 24237 w 116335"/>
                  <a:gd name="connsiteY9" fmla="*/ 41287 h 176686"/>
                  <a:gd name="connsiteX10" fmla="*/ 21207 w 116335"/>
                  <a:gd name="connsiteY10" fmla="*/ 58895 h 176686"/>
                  <a:gd name="connsiteX11" fmla="*/ 21207 w 116335"/>
                  <a:gd name="connsiteY11" fmla="*/ 74682 h 176686"/>
                  <a:gd name="connsiteX12" fmla="*/ 0 w 116335"/>
                  <a:gd name="connsiteY12" fmla="*/ 176686 h 176686"/>
                  <a:gd name="connsiteX13" fmla="*/ 0 w 116335"/>
                  <a:gd name="connsiteY13" fmla="*/ 3036 h 176686"/>
                  <a:gd name="connsiteX14" fmla="*/ 20601 w 116335"/>
                  <a:gd name="connsiteY14" fmla="*/ 3036 h 176686"/>
                  <a:gd name="connsiteX15" fmla="*/ 20601 w 116335"/>
                  <a:gd name="connsiteY15" fmla="*/ 19429 h 176686"/>
                  <a:gd name="connsiteX16" fmla="*/ 38779 w 116335"/>
                  <a:gd name="connsiteY16" fmla="*/ 4857 h 176686"/>
                  <a:gd name="connsiteX17" fmla="*/ 62409 w 116335"/>
                  <a:gd name="connsiteY17" fmla="*/ 0 h 176686"/>
                  <a:gd name="connsiteX18" fmla="*/ 83616 w 116335"/>
                  <a:gd name="connsiteY18" fmla="*/ 4250 h 176686"/>
                  <a:gd name="connsiteX19" fmla="*/ 100582 w 116335"/>
                  <a:gd name="connsiteY19" fmla="*/ 16394 h 176686"/>
                  <a:gd name="connsiteX20" fmla="*/ 112094 w 116335"/>
                  <a:gd name="connsiteY20" fmla="*/ 36430 h 176686"/>
                  <a:gd name="connsiteX21" fmla="*/ 116336 w 116335"/>
                  <a:gd name="connsiteY21" fmla="*/ 63753 h 176686"/>
                  <a:gd name="connsiteX22" fmla="*/ 100582 w 116335"/>
                  <a:gd name="connsiteY22" fmla="*/ 111719 h 176686"/>
                  <a:gd name="connsiteX23" fmla="*/ 58774 w 116335"/>
                  <a:gd name="connsiteY23" fmla="*/ 129327 h 176686"/>
                  <a:gd name="connsiteX24" fmla="*/ 36961 w 116335"/>
                  <a:gd name="connsiteY24" fmla="*/ 125077 h 176686"/>
                  <a:gd name="connsiteX25" fmla="*/ 20601 w 116335"/>
                  <a:gd name="connsiteY25" fmla="*/ 112933 h 176686"/>
                  <a:gd name="connsiteX26" fmla="*/ 20601 w 116335"/>
                  <a:gd name="connsiteY26" fmla="*/ 176686 h 176686"/>
                  <a:gd name="connsiteX27" fmla="*/ 0 w 116335"/>
                  <a:gd name="connsiteY27" fmla="*/ 176686 h 17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6335" h="176686">
                    <a:moveTo>
                      <a:pt x="20601" y="74682"/>
                    </a:moveTo>
                    <a:cubicBezTo>
                      <a:pt x="20601" y="86218"/>
                      <a:pt x="24237" y="94718"/>
                      <a:pt x="32114" y="100790"/>
                    </a:cubicBezTo>
                    <a:cubicBezTo>
                      <a:pt x="39990" y="106862"/>
                      <a:pt x="49079" y="110505"/>
                      <a:pt x="59380" y="110505"/>
                    </a:cubicBezTo>
                    <a:cubicBezTo>
                      <a:pt x="70892" y="110505"/>
                      <a:pt x="79375" y="106255"/>
                      <a:pt x="86040" y="97754"/>
                    </a:cubicBezTo>
                    <a:cubicBezTo>
                      <a:pt x="92705" y="89254"/>
                      <a:pt x="95735" y="78325"/>
                      <a:pt x="95735" y="63753"/>
                    </a:cubicBezTo>
                    <a:cubicBezTo>
                      <a:pt x="95735" y="50395"/>
                      <a:pt x="92705" y="39466"/>
                      <a:pt x="86040" y="30966"/>
                    </a:cubicBezTo>
                    <a:cubicBezTo>
                      <a:pt x="79375" y="22465"/>
                      <a:pt x="70286" y="18215"/>
                      <a:pt x="58774" y="18215"/>
                    </a:cubicBezTo>
                    <a:cubicBezTo>
                      <a:pt x="53927" y="18215"/>
                      <a:pt x="49079" y="18822"/>
                      <a:pt x="44838" y="20644"/>
                    </a:cubicBezTo>
                    <a:cubicBezTo>
                      <a:pt x="40596" y="22465"/>
                      <a:pt x="36355" y="24894"/>
                      <a:pt x="32719" y="28537"/>
                    </a:cubicBezTo>
                    <a:cubicBezTo>
                      <a:pt x="29084" y="32180"/>
                      <a:pt x="26054" y="36430"/>
                      <a:pt x="24237" y="41287"/>
                    </a:cubicBezTo>
                    <a:cubicBezTo>
                      <a:pt x="21813" y="46752"/>
                      <a:pt x="21207" y="52216"/>
                      <a:pt x="21207" y="58895"/>
                    </a:cubicBezTo>
                    <a:lnTo>
                      <a:pt x="21207" y="74682"/>
                    </a:lnTo>
                    <a:close/>
                    <a:moveTo>
                      <a:pt x="0" y="176686"/>
                    </a:moveTo>
                    <a:lnTo>
                      <a:pt x="0" y="3036"/>
                    </a:lnTo>
                    <a:lnTo>
                      <a:pt x="20601" y="3036"/>
                    </a:lnTo>
                    <a:lnTo>
                      <a:pt x="20601" y="19429"/>
                    </a:lnTo>
                    <a:cubicBezTo>
                      <a:pt x="24843" y="13358"/>
                      <a:pt x="30902" y="8500"/>
                      <a:pt x="38779" y="4857"/>
                    </a:cubicBezTo>
                    <a:cubicBezTo>
                      <a:pt x="46050" y="1821"/>
                      <a:pt x="53927" y="0"/>
                      <a:pt x="62409" y="0"/>
                    </a:cubicBezTo>
                    <a:cubicBezTo>
                      <a:pt x="69680" y="0"/>
                      <a:pt x="76951" y="1214"/>
                      <a:pt x="83616" y="4250"/>
                    </a:cubicBezTo>
                    <a:cubicBezTo>
                      <a:pt x="90282" y="6679"/>
                      <a:pt x="95735" y="10929"/>
                      <a:pt x="100582" y="16394"/>
                    </a:cubicBezTo>
                    <a:cubicBezTo>
                      <a:pt x="105429" y="21858"/>
                      <a:pt x="109671" y="28537"/>
                      <a:pt x="112094" y="36430"/>
                    </a:cubicBezTo>
                    <a:cubicBezTo>
                      <a:pt x="115124" y="44323"/>
                      <a:pt x="116336" y="53431"/>
                      <a:pt x="116336" y="63753"/>
                    </a:cubicBezTo>
                    <a:cubicBezTo>
                      <a:pt x="116336" y="84396"/>
                      <a:pt x="110883" y="100183"/>
                      <a:pt x="100582" y="111719"/>
                    </a:cubicBezTo>
                    <a:cubicBezTo>
                      <a:pt x="90282" y="123255"/>
                      <a:pt x="76345" y="129327"/>
                      <a:pt x="58774" y="129327"/>
                    </a:cubicBezTo>
                    <a:cubicBezTo>
                      <a:pt x="50897" y="129327"/>
                      <a:pt x="43626" y="128113"/>
                      <a:pt x="36961" y="125077"/>
                    </a:cubicBezTo>
                    <a:cubicBezTo>
                      <a:pt x="30296" y="122041"/>
                      <a:pt x="24843" y="118398"/>
                      <a:pt x="20601" y="112933"/>
                    </a:cubicBezTo>
                    <a:lnTo>
                      <a:pt x="20601" y="176686"/>
                    </a:lnTo>
                    <a:lnTo>
                      <a:pt x="0" y="176686"/>
                    </a:lnTo>
                    <a:close/>
                  </a:path>
                </a:pathLst>
              </a:custGeom>
              <a:solidFill>
                <a:srgbClr val="7F8183"/>
              </a:solidFill>
              <a:ln w="6029" cap="flat">
                <a:noFill/>
                <a:prstDash val="solid"/>
                <a:miter/>
              </a:ln>
            </p:spPr>
            <p:txBody>
              <a:bodyPr rtlCol="0" anchor="ctr"/>
              <a:lstStyle/>
              <a:p>
                <a:endParaRPr lang="x-none" sz="1905"/>
              </a:p>
            </p:txBody>
          </p:sp>
        </p:grpSp>
        <p:sp>
          <p:nvSpPr>
            <p:cNvPr id="14" name="Freeform 13">
              <a:extLst>
                <a:ext uri="{FF2B5EF4-FFF2-40B4-BE49-F238E27FC236}">
                  <a16:creationId xmlns:a16="http://schemas.microsoft.com/office/drawing/2014/main" id="{68E3F17D-9289-8743-B858-55A7CC94942D}"/>
                </a:ext>
              </a:extLst>
            </p:cNvPr>
            <p:cNvSpPr/>
            <p:nvPr/>
          </p:nvSpPr>
          <p:spPr>
            <a:xfrm>
              <a:off x="1098483" y="5474639"/>
              <a:ext cx="161779" cy="123255"/>
            </a:xfrm>
            <a:custGeom>
              <a:avLst/>
              <a:gdLst>
                <a:gd name="connsiteX0" fmla="*/ 161780 w 161779"/>
                <a:gd name="connsiteY0" fmla="*/ 0 h 123255"/>
                <a:gd name="connsiteX1" fmla="*/ 161780 w 161779"/>
                <a:gd name="connsiteY1" fmla="*/ 123255 h 123255"/>
                <a:gd name="connsiteX2" fmla="*/ 0 w 161779"/>
                <a:gd name="connsiteY2" fmla="*/ 123255 h 123255"/>
                <a:gd name="connsiteX3" fmla="*/ 0 w 161779"/>
                <a:gd name="connsiteY3" fmla="*/ 0 h 123255"/>
                <a:gd name="connsiteX4" fmla="*/ 20601 w 161779"/>
                <a:gd name="connsiteY4" fmla="*/ 0 h 123255"/>
                <a:gd name="connsiteX5" fmla="*/ 20601 w 161779"/>
                <a:gd name="connsiteY5" fmla="*/ 104433 h 123255"/>
                <a:gd name="connsiteX6" fmla="*/ 70892 w 161779"/>
                <a:gd name="connsiteY6" fmla="*/ 104433 h 123255"/>
                <a:gd name="connsiteX7" fmla="*/ 70892 w 161779"/>
                <a:gd name="connsiteY7" fmla="*/ 0 h 123255"/>
                <a:gd name="connsiteX8" fmla="*/ 90887 w 161779"/>
                <a:gd name="connsiteY8" fmla="*/ 0 h 123255"/>
                <a:gd name="connsiteX9" fmla="*/ 90887 w 161779"/>
                <a:gd name="connsiteY9" fmla="*/ 104433 h 123255"/>
                <a:gd name="connsiteX10" fmla="*/ 141178 w 161779"/>
                <a:gd name="connsiteY10" fmla="*/ 104433 h 123255"/>
                <a:gd name="connsiteX11" fmla="*/ 141178 w 161779"/>
                <a:gd name="connsiteY11" fmla="*/ 0 h 12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779" h="123255">
                  <a:moveTo>
                    <a:pt x="161780" y="0"/>
                  </a:moveTo>
                  <a:lnTo>
                    <a:pt x="161780" y="123255"/>
                  </a:lnTo>
                  <a:lnTo>
                    <a:pt x="0" y="123255"/>
                  </a:lnTo>
                  <a:lnTo>
                    <a:pt x="0" y="0"/>
                  </a:lnTo>
                  <a:lnTo>
                    <a:pt x="20601" y="0"/>
                  </a:lnTo>
                  <a:lnTo>
                    <a:pt x="20601" y="104433"/>
                  </a:lnTo>
                  <a:lnTo>
                    <a:pt x="70892" y="104433"/>
                  </a:lnTo>
                  <a:lnTo>
                    <a:pt x="70892" y="0"/>
                  </a:lnTo>
                  <a:lnTo>
                    <a:pt x="90887" y="0"/>
                  </a:lnTo>
                  <a:lnTo>
                    <a:pt x="90887" y="104433"/>
                  </a:lnTo>
                  <a:lnTo>
                    <a:pt x="141178" y="104433"/>
                  </a:lnTo>
                  <a:lnTo>
                    <a:pt x="141178" y="0"/>
                  </a:lnTo>
                  <a:close/>
                </a:path>
              </a:pathLst>
            </a:custGeom>
            <a:solidFill>
              <a:srgbClr val="7F8183"/>
            </a:solidFill>
            <a:ln w="6029" cap="flat">
              <a:noFill/>
              <a:prstDash val="solid"/>
              <a:miter/>
            </a:ln>
          </p:spPr>
          <p:txBody>
            <a:bodyPr rtlCol="0" anchor="ctr"/>
            <a:lstStyle/>
            <a:p>
              <a:endParaRPr lang="x-none" sz="1905"/>
            </a:p>
          </p:txBody>
        </p:sp>
        <p:sp>
          <p:nvSpPr>
            <p:cNvPr id="16" name="Freeform 15">
              <a:extLst>
                <a:ext uri="{FF2B5EF4-FFF2-40B4-BE49-F238E27FC236}">
                  <a16:creationId xmlns:a16="http://schemas.microsoft.com/office/drawing/2014/main" id="{654E1483-9F2B-AC4E-93A0-547C66756421}"/>
                </a:ext>
              </a:extLst>
            </p:cNvPr>
            <p:cNvSpPr/>
            <p:nvPr/>
          </p:nvSpPr>
          <p:spPr>
            <a:xfrm>
              <a:off x="1290558" y="5472818"/>
              <a:ext cx="110882" cy="128112"/>
            </a:xfrm>
            <a:custGeom>
              <a:avLst/>
              <a:gdLst>
                <a:gd name="connsiteX0" fmla="*/ 57562 w 110882"/>
                <a:gd name="connsiteY0" fmla="*/ 17001 h 128112"/>
                <a:gd name="connsiteX1" fmla="*/ 33931 w 110882"/>
                <a:gd name="connsiteY1" fmla="*/ 26108 h 128112"/>
                <a:gd name="connsiteX2" fmla="*/ 21813 w 110882"/>
                <a:gd name="connsiteY2" fmla="*/ 49788 h 128112"/>
                <a:gd name="connsiteX3" fmla="*/ 90887 w 110882"/>
                <a:gd name="connsiteY3" fmla="*/ 49788 h 128112"/>
                <a:gd name="connsiteX4" fmla="*/ 82405 w 110882"/>
                <a:gd name="connsiteY4" fmla="*/ 26108 h 128112"/>
                <a:gd name="connsiteX5" fmla="*/ 57562 w 110882"/>
                <a:gd name="connsiteY5" fmla="*/ 17001 h 128112"/>
                <a:gd name="connsiteX6" fmla="*/ 110883 w 110882"/>
                <a:gd name="connsiteY6" fmla="*/ 67396 h 128112"/>
                <a:gd name="connsiteX7" fmla="*/ 20601 w 110882"/>
                <a:gd name="connsiteY7" fmla="*/ 67396 h 128112"/>
                <a:gd name="connsiteX8" fmla="*/ 32114 w 110882"/>
                <a:gd name="connsiteY8" fmla="*/ 98969 h 128112"/>
                <a:gd name="connsiteX9" fmla="*/ 58168 w 110882"/>
                <a:gd name="connsiteY9" fmla="*/ 109897 h 128112"/>
                <a:gd name="connsiteX10" fmla="*/ 80587 w 110882"/>
                <a:gd name="connsiteY10" fmla="*/ 103219 h 128112"/>
                <a:gd name="connsiteX11" fmla="*/ 90887 w 110882"/>
                <a:gd name="connsiteY11" fmla="*/ 87432 h 128112"/>
                <a:gd name="connsiteX12" fmla="*/ 110277 w 110882"/>
                <a:gd name="connsiteY12" fmla="*/ 91075 h 128112"/>
                <a:gd name="connsiteX13" fmla="*/ 92099 w 110882"/>
                <a:gd name="connsiteY13" fmla="*/ 118398 h 128112"/>
                <a:gd name="connsiteX14" fmla="*/ 57562 w 110882"/>
                <a:gd name="connsiteY14" fmla="*/ 128113 h 128112"/>
                <a:gd name="connsiteX15" fmla="*/ 15754 w 110882"/>
                <a:gd name="connsiteY15" fmla="*/ 111112 h 128112"/>
                <a:gd name="connsiteX16" fmla="*/ 0 w 110882"/>
                <a:gd name="connsiteY16" fmla="*/ 63753 h 128112"/>
                <a:gd name="connsiteX17" fmla="*/ 4241 w 110882"/>
                <a:gd name="connsiteY17" fmla="*/ 36430 h 128112"/>
                <a:gd name="connsiteX18" fmla="*/ 16360 w 110882"/>
                <a:gd name="connsiteY18" fmla="*/ 16394 h 128112"/>
                <a:gd name="connsiteX19" fmla="*/ 34537 w 110882"/>
                <a:gd name="connsiteY19" fmla="*/ 4250 h 128112"/>
                <a:gd name="connsiteX20" fmla="*/ 56956 w 110882"/>
                <a:gd name="connsiteY20" fmla="*/ 0 h 128112"/>
                <a:gd name="connsiteX21" fmla="*/ 95735 w 110882"/>
                <a:gd name="connsiteY21" fmla="*/ 15786 h 128112"/>
                <a:gd name="connsiteX22" fmla="*/ 110277 w 110882"/>
                <a:gd name="connsiteY22" fmla="*/ 59503 h 128112"/>
                <a:gd name="connsiteX23" fmla="*/ 110277 w 110882"/>
                <a:gd name="connsiteY23" fmla="*/ 67396 h 12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0882" h="128112">
                  <a:moveTo>
                    <a:pt x="57562" y="17001"/>
                  </a:moveTo>
                  <a:cubicBezTo>
                    <a:pt x="47867" y="17001"/>
                    <a:pt x="39991" y="20037"/>
                    <a:pt x="33931" y="26108"/>
                  </a:cubicBezTo>
                  <a:cubicBezTo>
                    <a:pt x="27266" y="32180"/>
                    <a:pt x="23631" y="40073"/>
                    <a:pt x="21813" y="49788"/>
                  </a:cubicBezTo>
                  <a:lnTo>
                    <a:pt x="90887" y="49788"/>
                  </a:lnTo>
                  <a:cubicBezTo>
                    <a:pt x="90282" y="40073"/>
                    <a:pt x="87252" y="32180"/>
                    <a:pt x="82405" y="26108"/>
                  </a:cubicBezTo>
                  <a:cubicBezTo>
                    <a:pt x="76345" y="20037"/>
                    <a:pt x="67863" y="17001"/>
                    <a:pt x="57562" y="17001"/>
                  </a:cubicBezTo>
                  <a:moveTo>
                    <a:pt x="110883" y="67396"/>
                  </a:moveTo>
                  <a:lnTo>
                    <a:pt x="20601" y="67396"/>
                  </a:lnTo>
                  <a:cubicBezTo>
                    <a:pt x="21207" y="81361"/>
                    <a:pt x="24843" y="91682"/>
                    <a:pt x="32114" y="98969"/>
                  </a:cubicBezTo>
                  <a:cubicBezTo>
                    <a:pt x="38779" y="106255"/>
                    <a:pt x="47867" y="109897"/>
                    <a:pt x="58168" y="109897"/>
                  </a:cubicBezTo>
                  <a:cubicBezTo>
                    <a:pt x="67863" y="109897"/>
                    <a:pt x="75134" y="107469"/>
                    <a:pt x="80587" y="103219"/>
                  </a:cubicBezTo>
                  <a:cubicBezTo>
                    <a:pt x="86040" y="98969"/>
                    <a:pt x="89070" y="93504"/>
                    <a:pt x="90887" y="87432"/>
                  </a:cubicBezTo>
                  <a:lnTo>
                    <a:pt x="110277" y="91075"/>
                  </a:lnTo>
                  <a:cubicBezTo>
                    <a:pt x="107247" y="102611"/>
                    <a:pt x="101188" y="111719"/>
                    <a:pt x="92099" y="118398"/>
                  </a:cubicBezTo>
                  <a:cubicBezTo>
                    <a:pt x="83011" y="125077"/>
                    <a:pt x="71498" y="128113"/>
                    <a:pt x="57562" y="128113"/>
                  </a:cubicBezTo>
                  <a:cubicBezTo>
                    <a:pt x="39991" y="128113"/>
                    <a:pt x="26054" y="122648"/>
                    <a:pt x="15754" y="111112"/>
                  </a:cubicBezTo>
                  <a:cubicBezTo>
                    <a:pt x="5453" y="99576"/>
                    <a:pt x="0" y="83789"/>
                    <a:pt x="0" y="63753"/>
                  </a:cubicBezTo>
                  <a:cubicBezTo>
                    <a:pt x="0" y="53431"/>
                    <a:pt x="1212" y="44323"/>
                    <a:pt x="4241" y="36430"/>
                  </a:cubicBezTo>
                  <a:cubicBezTo>
                    <a:pt x="7271" y="28537"/>
                    <a:pt x="11512" y="21858"/>
                    <a:pt x="16360" y="16394"/>
                  </a:cubicBezTo>
                  <a:cubicBezTo>
                    <a:pt x="21207" y="10929"/>
                    <a:pt x="27872" y="6679"/>
                    <a:pt x="34537" y="4250"/>
                  </a:cubicBezTo>
                  <a:cubicBezTo>
                    <a:pt x="41808" y="1214"/>
                    <a:pt x="49079" y="0"/>
                    <a:pt x="56956" y="0"/>
                  </a:cubicBezTo>
                  <a:cubicBezTo>
                    <a:pt x="73316" y="0"/>
                    <a:pt x="86040" y="5464"/>
                    <a:pt x="95735" y="15786"/>
                  </a:cubicBezTo>
                  <a:cubicBezTo>
                    <a:pt x="105429" y="26108"/>
                    <a:pt x="110277" y="40680"/>
                    <a:pt x="110277" y="59503"/>
                  </a:cubicBezTo>
                  <a:lnTo>
                    <a:pt x="110277" y="67396"/>
                  </a:lnTo>
                  <a:close/>
                </a:path>
              </a:pathLst>
            </a:custGeom>
            <a:solidFill>
              <a:srgbClr val="7F8183"/>
            </a:solidFill>
            <a:ln w="6029" cap="flat">
              <a:noFill/>
              <a:prstDash val="solid"/>
              <a:miter/>
            </a:ln>
          </p:spPr>
          <p:txBody>
            <a:bodyPr rtlCol="0" anchor="ctr"/>
            <a:lstStyle/>
            <a:p>
              <a:endParaRPr lang="x-none" sz="1905"/>
            </a:p>
          </p:txBody>
        </p:sp>
        <p:sp>
          <p:nvSpPr>
            <p:cNvPr id="20" name="Freeform 19">
              <a:extLst>
                <a:ext uri="{FF2B5EF4-FFF2-40B4-BE49-F238E27FC236}">
                  <a16:creationId xmlns:a16="http://schemas.microsoft.com/office/drawing/2014/main" id="{451C6711-C525-4548-BB5B-1E5B822DDE63}"/>
                </a:ext>
              </a:extLst>
            </p:cNvPr>
            <p:cNvSpPr/>
            <p:nvPr/>
          </p:nvSpPr>
          <p:spPr>
            <a:xfrm>
              <a:off x="1431131" y="5474639"/>
              <a:ext cx="106035" cy="123255"/>
            </a:xfrm>
            <a:custGeom>
              <a:avLst/>
              <a:gdLst>
                <a:gd name="connsiteX0" fmla="*/ 0 w 106035"/>
                <a:gd name="connsiteY0" fmla="*/ 123255 h 123255"/>
                <a:gd name="connsiteX1" fmla="*/ 0 w 106035"/>
                <a:gd name="connsiteY1" fmla="*/ 0 h 123255"/>
                <a:gd name="connsiteX2" fmla="*/ 20601 w 106035"/>
                <a:gd name="connsiteY2" fmla="*/ 0 h 123255"/>
                <a:gd name="connsiteX3" fmla="*/ 20601 w 106035"/>
                <a:gd name="connsiteY3" fmla="*/ 50395 h 123255"/>
                <a:gd name="connsiteX4" fmla="*/ 85434 w 106035"/>
                <a:gd name="connsiteY4" fmla="*/ 50395 h 123255"/>
                <a:gd name="connsiteX5" fmla="*/ 85434 w 106035"/>
                <a:gd name="connsiteY5" fmla="*/ 0 h 123255"/>
                <a:gd name="connsiteX6" fmla="*/ 106035 w 106035"/>
                <a:gd name="connsiteY6" fmla="*/ 0 h 123255"/>
                <a:gd name="connsiteX7" fmla="*/ 106035 w 106035"/>
                <a:gd name="connsiteY7" fmla="*/ 123255 h 123255"/>
                <a:gd name="connsiteX8" fmla="*/ 85434 w 106035"/>
                <a:gd name="connsiteY8" fmla="*/ 123255 h 123255"/>
                <a:gd name="connsiteX9" fmla="*/ 85434 w 106035"/>
                <a:gd name="connsiteY9" fmla="*/ 69824 h 123255"/>
                <a:gd name="connsiteX10" fmla="*/ 20601 w 106035"/>
                <a:gd name="connsiteY10" fmla="*/ 69824 h 123255"/>
                <a:gd name="connsiteX11" fmla="*/ 20601 w 106035"/>
                <a:gd name="connsiteY11" fmla="*/ 123255 h 12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035" h="123255">
                  <a:moveTo>
                    <a:pt x="0" y="123255"/>
                  </a:moveTo>
                  <a:lnTo>
                    <a:pt x="0" y="0"/>
                  </a:lnTo>
                  <a:lnTo>
                    <a:pt x="20601" y="0"/>
                  </a:lnTo>
                  <a:lnTo>
                    <a:pt x="20601" y="50395"/>
                  </a:lnTo>
                  <a:lnTo>
                    <a:pt x="85434" y="50395"/>
                  </a:lnTo>
                  <a:lnTo>
                    <a:pt x="85434" y="0"/>
                  </a:lnTo>
                  <a:lnTo>
                    <a:pt x="106035" y="0"/>
                  </a:lnTo>
                  <a:lnTo>
                    <a:pt x="106035" y="123255"/>
                  </a:lnTo>
                  <a:lnTo>
                    <a:pt x="85434" y="123255"/>
                  </a:lnTo>
                  <a:lnTo>
                    <a:pt x="85434" y="69824"/>
                  </a:lnTo>
                  <a:lnTo>
                    <a:pt x="20601" y="69824"/>
                  </a:lnTo>
                  <a:lnTo>
                    <a:pt x="20601" y="123255"/>
                  </a:lnTo>
                  <a:close/>
                </a:path>
              </a:pathLst>
            </a:custGeom>
            <a:solidFill>
              <a:srgbClr val="7F8183"/>
            </a:solidFill>
            <a:ln w="6029" cap="flat">
              <a:noFill/>
              <a:prstDash val="solid"/>
              <a:miter/>
            </a:ln>
          </p:spPr>
          <p:txBody>
            <a:bodyPr rtlCol="0" anchor="ctr"/>
            <a:lstStyle/>
            <a:p>
              <a:endParaRPr lang="x-none" sz="1905"/>
            </a:p>
          </p:txBody>
        </p:sp>
        <p:sp>
          <p:nvSpPr>
            <p:cNvPr id="21" name="Freeform 20">
              <a:extLst>
                <a:ext uri="{FF2B5EF4-FFF2-40B4-BE49-F238E27FC236}">
                  <a16:creationId xmlns:a16="http://schemas.microsoft.com/office/drawing/2014/main" id="{A508021A-96C6-BE48-A295-51199599BC66}"/>
                </a:ext>
              </a:extLst>
            </p:cNvPr>
            <p:cNvSpPr/>
            <p:nvPr/>
          </p:nvSpPr>
          <p:spPr>
            <a:xfrm>
              <a:off x="1568674" y="5471603"/>
              <a:ext cx="109064" cy="128719"/>
            </a:xfrm>
            <a:custGeom>
              <a:avLst/>
              <a:gdLst>
                <a:gd name="connsiteX0" fmla="*/ 89676 w 109064"/>
                <a:gd name="connsiteY0" fmla="*/ 86218 h 128719"/>
                <a:gd name="connsiteX1" fmla="*/ 109065 w 109064"/>
                <a:gd name="connsiteY1" fmla="*/ 89254 h 128719"/>
                <a:gd name="connsiteX2" fmla="*/ 92705 w 109064"/>
                <a:gd name="connsiteY2" fmla="*/ 117183 h 128719"/>
                <a:gd name="connsiteX3" fmla="*/ 56956 w 109064"/>
                <a:gd name="connsiteY3" fmla="*/ 128720 h 128719"/>
                <a:gd name="connsiteX4" fmla="*/ 15754 w 109064"/>
                <a:gd name="connsiteY4" fmla="*/ 112326 h 128719"/>
                <a:gd name="connsiteX5" fmla="*/ 0 w 109064"/>
                <a:gd name="connsiteY5" fmla="*/ 64360 h 128719"/>
                <a:gd name="connsiteX6" fmla="*/ 4241 w 109064"/>
                <a:gd name="connsiteY6" fmla="*/ 35823 h 128719"/>
                <a:gd name="connsiteX7" fmla="*/ 16360 w 109064"/>
                <a:gd name="connsiteY7" fmla="*/ 15786 h 128719"/>
                <a:gd name="connsiteX8" fmla="*/ 34537 w 109064"/>
                <a:gd name="connsiteY8" fmla="*/ 3643 h 128719"/>
                <a:gd name="connsiteX9" fmla="*/ 56956 w 109064"/>
                <a:gd name="connsiteY9" fmla="*/ 0 h 128719"/>
                <a:gd name="connsiteX10" fmla="*/ 93311 w 109064"/>
                <a:gd name="connsiteY10" fmla="*/ 11536 h 128719"/>
                <a:gd name="connsiteX11" fmla="*/ 109065 w 109064"/>
                <a:gd name="connsiteY11" fmla="*/ 38859 h 128719"/>
                <a:gd name="connsiteX12" fmla="*/ 90281 w 109064"/>
                <a:gd name="connsiteY12" fmla="*/ 42502 h 128719"/>
                <a:gd name="connsiteX13" fmla="*/ 80587 w 109064"/>
                <a:gd name="connsiteY13" fmla="*/ 26108 h 128719"/>
                <a:gd name="connsiteX14" fmla="*/ 57562 w 109064"/>
                <a:gd name="connsiteY14" fmla="*/ 18215 h 128719"/>
                <a:gd name="connsiteX15" fmla="*/ 30296 w 109064"/>
                <a:gd name="connsiteY15" fmla="*/ 30358 h 128719"/>
                <a:gd name="connsiteX16" fmla="*/ 20601 w 109064"/>
                <a:gd name="connsiteY16" fmla="*/ 63753 h 128719"/>
                <a:gd name="connsiteX17" fmla="*/ 30296 w 109064"/>
                <a:gd name="connsiteY17" fmla="*/ 97147 h 128719"/>
                <a:gd name="connsiteX18" fmla="*/ 57562 w 109064"/>
                <a:gd name="connsiteY18" fmla="*/ 109897 h 128719"/>
                <a:gd name="connsiteX19" fmla="*/ 81193 w 109064"/>
                <a:gd name="connsiteY19" fmla="*/ 102004 h 128719"/>
                <a:gd name="connsiteX20" fmla="*/ 89676 w 109064"/>
                <a:gd name="connsiteY20" fmla="*/ 86218 h 12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064" h="128719">
                  <a:moveTo>
                    <a:pt x="89676" y="86218"/>
                  </a:moveTo>
                  <a:lnTo>
                    <a:pt x="109065" y="89254"/>
                  </a:lnTo>
                  <a:cubicBezTo>
                    <a:pt x="106641" y="100183"/>
                    <a:pt x="101188" y="109897"/>
                    <a:pt x="92705" y="117183"/>
                  </a:cubicBezTo>
                  <a:cubicBezTo>
                    <a:pt x="84222" y="125077"/>
                    <a:pt x="72104" y="128720"/>
                    <a:pt x="56956" y="128720"/>
                  </a:cubicBezTo>
                  <a:cubicBezTo>
                    <a:pt x="39990" y="128720"/>
                    <a:pt x="26054" y="123255"/>
                    <a:pt x="15754" y="112326"/>
                  </a:cubicBezTo>
                  <a:cubicBezTo>
                    <a:pt x="5453" y="101397"/>
                    <a:pt x="0" y="85611"/>
                    <a:pt x="0" y="64360"/>
                  </a:cubicBezTo>
                  <a:cubicBezTo>
                    <a:pt x="0" y="53431"/>
                    <a:pt x="1212" y="43716"/>
                    <a:pt x="4241" y="35823"/>
                  </a:cubicBezTo>
                  <a:cubicBezTo>
                    <a:pt x="7271" y="27930"/>
                    <a:pt x="11512" y="21251"/>
                    <a:pt x="16360" y="15786"/>
                  </a:cubicBezTo>
                  <a:cubicBezTo>
                    <a:pt x="21207" y="10322"/>
                    <a:pt x="27266" y="6679"/>
                    <a:pt x="34537" y="3643"/>
                  </a:cubicBezTo>
                  <a:cubicBezTo>
                    <a:pt x="41808" y="1214"/>
                    <a:pt x="49079" y="0"/>
                    <a:pt x="56956" y="0"/>
                  </a:cubicBezTo>
                  <a:cubicBezTo>
                    <a:pt x="72710" y="0"/>
                    <a:pt x="84828" y="3643"/>
                    <a:pt x="93311" y="11536"/>
                  </a:cubicBezTo>
                  <a:cubicBezTo>
                    <a:pt x="101794" y="19429"/>
                    <a:pt x="106641" y="28537"/>
                    <a:pt x="109065" y="38859"/>
                  </a:cubicBezTo>
                  <a:lnTo>
                    <a:pt x="90281" y="42502"/>
                  </a:lnTo>
                  <a:cubicBezTo>
                    <a:pt x="88464" y="36430"/>
                    <a:pt x="85434" y="30966"/>
                    <a:pt x="80587" y="26108"/>
                  </a:cubicBezTo>
                  <a:cubicBezTo>
                    <a:pt x="75740" y="21251"/>
                    <a:pt x="67863" y="18215"/>
                    <a:pt x="57562" y="18215"/>
                  </a:cubicBezTo>
                  <a:cubicBezTo>
                    <a:pt x="46050" y="18215"/>
                    <a:pt x="36961" y="22465"/>
                    <a:pt x="30296" y="30358"/>
                  </a:cubicBezTo>
                  <a:cubicBezTo>
                    <a:pt x="23631" y="38859"/>
                    <a:pt x="20601" y="49788"/>
                    <a:pt x="20601" y="63753"/>
                  </a:cubicBezTo>
                  <a:cubicBezTo>
                    <a:pt x="20601" y="77718"/>
                    <a:pt x="23631" y="88647"/>
                    <a:pt x="30296" y="97147"/>
                  </a:cubicBezTo>
                  <a:cubicBezTo>
                    <a:pt x="36355" y="105647"/>
                    <a:pt x="45444" y="109897"/>
                    <a:pt x="57562" y="109897"/>
                  </a:cubicBezTo>
                  <a:cubicBezTo>
                    <a:pt x="68469" y="109897"/>
                    <a:pt x="76345" y="107469"/>
                    <a:pt x="81193" y="102004"/>
                  </a:cubicBezTo>
                  <a:cubicBezTo>
                    <a:pt x="84828" y="97754"/>
                    <a:pt x="87858" y="92290"/>
                    <a:pt x="89676" y="86218"/>
                  </a:cubicBezTo>
                </a:path>
              </a:pathLst>
            </a:custGeom>
            <a:solidFill>
              <a:srgbClr val="7F8183"/>
            </a:solidFill>
            <a:ln w="6029" cap="flat">
              <a:noFill/>
              <a:prstDash val="solid"/>
              <a:miter/>
            </a:ln>
          </p:spPr>
          <p:txBody>
            <a:bodyPr rtlCol="0" anchor="ctr"/>
            <a:lstStyle/>
            <a:p>
              <a:endParaRPr lang="x-none" sz="1905"/>
            </a:p>
          </p:txBody>
        </p:sp>
        <p:sp>
          <p:nvSpPr>
            <p:cNvPr id="22" name="Freeform 21">
              <a:extLst>
                <a:ext uri="{FF2B5EF4-FFF2-40B4-BE49-F238E27FC236}">
                  <a16:creationId xmlns:a16="http://schemas.microsoft.com/office/drawing/2014/main" id="{58B60FAF-998A-D442-AE22-453AF7187B35}"/>
                </a:ext>
              </a:extLst>
            </p:cNvPr>
            <p:cNvSpPr/>
            <p:nvPr/>
          </p:nvSpPr>
          <p:spPr>
            <a:xfrm>
              <a:off x="1692887" y="5474639"/>
              <a:ext cx="110276" cy="123255"/>
            </a:xfrm>
            <a:custGeom>
              <a:avLst/>
              <a:gdLst>
                <a:gd name="connsiteX0" fmla="*/ 0 w 110276"/>
                <a:gd name="connsiteY0" fmla="*/ 19429 h 123255"/>
                <a:gd name="connsiteX1" fmla="*/ 0 w 110276"/>
                <a:gd name="connsiteY1" fmla="*/ 0 h 123255"/>
                <a:gd name="connsiteX2" fmla="*/ 110277 w 110276"/>
                <a:gd name="connsiteY2" fmla="*/ 0 h 123255"/>
                <a:gd name="connsiteX3" fmla="*/ 110277 w 110276"/>
                <a:gd name="connsiteY3" fmla="*/ 19429 h 123255"/>
                <a:gd name="connsiteX4" fmla="*/ 65439 w 110276"/>
                <a:gd name="connsiteY4" fmla="*/ 19429 h 123255"/>
                <a:gd name="connsiteX5" fmla="*/ 65439 w 110276"/>
                <a:gd name="connsiteY5" fmla="*/ 123255 h 123255"/>
                <a:gd name="connsiteX6" fmla="*/ 44838 w 110276"/>
                <a:gd name="connsiteY6" fmla="*/ 123255 h 123255"/>
                <a:gd name="connsiteX7" fmla="*/ 44838 w 110276"/>
                <a:gd name="connsiteY7" fmla="*/ 19429 h 12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276" h="123255">
                  <a:moveTo>
                    <a:pt x="0" y="19429"/>
                  </a:moveTo>
                  <a:lnTo>
                    <a:pt x="0" y="0"/>
                  </a:lnTo>
                  <a:lnTo>
                    <a:pt x="110277" y="0"/>
                  </a:lnTo>
                  <a:lnTo>
                    <a:pt x="110277" y="19429"/>
                  </a:lnTo>
                  <a:lnTo>
                    <a:pt x="65439" y="19429"/>
                  </a:lnTo>
                  <a:lnTo>
                    <a:pt x="65439" y="123255"/>
                  </a:lnTo>
                  <a:lnTo>
                    <a:pt x="44838" y="123255"/>
                  </a:lnTo>
                  <a:lnTo>
                    <a:pt x="44838" y="19429"/>
                  </a:lnTo>
                  <a:close/>
                </a:path>
              </a:pathLst>
            </a:custGeom>
            <a:solidFill>
              <a:srgbClr val="7F8183"/>
            </a:solidFill>
            <a:ln w="6029" cap="flat">
              <a:noFill/>
              <a:prstDash val="solid"/>
              <a:miter/>
            </a:ln>
          </p:spPr>
          <p:txBody>
            <a:bodyPr rtlCol="0" anchor="ctr"/>
            <a:lstStyle/>
            <a:p>
              <a:endParaRPr lang="x-none" sz="1905"/>
            </a:p>
          </p:txBody>
        </p:sp>
        <p:grpSp>
          <p:nvGrpSpPr>
            <p:cNvPr id="23" name="Graphic 11">
              <a:extLst>
                <a:ext uri="{FF2B5EF4-FFF2-40B4-BE49-F238E27FC236}">
                  <a16:creationId xmlns:a16="http://schemas.microsoft.com/office/drawing/2014/main" id="{2B14A07C-F107-AD4B-84D8-19021835B693}"/>
                </a:ext>
              </a:extLst>
            </p:cNvPr>
            <p:cNvGrpSpPr/>
            <p:nvPr/>
          </p:nvGrpSpPr>
          <p:grpSpPr>
            <a:xfrm>
              <a:off x="1828612" y="5472210"/>
              <a:ext cx="236913" cy="128719"/>
              <a:chOff x="1828612" y="5472210"/>
              <a:chExt cx="236913" cy="128719"/>
            </a:xfrm>
            <a:solidFill>
              <a:srgbClr val="CFD4D9"/>
            </a:solidFill>
          </p:grpSpPr>
          <p:sp>
            <p:nvSpPr>
              <p:cNvPr id="24" name="Freeform 23">
                <a:extLst>
                  <a:ext uri="{FF2B5EF4-FFF2-40B4-BE49-F238E27FC236}">
                    <a16:creationId xmlns:a16="http://schemas.microsoft.com/office/drawing/2014/main" id="{911FBB16-EF5A-FB41-8E03-3086A290846E}"/>
                  </a:ext>
                </a:extLst>
              </p:cNvPr>
              <p:cNvSpPr/>
              <p:nvPr/>
            </p:nvSpPr>
            <p:spPr>
              <a:xfrm>
                <a:off x="1828612" y="5474639"/>
                <a:ext cx="97552" cy="123862"/>
              </a:xfrm>
              <a:custGeom>
                <a:avLst/>
                <a:gdLst>
                  <a:gd name="connsiteX0" fmla="*/ 56350 w 97552"/>
                  <a:gd name="connsiteY0" fmla="*/ 69217 h 123862"/>
                  <a:gd name="connsiteX1" fmla="*/ 19995 w 97552"/>
                  <a:gd name="connsiteY1" fmla="*/ 69217 h 123862"/>
                  <a:gd name="connsiteX2" fmla="*/ 19995 w 97552"/>
                  <a:gd name="connsiteY2" fmla="*/ 105647 h 123862"/>
                  <a:gd name="connsiteX3" fmla="*/ 56350 w 97552"/>
                  <a:gd name="connsiteY3" fmla="*/ 105647 h 123862"/>
                  <a:gd name="connsiteX4" fmla="*/ 73316 w 97552"/>
                  <a:gd name="connsiteY4" fmla="*/ 100790 h 123862"/>
                  <a:gd name="connsiteX5" fmla="*/ 78163 w 97552"/>
                  <a:gd name="connsiteY5" fmla="*/ 87432 h 123862"/>
                  <a:gd name="connsiteX6" fmla="*/ 72710 w 97552"/>
                  <a:gd name="connsiteY6" fmla="*/ 73467 h 123862"/>
                  <a:gd name="connsiteX7" fmla="*/ 56350 w 97552"/>
                  <a:gd name="connsiteY7" fmla="*/ 69217 h 123862"/>
                  <a:gd name="connsiteX8" fmla="*/ 52715 w 97552"/>
                  <a:gd name="connsiteY8" fmla="*/ 17608 h 123862"/>
                  <a:gd name="connsiteX9" fmla="*/ 19995 w 97552"/>
                  <a:gd name="connsiteY9" fmla="*/ 17608 h 123862"/>
                  <a:gd name="connsiteX10" fmla="*/ 19995 w 97552"/>
                  <a:gd name="connsiteY10" fmla="*/ 52216 h 123862"/>
                  <a:gd name="connsiteX11" fmla="*/ 54533 w 97552"/>
                  <a:gd name="connsiteY11" fmla="*/ 52216 h 123862"/>
                  <a:gd name="connsiteX12" fmla="*/ 69680 w 97552"/>
                  <a:gd name="connsiteY12" fmla="*/ 47966 h 123862"/>
                  <a:gd name="connsiteX13" fmla="*/ 74528 w 97552"/>
                  <a:gd name="connsiteY13" fmla="*/ 34609 h 123862"/>
                  <a:gd name="connsiteX14" fmla="*/ 69680 w 97552"/>
                  <a:gd name="connsiteY14" fmla="*/ 21251 h 123862"/>
                  <a:gd name="connsiteX15" fmla="*/ 52715 w 97552"/>
                  <a:gd name="connsiteY15" fmla="*/ 17608 h 123862"/>
                  <a:gd name="connsiteX16" fmla="*/ 0 w 97552"/>
                  <a:gd name="connsiteY16" fmla="*/ 123255 h 123862"/>
                  <a:gd name="connsiteX17" fmla="*/ 0 w 97552"/>
                  <a:gd name="connsiteY17" fmla="*/ 0 h 123862"/>
                  <a:gd name="connsiteX18" fmla="*/ 52715 w 97552"/>
                  <a:gd name="connsiteY18" fmla="*/ 0 h 123862"/>
                  <a:gd name="connsiteX19" fmla="*/ 83616 w 97552"/>
                  <a:gd name="connsiteY19" fmla="*/ 8500 h 123862"/>
                  <a:gd name="connsiteX20" fmla="*/ 94523 w 97552"/>
                  <a:gd name="connsiteY20" fmla="*/ 33394 h 123862"/>
                  <a:gd name="connsiteX21" fmla="*/ 90888 w 97552"/>
                  <a:gd name="connsiteY21" fmla="*/ 47966 h 123862"/>
                  <a:gd name="connsiteX22" fmla="*/ 76951 w 97552"/>
                  <a:gd name="connsiteY22" fmla="*/ 59502 h 123862"/>
                  <a:gd name="connsiteX23" fmla="*/ 92705 w 97552"/>
                  <a:gd name="connsiteY23" fmla="*/ 70432 h 123862"/>
                  <a:gd name="connsiteX24" fmla="*/ 97552 w 97552"/>
                  <a:gd name="connsiteY24" fmla="*/ 88647 h 123862"/>
                  <a:gd name="connsiteX25" fmla="*/ 87858 w 97552"/>
                  <a:gd name="connsiteY25" fmla="*/ 114148 h 123862"/>
                  <a:gd name="connsiteX26" fmla="*/ 56350 w 97552"/>
                  <a:gd name="connsiteY26" fmla="*/ 123862 h 123862"/>
                  <a:gd name="connsiteX27" fmla="*/ 0 w 97552"/>
                  <a:gd name="connsiteY27" fmla="*/ 123862 h 123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7552" h="123862">
                    <a:moveTo>
                      <a:pt x="56350" y="69217"/>
                    </a:moveTo>
                    <a:lnTo>
                      <a:pt x="19995" y="69217"/>
                    </a:lnTo>
                    <a:lnTo>
                      <a:pt x="19995" y="105647"/>
                    </a:lnTo>
                    <a:lnTo>
                      <a:pt x="56350" y="105647"/>
                    </a:lnTo>
                    <a:cubicBezTo>
                      <a:pt x="64227" y="105647"/>
                      <a:pt x="69680" y="103826"/>
                      <a:pt x="73316" y="100790"/>
                    </a:cubicBezTo>
                    <a:cubicBezTo>
                      <a:pt x="76345" y="97754"/>
                      <a:pt x="78163" y="93504"/>
                      <a:pt x="78163" y="87432"/>
                    </a:cubicBezTo>
                    <a:cubicBezTo>
                      <a:pt x="78163" y="80753"/>
                      <a:pt x="76345" y="76503"/>
                      <a:pt x="72710" y="73467"/>
                    </a:cubicBezTo>
                    <a:cubicBezTo>
                      <a:pt x="69680" y="71039"/>
                      <a:pt x="64227" y="69217"/>
                      <a:pt x="56350" y="69217"/>
                    </a:cubicBezTo>
                    <a:moveTo>
                      <a:pt x="52715" y="17608"/>
                    </a:moveTo>
                    <a:lnTo>
                      <a:pt x="19995" y="17608"/>
                    </a:lnTo>
                    <a:lnTo>
                      <a:pt x="19995" y="52216"/>
                    </a:lnTo>
                    <a:lnTo>
                      <a:pt x="54533" y="52216"/>
                    </a:lnTo>
                    <a:cubicBezTo>
                      <a:pt x="61197" y="52216"/>
                      <a:pt x="66651" y="51002"/>
                      <a:pt x="69680" y="47966"/>
                    </a:cubicBezTo>
                    <a:cubicBezTo>
                      <a:pt x="73316" y="44930"/>
                      <a:pt x="74528" y="40680"/>
                      <a:pt x="74528" y="34609"/>
                    </a:cubicBezTo>
                    <a:cubicBezTo>
                      <a:pt x="74528" y="28537"/>
                      <a:pt x="72710" y="24287"/>
                      <a:pt x="69680" y="21251"/>
                    </a:cubicBezTo>
                    <a:cubicBezTo>
                      <a:pt x="67257" y="19429"/>
                      <a:pt x="61197" y="17608"/>
                      <a:pt x="52715" y="17608"/>
                    </a:cubicBezTo>
                    <a:moveTo>
                      <a:pt x="0" y="123255"/>
                    </a:moveTo>
                    <a:lnTo>
                      <a:pt x="0" y="0"/>
                    </a:lnTo>
                    <a:lnTo>
                      <a:pt x="52715" y="0"/>
                    </a:lnTo>
                    <a:cubicBezTo>
                      <a:pt x="66045" y="0"/>
                      <a:pt x="76345" y="3036"/>
                      <a:pt x="83616" y="8500"/>
                    </a:cubicBezTo>
                    <a:cubicBezTo>
                      <a:pt x="90888" y="13965"/>
                      <a:pt x="94523" y="22465"/>
                      <a:pt x="94523" y="33394"/>
                    </a:cubicBezTo>
                    <a:cubicBezTo>
                      <a:pt x="94523" y="38252"/>
                      <a:pt x="93311" y="43109"/>
                      <a:pt x="90888" y="47966"/>
                    </a:cubicBezTo>
                    <a:cubicBezTo>
                      <a:pt x="88464" y="52824"/>
                      <a:pt x="84222" y="57074"/>
                      <a:pt x="76951" y="59502"/>
                    </a:cubicBezTo>
                    <a:cubicBezTo>
                      <a:pt x="84222" y="61931"/>
                      <a:pt x="89676" y="65574"/>
                      <a:pt x="92705" y="70432"/>
                    </a:cubicBezTo>
                    <a:cubicBezTo>
                      <a:pt x="95735" y="75289"/>
                      <a:pt x="97552" y="81361"/>
                      <a:pt x="97552" y="88647"/>
                    </a:cubicBezTo>
                    <a:cubicBezTo>
                      <a:pt x="97552" y="98968"/>
                      <a:pt x="94523" y="107469"/>
                      <a:pt x="87858" y="114148"/>
                    </a:cubicBezTo>
                    <a:cubicBezTo>
                      <a:pt x="81193" y="120219"/>
                      <a:pt x="70892" y="123862"/>
                      <a:pt x="56350" y="123862"/>
                    </a:cubicBezTo>
                    <a:lnTo>
                      <a:pt x="0" y="123862"/>
                    </a:lnTo>
                    <a:close/>
                  </a:path>
                </a:pathLst>
              </a:custGeom>
              <a:solidFill>
                <a:srgbClr val="7F8183"/>
              </a:solidFill>
              <a:ln w="6029" cap="flat">
                <a:noFill/>
                <a:prstDash val="solid"/>
                <a:miter/>
              </a:ln>
            </p:spPr>
            <p:txBody>
              <a:bodyPr rtlCol="0" anchor="ctr"/>
              <a:lstStyle/>
              <a:p>
                <a:endParaRPr lang="x-none" sz="1905"/>
              </a:p>
            </p:txBody>
          </p:sp>
          <p:sp>
            <p:nvSpPr>
              <p:cNvPr id="25" name="Freeform 24">
                <a:extLst>
                  <a:ext uri="{FF2B5EF4-FFF2-40B4-BE49-F238E27FC236}">
                    <a16:creationId xmlns:a16="http://schemas.microsoft.com/office/drawing/2014/main" id="{626244B5-8B67-EA45-93EB-FAC2151D4D70}"/>
                  </a:ext>
                </a:extLst>
              </p:cNvPr>
              <p:cNvSpPr/>
              <p:nvPr/>
            </p:nvSpPr>
            <p:spPr>
              <a:xfrm>
                <a:off x="1949795" y="5472210"/>
                <a:ext cx="115729" cy="128719"/>
              </a:xfrm>
              <a:custGeom>
                <a:avLst/>
                <a:gdLst>
                  <a:gd name="connsiteX0" fmla="*/ 58774 w 115729"/>
                  <a:gd name="connsiteY0" fmla="*/ 109898 h 128719"/>
                  <a:gd name="connsiteX1" fmla="*/ 86646 w 115729"/>
                  <a:gd name="connsiteY1" fmla="*/ 97754 h 128719"/>
                  <a:gd name="connsiteX2" fmla="*/ 95735 w 115729"/>
                  <a:gd name="connsiteY2" fmla="*/ 63753 h 128719"/>
                  <a:gd name="connsiteX3" fmla="*/ 86646 w 115729"/>
                  <a:gd name="connsiteY3" fmla="*/ 29751 h 128719"/>
                  <a:gd name="connsiteX4" fmla="*/ 58774 w 115729"/>
                  <a:gd name="connsiteY4" fmla="*/ 17608 h 128719"/>
                  <a:gd name="connsiteX5" fmla="*/ 30902 w 115729"/>
                  <a:gd name="connsiteY5" fmla="*/ 29751 h 128719"/>
                  <a:gd name="connsiteX6" fmla="*/ 21207 w 115729"/>
                  <a:gd name="connsiteY6" fmla="*/ 63753 h 128719"/>
                  <a:gd name="connsiteX7" fmla="*/ 31508 w 115729"/>
                  <a:gd name="connsiteY7" fmla="*/ 97754 h 128719"/>
                  <a:gd name="connsiteX8" fmla="*/ 58774 w 115729"/>
                  <a:gd name="connsiteY8" fmla="*/ 109898 h 128719"/>
                  <a:gd name="connsiteX9" fmla="*/ 58774 w 115729"/>
                  <a:gd name="connsiteY9" fmla="*/ 128720 h 128719"/>
                  <a:gd name="connsiteX10" fmla="*/ 35143 w 115729"/>
                  <a:gd name="connsiteY10" fmla="*/ 124470 h 128719"/>
                  <a:gd name="connsiteX11" fmla="*/ 16360 w 115729"/>
                  <a:gd name="connsiteY11" fmla="*/ 112326 h 128719"/>
                  <a:gd name="connsiteX12" fmla="*/ 4241 w 115729"/>
                  <a:gd name="connsiteY12" fmla="*/ 91683 h 128719"/>
                  <a:gd name="connsiteX13" fmla="*/ 0 w 115729"/>
                  <a:gd name="connsiteY13" fmla="*/ 64360 h 128719"/>
                  <a:gd name="connsiteX14" fmla="*/ 16360 w 115729"/>
                  <a:gd name="connsiteY14" fmla="*/ 17001 h 128719"/>
                  <a:gd name="connsiteX15" fmla="*/ 58774 w 115729"/>
                  <a:gd name="connsiteY15" fmla="*/ 0 h 128719"/>
                  <a:gd name="connsiteX16" fmla="*/ 99976 w 115729"/>
                  <a:gd name="connsiteY16" fmla="*/ 17001 h 128719"/>
                  <a:gd name="connsiteX17" fmla="*/ 115730 w 115729"/>
                  <a:gd name="connsiteY17" fmla="*/ 64360 h 128719"/>
                  <a:gd name="connsiteX18" fmla="*/ 99976 w 115729"/>
                  <a:gd name="connsiteY18" fmla="*/ 111719 h 128719"/>
                  <a:gd name="connsiteX19" fmla="*/ 58774 w 115729"/>
                  <a:gd name="connsiteY19" fmla="*/ 128720 h 12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5729" h="128719">
                    <a:moveTo>
                      <a:pt x="58774" y="109898"/>
                    </a:moveTo>
                    <a:cubicBezTo>
                      <a:pt x="70892" y="109898"/>
                      <a:pt x="79981" y="105647"/>
                      <a:pt x="86646" y="97754"/>
                    </a:cubicBezTo>
                    <a:cubicBezTo>
                      <a:pt x="92705" y="89254"/>
                      <a:pt x="95735" y="78325"/>
                      <a:pt x="95735" y="63753"/>
                    </a:cubicBezTo>
                    <a:cubicBezTo>
                      <a:pt x="95735" y="49181"/>
                      <a:pt x="92705" y="38252"/>
                      <a:pt x="86646" y="29751"/>
                    </a:cubicBezTo>
                    <a:cubicBezTo>
                      <a:pt x="80587" y="21858"/>
                      <a:pt x="71498" y="17608"/>
                      <a:pt x="58774" y="17608"/>
                    </a:cubicBezTo>
                    <a:cubicBezTo>
                      <a:pt x="46655" y="17608"/>
                      <a:pt x="37567" y="21858"/>
                      <a:pt x="30902" y="29751"/>
                    </a:cubicBezTo>
                    <a:cubicBezTo>
                      <a:pt x="24237" y="37644"/>
                      <a:pt x="21207" y="49181"/>
                      <a:pt x="21207" y="63753"/>
                    </a:cubicBezTo>
                    <a:cubicBezTo>
                      <a:pt x="21207" y="78325"/>
                      <a:pt x="24842" y="89254"/>
                      <a:pt x="31508" y="97754"/>
                    </a:cubicBezTo>
                    <a:cubicBezTo>
                      <a:pt x="37567" y="106255"/>
                      <a:pt x="46655" y="109898"/>
                      <a:pt x="58774" y="109898"/>
                    </a:cubicBezTo>
                    <a:moveTo>
                      <a:pt x="58774" y="128720"/>
                    </a:moveTo>
                    <a:cubicBezTo>
                      <a:pt x="50291" y="128720"/>
                      <a:pt x="42414" y="127505"/>
                      <a:pt x="35143" y="124470"/>
                    </a:cubicBezTo>
                    <a:cubicBezTo>
                      <a:pt x="27872" y="121434"/>
                      <a:pt x="21813" y="117184"/>
                      <a:pt x="16360" y="112326"/>
                    </a:cubicBezTo>
                    <a:cubicBezTo>
                      <a:pt x="11512" y="106862"/>
                      <a:pt x="7271" y="100183"/>
                      <a:pt x="4241" y="91683"/>
                    </a:cubicBezTo>
                    <a:cubicBezTo>
                      <a:pt x="1212" y="83789"/>
                      <a:pt x="0" y="74682"/>
                      <a:pt x="0" y="64360"/>
                    </a:cubicBezTo>
                    <a:cubicBezTo>
                      <a:pt x="0" y="43716"/>
                      <a:pt x="5453" y="27930"/>
                      <a:pt x="16360" y="17001"/>
                    </a:cubicBezTo>
                    <a:cubicBezTo>
                      <a:pt x="27266" y="6072"/>
                      <a:pt x="41202" y="0"/>
                      <a:pt x="58774" y="0"/>
                    </a:cubicBezTo>
                    <a:cubicBezTo>
                      <a:pt x="75740" y="0"/>
                      <a:pt x="89676" y="5465"/>
                      <a:pt x="99976" y="17001"/>
                    </a:cubicBezTo>
                    <a:cubicBezTo>
                      <a:pt x="110277" y="27930"/>
                      <a:pt x="115730" y="43716"/>
                      <a:pt x="115730" y="64360"/>
                    </a:cubicBezTo>
                    <a:cubicBezTo>
                      <a:pt x="115730" y="84396"/>
                      <a:pt x="110277" y="100183"/>
                      <a:pt x="99976" y="111719"/>
                    </a:cubicBezTo>
                    <a:cubicBezTo>
                      <a:pt x="89070" y="122648"/>
                      <a:pt x="75740" y="128720"/>
                      <a:pt x="58774" y="128720"/>
                    </a:cubicBezTo>
                  </a:path>
                </a:pathLst>
              </a:custGeom>
              <a:solidFill>
                <a:srgbClr val="7F8183"/>
              </a:solidFill>
              <a:ln w="6029" cap="flat">
                <a:noFill/>
                <a:prstDash val="solid"/>
                <a:miter/>
              </a:ln>
            </p:spPr>
            <p:txBody>
              <a:bodyPr rtlCol="0" anchor="ctr"/>
              <a:lstStyle/>
              <a:p>
                <a:endParaRPr lang="x-none" sz="1905"/>
              </a:p>
            </p:txBody>
          </p:sp>
        </p:grpSp>
        <p:sp>
          <p:nvSpPr>
            <p:cNvPr id="26" name="Freeform 25">
              <a:extLst>
                <a:ext uri="{FF2B5EF4-FFF2-40B4-BE49-F238E27FC236}">
                  <a16:creationId xmlns:a16="http://schemas.microsoft.com/office/drawing/2014/main" id="{997DB53A-131F-8C49-BE87-A3BA6189EB68}"/>
                </a:ext>
              </a:extLst>
            </p:cNvPr>
            <p:cNvSpPr/>
            <p:nvPr/>
          </p:nvSpPr>
          <p:spPr>
            <a:xfrm>
              <a:off x="368960" y="5739365"/>
              <a:ext cx="103611" cy="123255"/>
            </a:xfrm>
            <a:custGeom>
              <a:avLst/>
              <a:gdLst>
                <a:gd name="connsiteX0" fmla="*/ 0 w 103611"/>
                <a:gd name="connsiteY0" fmla="*/ 123255 h 123255"/>
                <a:gd name="connsiteX1" fmla="*/ 0 w 103611"/>
                <a:gd name="connsiteY1" fmla="*/ 0 h 123255"/>
                <a:gd name="connsiteX2" fmla="*/ 103612 w 103611"/>
                <a:gd name="connsiteY2" fmla="*/ 0 h 123255"/>
                <a:gd name="connsiteX3" fmla="*/ 103612 w 103611"/>
                <a:gd name="connsiteY3" fmla="*/ 123255 h 123255"/>
                <a:gd name="connsiteX4" fmla="*/ 83011 w 103611"/>
                <a:gd name="connsiteY4" fmla="*/ 123255 h 123255"/>
                <a:gd name="connsiteX5" fmla="*/ 83011 w 103611"/>
                <a:gd name="connsiteY5" fmla="*/ 19429 h 123255"/>
                <a:gd name="connsiteX6" fmla="*/ 19995 w 103611"/>
                <a:gd name="connsiteY6" fmla="*/ 19429 h 123255"/>
                <a:gd name="connsiteX7" fmla="*/ 19995 w 103611"/>
                <a:gd name="connsiteY7" fmla="*/ 123255 h 12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611" h="123255">
                  <a:moveTo>
                    <a:pt x="0" y="123255"/>
                  </a:moveTo>
                  <a:lnTo>
                    <a:pt x="0" y="0"/>
                  </a:lnTo>
                  <a:lnTo>
                    <a:pt x="103612" y="0"/>
                  </a:lnTo>
                  <a:lnTo>
                    <a:pt x="103612" y="123255"/>
                  </a:lnTo>
                  <a:lnTo>
                    <a:pt x="83011" y="123255"/>
                  </a:lnTo>
                  <a:lnTo>
                    <a:pt x="83011" y="19429"/>
                  </a:lnTo>
                  <a:lnTo>
                    <a:pt x="19995" y="19429"/>
                  </a:lnTo>
                  <a:lnTo>
                    <a:pt x="19995" y="123255"/>
                  </a:lnTo>
                  <a:close/>
                </a:path>
              </a:pathLst>
            </a:custGeom>
            <a:solidFill>
              <a:srgbClr val="7F8183"/>
            </a:solidFill>
            <a:ln w="6029" cap="flat">
              <a:noFill/>
              <a:prstDash val="solid"/>
              <a:miter/>
            </a:ln>
          </p:spPr>
          <p:txBody>
            <a:bodyPr rtlCol="0" anchor="ctr"/>
            <a:lstStyle/>
            <a:p>
              <a:endParaRPr lang="x-none" sz="1905"/>
            </a:p>
          </p:txBody>
        </p:sp>
        <p:grpSp>
          <p:nvGrpSpPr>
            <p:cNvPr id="27" name="Graphic 11">
              <a:extLst>
                <a:ext uri="{FF2B5EF4-FFF2-40B4-BE49-F238E27FC236}">
                  <a16:creationId xmlns:a16="http://schemas.microsoft.com/office/drawing/2014/main" id="{2B14A07C-F107-AD4B-84D8-19021835B693}"/>
                </a:ext>
              </a:extLst>
            </p:cNvPr>
            <p:cNvGrpSpPr/>
            <p:nvPr/>
          </p:nvGrpSpPr>
          <p:grpSpPr>
            <a:xfrm>
              <a:off x="510744" y="5736329"/>
              <a:ext cx="528358" cy="176686"/>
              <a:chOff x="510744" y="5736329"/>
              <a:chExt cx="528358" cy="176686"/>
            </a:xfrm>
            <a:solidFill>
              <a:srgbClr val="CFD4D9"/>
            </a:solidFill>
          </p:grpSpPr>
          <p:sp>
            <p:nvSpPr>
              <p:cNvPr id="28" name="Freeform 27">
                <a:extLst>
                  <a:ext uri="{FF2B5EF4-FFF2-40B4-BE49-F238E27FC236}">
                    <a16:creationId xmlns:a16="http://schemas.microsoft.com/office/drawing/2014/main" id="{A249D0CB-EE4B-3E45-8696-08D1A154EDB4}"/>
                  </a:ext>
                </a:extLst>
              </p:cNvPr>
              <p:cNvSpPr/>
              <p:nvPr/>
            </p:nvSpPr>
            <p:spPr>
              <a:xfrm>
                <a:off x="510744" y="5736329"/>
                <a:ext cx="116335" cy="176686"/>
              </a:xfrm>
              <a:custGeom>
                <a:avLst/>
                <a:gdLst>
                  <a:gd name="connsiteX0" fmla="*/ 20601 w 116335"/>
                  <a:gd name="connsiteY0" fmla="*/ 74682 h 176686"/>
                  <a:gd name="connsiteX1" fmla="*/ 32114 w 116335"/>
                  <a:gd name="connsiteY1" fmla="*/ 100790 h 176686"/>
                  <a:gd name="connsiteX2" fmla="*/ 59380 w 116335"/>
                  <a:gd name="connsiteY2" fmla="*/ 110505 h 176686"/>
                  <a:gd name="connsiteX3" fmla="*/ 86040 w 116335"/>
                  <a:gd name="connsiteY3" fmla="*/ 97754 h 176686"/>
                  <a:gd name="connsiteX4" fmla="*/ 95735 w 116335"/>
                  <a:gd name="connsiteY4" fmla="*/ 63753 h 176686"/>
                  <a:gd name="connsiteX5" fmla="*/ 86040 w 116335"/>
                  <a:gd name="connsiteY5" fmla="*/ 30966 h 176686"/>
                  <a:gd name="connsiteX6" fmla="*/ 58774 w 116335"/>
                  <a:gd name="connsiteY6" fmla="*/ 18215 h 176686"/>
                  <a:gd name="connsiteX7" fmla="*/ 44838 w 116335"/>
                  <a:gd name="connsiteY7" fmla="*/ 20644 h 176686"/>
                  <a:gd name="connsiteX8" fmla="*/ 32719 w 116335"/>
                  <a:gd name="connsiteY8" fmla="*/ 28537 h 176686"/>
                  <a:gd name="connsiteX9" fmla="*/ 24237 w 116335"/>
                  <a:gd name="connsiteY9" fmla="*/ 41287 h 176686"/>
                  <a:gd name="connsiteX10" fmla="*/ 21207 w 116335"/>
                  <a:gd name="connsiteY10" fmla="*/ 58895 h 176686"/>
                  <a:gd name="connsiteX11" fmla="*/ 21207 w 116335"/>
                  <a:gd name="connsiteY11" fmla="*/ 74682 h 176686"/>
                  <a:gd name="connsiteX12" fmla="*/ 0 w 116335"/>
                  <a:gd name="connsiteY12" fmla="*/ 176686 h 176686"/>
                  <a:gd name="connsiteX13" fmla="*/ 0 w 116335"/>
                  <a:gd name="connsiteY13" fmla="*/ 3036 h 176686"/>
                  <a:gd name="connsiteX14" fmla="*/ 20601 w 116335"/>
                  <a:gd name="connsiteY14" fmla="*/ 3036 h 176686"/>
                  <a:gd name="connsiteX15" fmla="*/ 20601 w 116335"/>
                  <a:gd name="connsiteY15" fmla="*/ 19429 h 176686"/>
                  <a:gd name="connsiteX16" fmla="*/ 38779 w 116335"/>
                  <a:gd name="connsiteY16" fmla="*/ 4857 h 176686"/>
                  <a:gd name="connsiteX17" fmla="*/ 62409 w 116335"/>
                  <a:gd name="connsiteY17" fmla="*/ 0 h 176686"/>
                  <a:gd name="connsiteX18" fmla="*/ 83616 w 116335"/>
                  <a:gd name="connsiteY18" fmla="*/ 4250 h 176686"/>
                  <a:gd name="connsiteX19" fmla="*/ 100582 w 116335"/>
                  <a:gd name="connsiteY19" fmla="*/ 16394 h 176686"/>
                  <a:gd name="connsiteX20" fmla="*/ 112094 w 116335"/>
                  <a:gd name="connsiteY20" fmla="*/ 36430 h 176686"/>
                  <a:gd name="connsiteX21" fmla="*/ 116336 w 116335"/>
                  <a:gd name="connsiteY21" fmla="*/ 63753 h 176686"/>
                  <a:gd name="connsiteX22" fmla="*/ 100582 w 116335"/>
                  <a:gd name="connsiteY22" fmla="*/ 111719 h 176686"/>
                  <a:gd name="connsiteX23" fmla="*/ 58774 w 116335"/>
                  <a:gd name="connsiteY23" fmla="*/ 129327 h 176686"/>
                  <a:gd name="connsiteX24" fmla="*/ 36961 w 116335"/>
                  <a:gd name="connsiteY24" fmla="*/ 125077 h 176686"/>
                  <a:gd name="connsiteX25" fmla="*/ 20601 w 116335"/>
                  <a:gd name="connsiteY25" fmla="*/ 112933 h 176686"/>
                  <a:gd name="connsiteX26" fmla="*/ 20601 w 116335"/>
                  <a:gd name="connsiteY26" fmla="*/ 176686 h 176686"/>
                  <a:gd name="connsiteX27" fmla="*/ 0 w 116335"/>
                  <a:gd name="connsiteY27" fmla="*/ 176686 h 17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6335" h="176686">
                    <a:moveTo>
                      <a:pt x="20601" y="74682"/>
                    </a:moveTo>
                    <a:cubicBezTo>
                      <a:pt x="20601" y="86218"/>
                      <a:pt x="24237" y="94718"/>
                      <a:pt x="32114" y="100790"/>
                    </a:cubicBezTo>
                    <a:cubicBezTo>
                      <a:pt x="39990" y="106862"/>
                      <a:pt x="49079" y="110505"/>
                      <a:pt x="59380" y="110505"/>
                    </a:cubicBezTo>
                    <a:cubicBezTo>
                      <a:pt x="70892" y="110505"/>
                      <a:pt x="79375" y="106255"/>
                      <a:pt x="86040" y="97754"/>
                    </a:cubicBezTo>
                    <a:cubicBezTo>
                      <a:pt x="92705" y="89254"/>
                      <a:pt x="95735" y="78325"/>
                      <a:pt x="95735" y="63753"/>
                    </a:cubicBezTo>
                    <a:cubicBezTo>
                      <a:pt x="95735" y="50395"/>
                      <a:pt x="92705" y="39466"/>
                      <a:pt x="86040" y="30966"/>
                    </a:cubicBezTo>
                    <a:cubicBezTo>
                      <a:pt x="79375" y="22465"/>
                      <a:pt x="70286" y="18215"/>
                      <a:pt x="58774" y="18215"/>
                    </a:cubicBezTo>
                    <a:cubicBezTo>
                      <a:pt x="53927" y="18215"/>
                      <a:pt x="49079" y="18822"/>
                      <a:pt x="44838" y="20644"/>
                    </a:cubicBezTo>
                    <a:cubicBezTo>
                      <a:pt x="40596" y="22465"/>
                      <a:pt x="36355" y="24894"/>
                      <a:pt x="32719" y="28537"/>
                    </a:cubicBezTo>
                    <a:cubicBezTo>
                      <a:pt x="29084" y="32180"/>
                      <a:pt x="26054" y="36430"/>
                      <a:pt x="24237" y="41287"/>
                    </a:cubicBezTo>
                    <a:cubicBezTo>
                      <a:pt x="21813" y="46752"/>
                      <a:pt x="21207" y="52217"/>
                      <a:pt x="21207" y="58895"/>
                    </a:cubicBezTo>
                    <a:lnTo>
                      <a:pt x="21207" y="74682"/>
                    </a:lnTo>
                    <a:close/>
                    <a:moveTo>
                      <a:pt x="0" y="176686"/>
                    </a:moveTo>
                    <a:lnTo>
                      <a:pt x="0" y="3036"/>
                    </a:lnTo>
                    <a:lnTo>
                      <a:pt x="20601" y="3036"/>
                    </a:lnTo>
                    <a:lnTo>
                      <a:pt x="20601" y="19429"/>
                    </a:lnTo>
                    <a:cubicBezTo>
                      <a:pt x="24843" y="12751"/>
                      <a:pt x="30902" y="8500"/>
                      <a:pt x="38779" y="4857"/>
                    </a:cubicBezTo>
                    <a:cubicBezTo>
                      <a:pt x="46050" y="1822"/>
                      <a:pt x="53927" y="0"/>
                      <a:pt x="62409" y="0"/>
                    </a:cubicBezTo>
                    <a:cubicBezTo>
                      <a:pt x="69680" y="0"/>
                      <a:pt x="76951" y="1214"/>
                      <a:pt x="83616" y="4250"/>
                    </a:cubicBezTo>
                    <a:cubicBezTo>
                      <a:pt x="90281" y="6679"/>
                      <a:pt x="95735" y="10929"/>
                      <a:pt x="100582" y="16394"/>
                    </a:cubicBezTo>
                    <a:cubicBezTo>
                      <a:pt x="105429" y="21858"/>
                      <a:pt x="109671" y="28537"/>
                      <a:pt x="112094" y="36430"/>
                    </a:cubicBezTo>
                    <a:cubicBezTo>
                      <a:pt x="115124" y="44323"/>
                      <a:pt x="116336" y="53431"/>
                      <a:pt x="116336" y="63753"/>
                    </a:cubicBezTo>
                    <a:cubicBezTo>
                      <a:pt x="116336" y="84396"/>
                      <a:pt x="110883" y="100183"/>
                      <a:pt x="100582" y="111719"/>
                    </a:cubicBezTo>
                    <a:cubicBezTo>
                      <a:pt x="90281" y="123255"/>
                      <a:pt x="76345" y="129327"/>
                      <a:pt x="58774" y="129327"/>
                    </a:cubicBezTo>
                    <a:cubicBezTo>
                      <a:pt x="50897" y="129327"/>
                      <a:pt x="43626" y="128113"/>
                      <a:pt x="36961" y="125077"/>
                    </a:cubicBezTo>
                    <a:cubicBezTo>
                      <a:pt x="30296" y="122041"/>
                      <a:pt x="24843" y="118398"/>
                      <a:pt x="20601" y="112933"/>
                    </a:cubicBezTo>
                    <a:lnTo>
                      <a:pt x="20601" y="176686"/>
                    </a:lnTo>
                    <a:lnTo>
                      <a:pt x="0" y="176686"/>
                    </a:lnTo>
                    <a:close/>
                  </a:path>
                </a:pathLst>
              </a:custGeom>
              <a:solidFill>
                <a:srgbClr val="7F8183"/>
              </a:solidFill>
              <a:ln w="6029" cap="flat">
                <a:noFill/>
                <a:prstDash val="solid"/>
                <a:miter/>
              </a:ln>
            </p:spPr>
            <p:txBody>
              <a:bodyPr rtlCol="0" anchor="ctr"/>
              <a:lstStyle/>
              <a:p>
                <a:endParaRPr lang="x-none" sz="1905"/>
              </a:p>
            </p:txBody>
          </p:sp>
          <p:sp>
            <p:nvSpPr>
              <p:cNvPr id="29" name="Freeform 28">
                <a:extLst>
                  <a:ext uri="{FF2B5EF4-FFF2-40B4-BE49-F238E27FC236}">
                    <a16:creationId xmlns:a16="http://schemas.microsoft.com/office/drawing/2014/main" id="{A0238FBC-0874-684E-AFE4-D967BC9CEF5B}"/>
                  </a:ext>
                </a:extLst>
              </p:cNvPr>
              <p:cNvSpPr/>
              <p:nvPr/>
            </p:nvSpPr>
            <p:spPr>
              <a:xfrm>
                <a:off x="650711" y="5736936"/>
                <a:ext cx="115730" cy="128719"/>
              </a:xfrm>
              <a:custGeom>
                <a:avLst/>
                <a:gdLst>
                  <a:gd name="connsiteX0" fmla="*/ 58774 w 115730"/>
                  <a:gd name="connsiteY0" fmla="*/ 109897 h 128719"/>
                  <a:gd name="connsiteX1" fmla="*/ 86646 w 115730"/>
                  <a:gd name="connsiteY1" fmla="*/ 97754 h 128719"/>
                  <a:gd name="connsiteX2" fmla="*/ 95735 w 115730"/>
                  <a:gd name="connsiteY2" fmla="*/ 63753 h 128719"/>
                  <a:gd name="connsiteX3" fmla="*/ 86646 w 115730"/>
                  <a:gd name="connsiteY3" fmla="*/ 29751 h 128719"/>
                  <a:gd name="connsiteX4" fmla="*/ 58774 w 115730"/>
                  <a:gd name="connsiteY4" fmla="*/ 17608 h 128719"/>
                  <a:gd name="connsiteX5" fmla="*/ 30902 w 115730"/>
                  <a:gd name="connsiteY5" fmla="*/ 29751 h 128719"/>
                  <a:gd name="connsiteX6" fmla="*/ 21207 w 115730"/>
                  <a:gd name="connsiteY6" fmla="*/ 63753 h 128719"/>
                  <a:gd name="connsiteX7" fmla="*/ 31508 w 115730"/>
                  <a:gd name="connsiteY7" fmla="*/ 97754 h 128719"/>
                  <a:gd name="connsiteX8" fmla="*/ 58774 w 115730"/>
                  <a:gd name="connsiteY8" fmla="*/ 109897 h 128719"/>
                  <a:gd name="connsiteX9" fmla="*/ 58774 w 115730"/>
                  <a:gd name="connsiteY9" fmla="*/ 128720 h 128719"/>
                  <a:gd name="connsiteX10" fmla="*/ 35143 w 115730"/>
                  <a:gd name="connsiteY10" fmla="*/ 124470 h 128719"/>
                  <a:gd name="connsiteX11" fmla="*/ 16360 w 115730"/>
                  <a:gd name="connsiteY11" fmla="*/ 112326 h 128719"/>
                  <a:gd name="connsiteX12" fmla="*/ 4241 w 115730"/>
                  <a:gd name="connsiteY12" fmla="*/ 91682 h 128719"/>
                  <a:gd name="connsiteX13" fmla="*/ 0 w 115730"/>
                  <a:gd name="connsiteY13" fmla="*/ 64360 h 128719"/>
                  <a:gd name="connsiteX14" fmla="*/ 16360 w 115730"/>
                  <a:gd name="connsiteY14" fmla="*/ 17001 h 128719"/>
                  <a:gd name="connsiteX15" fmla="*/ 58774 w 115730"/>
                  <a:gd name="connsiteY15" fmla="*/ 0 h 128719"/>
                  <a:gd name="connsiteX16" fmla="*/ 99976 w 115730"/>
                  <a:gd name="connsiteY16" fmla="*/ 17001 h 128719"/>
                  <a:gd name="connsiteX17" fmla="*/ 115730 w 115730"/>
                  <a:gd name="connsiteY17" fmla="*/ 64360 h 128719"/>
                  <a:gd name="connsiteX18" fmla="*/ 99976 w 115730"/>
                  <a:gd name="connsiteY18" fmla="*/ 111719 h 128719"/>
                  <a:gd name="connsiteX19" fmla="*/ 58774 w 115730"/>
                  <a:gd name="connsiteY19" fmla="*/ 128720 h 12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5730" h="128719">
                    <a:moveTo>
                      <a:pt x="58774" y="109897"/>
                    </a:moveTo>
                    <a:cubicBezTo>
                      <a:pt x="70892" y="109897"/>
                      <a:pt x="79981" y="105647"/>
                      <a:pt x="86646" y="97754"/>
                    </a:cubicBezTo>
                    <a:cubicBezTo>
                      <a:pt x="92705" y="89254"/>
                      <a:pt x="95735" y="78325"/>
                      <a:pt x="95735" y="63753"/>
                    </a:cubicBezTo>
                    <a:cubicBezTo>
                      <a:pt x="95735" y="49181"/>
                      <a:pt x="92705" y="38252"/>
                      <a:pt x="86646" y="29751"/>
                    </a:cubicBezTo>
                    <a:cubicBezTo>
                      <a:pt x="80587" y="21858"/>
                      <a:pt x="71498" y="17608"/>
                      <a:pt x="58774" y="17608"/>
                    </a:cubicBezTo>
                    <a:cubicBezTo>
                      <a:pt x="46656" y="17608"/>
                      <a:pt x="37567" y="21858"/>
                      <a:pt x="30902" y="29751"/>
                    </a:cubicBezTo>
                    <a:cubicBezTo>
                      <a:pt x="24237" y="37644"/>
                      <a:pt x="21207" y="49181"/>
                      <a:pt x="21207" y="63753"/>
                    </a:cubicBezTo>
                    <a:cubicBezTo>
                      <a:pt x="21207" y="78325"/>
                      <a:pt x="24843" y="89254"/>
                      <a:pt x="31508" y="97754"/>
                    </a:cubicBezTo>
                    <a:cubicBezTo>
                      <a:pt x="37567" y="106255"/>
                      <a:pt x="47261" y="109897"/>
                      <a:pt x="58774" y="109897"/>
                    </a:cubicBezTo>
                    <a:moveTo>
                      <a:pt x="58774" y="128720"/>
                    </a:moveTo>
                    <a:cubicBezTo>
                      <a:pt x="50291" y="128720"/>
                      <a:pt x="42414" y="127505"/>
                      <a:pt x="35143" y="124470"/>
                    </a:cubicBezTo>
                    <a:cubicBezTo>
                      <a:pt x="27872" y="121434"/>
                      <a:pt x="21813" y="117184"/>
                      <a:pt x="16360" y="112326"/>
                    </a:cubicBezTo>
                    <a:cubicBezTo>
                      <a:pt x="11512" y="106862"/>
                      <a:pt x="7271" y="100183"/>
                      <a:pt x="4241" y="91682"/>
                    </a:cubicBezTo>
                    <a:cubicBezTo>
                      <a:pt x="1212" y="83789"/>
                      <a:pt x="0" y="74075"/>
                      <a:pt x="0" y="64360"/>
                    </a:cubicBezTo>
                    <a:cubicBezTo>
                      <a:pt x="0" y="43716"/>
                      <a:pt x="5453" y="27930"/>
                      <a:pt x="16360" y="17001"/>
                    </a:cubicBezTo>
                    <a:cubicBezTo>
                      <a:pt x="27266" y="6072"/>
                      <a:pt x="41202" y="0"/>
                      <a:pt x="58774" y="0"/>
                    </a:cubicBezTo>
                    <a:cubicBezTo>
                      <a:pt x="75740" y="0"/>
                      <a:pt x="89676" y="5464"/>
                      <a:pt x="99976" y="17001"/>
                    </a:cubicBezTo>
                    <a:cubicBezTo>
                      <a:pt x="110277" y="27930"/>
                      <a:pt x="115730" y="43716"/>
                      <a:pt x="115730" y="64360"/>
                    </a:cubicBezTo>
                    <a:cubicBezTo>
                      <a:pt x="115730" y="84396"/>
                      <a:pt x="110277" y="100183"/>
                      <a:pt x="99976" y="111719"/>
                    </a:cubicBezTo>
                    <a:cubicBezTo>
                      <a:pt x="89676" y="122648"/>
                      <a:pt x="75740" y="128720"/>
                      <a:pt x="58774" y="128720"/>
                    </a:cubicBezTo>
                  </a:path>
                </a:pathLst>
              </a:custGeom>
              <a:solidFill>
                <a:srgbClr val="7F8183"/>
              </a:solidFill>
              <a:ln w="6029" cap="flat">
                <a:noFill/>
                <a:prstDash val="solid"/>
                <a:miter/>
              </a:ln>
            </p:spPr>
            <p:txBody>
              <a:bodyPr rtlCol="0" anchor="ctr"/>
              <a:lstStyle/>
              <a:p>
                <a:endParaRPr lang="x-none" sz="1905"/>
              </a:p>
            </p:txBody>
          </p:sp>
          <p:sp>
            <p:nvSpPr>
              <p:cNvPr id="30" name="Freeform 29">
                <a:extLst>
                  <a:ext uri="{FF2B5EF4-FFF2-40B4-BE49-F238E27FC236}">
                    <a16:creationId xmlns:a16="http://schemas.microsoft.com/office/drawing/2014/main" id="{8556FAA1-642F-2748-B827-7206E707245F}"/>
                  </a:ext>
                </a:extLst>
              </p:cNvPr>
              <p:cNvSpPr/>
              <p:nvPr/>
            </p:nvSpPr>
            <p:spPr>
              <a:xfrm>
                <a:off x="777347" y="5739365"/>
                <a:ext cx="136331" cy="158471"/>
              </a:xfrm>
              <a:custGeom>
                <a:avLst/>
                <a:gdLst>
                  <a:gd name="connsiteX0" fmla="*/ 47867 w 136331"/>
                  <a:gd name="connsiteY0" fmla="*/ 71039 h 158471"/>
                  <a:gd name="connsiteX1" fmla="*/ 43626 w 136331"/>
                  <a:gd name="connsiteY1" fmla="*/ 89861 h 158471"/>
                  <a:gd name="connsiteX2" fmla="*/ 36355 w 136331"/>
                  <a:gd name="connsiteY2" fmla="*/ 103826 h 158471"/>
                  <a:gd name="connsiteX3" fmla="*/ 96341 w 136331"/>
                  <a:gd name="connsiteY3" fmla="*/ 103826 h 158471"/>
                  <a:gd name="connsiteX4" fmla="*/ 96341 w 136331"/>
                  <a:gd name="connsiteY4" fmla="*/ 18822 h 158471"/>
                  <a:gd name="connsiteX5" fmla="*/ 49685 w 136331"/>
                  <a:gd name="connsiteY5" fmla="*/ 18822 h 158471"/>
                  <a:gd name="connsiteX6" fmla="*/ 49685 w 136331"/>
                  <a:gd name="connsiteY6" fmla="*/ 49788 h 158471"/>
                  <a:gd name="connsiteX7" fmla="*/ 47867 w 136331"/>
                  <a:gd name="connsiteY7" fmla="*/ 71039 h 158471"/>
                  <a:gd name="connsiteX8" fmla="*/ 0 w 136331"/>
                  <a:gd name="connsiteY8" fmla="*/ 104433 h 158471"/>
                  <a:gd name="connsiteX9" fmla="*/ 12724 w 136331"/>
                  <a:gd name="connsiteY9" fmla="*/ 104433 h 158471"/>
                  <a:gd name="connsiteX10" fmla="*/ 23631 w 136331"/>
                  <a:gd name="connsiteY10" fmla="*/ 89254 h 158471"/>
                  <a:gd name="connsiteX11" fmla="*/ 28478 w 136331"/>
                  <a:gd name="connsiteY11" fmla="*/ 68610 h 158471"/>
                  <a:gd name="connsiteX12" fmla="*/ 29084 w 136331"/>
                  <a:gd name="connsiteY12" fmla="*/ 58895 h 158471"/>
                  <a:gd name="connsiteX13" fmla="*/ 29690 w 136331"/>
                  <a:gd name="connsiteY13" fmla="*/ 45538 h 158471"/>
                  <a:gd name="connsiteX14" fmla="*/ 29690 w 136331"/>
                  <a:gd name="connsiteY14" fmla="*/ 26715 h 158471"/>
                  <a:gd name="connsiteX15" fmla="*/ 29690 w 136331"/>
                  <a:gd name="connsiteY15" fmla="*/ 0 h 158471"/>
                  <a:gd name="connsiteX16" fmla="*/ 116336 w 136331"/>
                  <a:gd name="connsiteY16" fmla="*/ 0 h 158471"/>
                  <a:gd name="connsiteX17" fmla="*/ 116336 w 136331"/>
                  <a:gd name="connsiteY17" fmla="*/ 104433 h 158471"/>
                  <a:gd name="connsiteX18" fmla="*/ 136331 w 136331"/>
                  <a:gd name="connsiteY18" fmla="*/ 104433 h 158471"/>
                  <a:gd name="connsiteX19" fmla="*/ 136331 w 136331"/>
                  <a:gd name="connsiteY19" fmla="*/ 158471 h 158471"/>
                  <a:gd name="connsiteX20" fmla="*/ 116336 w 136331"/>
                  <a:gd name="connsiteY20" fmla="*/ 158471 h 158471"/>
                  <a:gd name="connsiteX21" fmla="*/ 116336 w 136331"/>
                  <a:gd name="connsiteY21" fmla="*/ 123862 h 158471"/>
                  <a:gd name="connsiteX22" fmla="*/ 19995 w 136331"/>
                  <a:gd name="connsiteY22" fmla="*/ 123862 h 158471"/>
                  <a:gd name="connsiteX23" fmla="*/ 19995 w 136331"/>
                  <a:gd name="connsiteY23" fmla="*/ 158471 h 158471"/>
                  <a:gd name="connsiteX24" fmla="*/ 0 w 136331"/>
                  <a:gd name="connsiteY24" fmla="*/ 158471 h 158471"/>
                  <a:gd name="connsiteX25" fmla="*/ 0 w 136331"/>
                  <a:gd name="connsiteY25" fmla="*/ 104433 h 15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6331" h="158471">
                    <a:moveTo>
                      <a:pt x="47867" y="71039"/>
                    </a:moveTo>
                    <a:cubicBezTo>
                      <a:pt x="47261" y="78325"/>
                      <a:pt x="45444" y="84396"/>
                      <a:pt x="43626" y="89861"/>
                    </a:cubicBezTo>
                    <a:cubicBezTo>
                      <a:pt x="41202" y="95325"/>
                      <a:pt x="38779" y="100183"/>
                      <a:pt x="36355" y="103826"/>
                    </a:cubicBezTo>
                    <a:lnTo>
                      <a:pt x="96341" y="103826"/>
                    </a:lnTo>
                    <a:lnTo>
                      <a:pt x="96341" y="18822"/>
                    </a:lnTo>
                    <a:lnTo>
                      <a:pt x="49685" y="18822"/>
                    </a:lnTo>
                    <a:cubicBezTo>
                      <a:pt x="49685" y="30966"/>
                      <a:pt x="49685" y="41287"/>
                      <a:pt x="49685" y="49788"/>
                    </a:cubicBezTo>
                    <a:cubicBezTo>
                      <a:pt x="48473" y="59503"/>
                      <a:pt x="48473" y="66181"/>
                      <a:pt x="47867" y="71039"/>
                    </a:cubicBezTo>
                    <a:moveTo>
                      <a:pt x="0" y="104433"/>
                    </a:moveTo>
                    <a:lnTo>
                      <a:pt x="12724" y="104433"/>
                    </a:lnTo>
                    <a:cubicBezTo>
                      <a:pt x="16966" y="100790"/>
                      <a:pt x="20601" y="95933"/>
                      <a:pt x="23631" y="89254"/>
                    </a:cubicBezTo>
                    <a:cubicBezTo>
                      <a:pt x="26660" y="82575"/>
                      <a:pt x="28478" y="75896"/>
                      <a:pt x="28478" y="68610"/>
                    </a:cubicBezTo>
                    <a:cubicBezTo>
                      <a:pt x="28478" y="65574"/>
                      <a:pt x="29084" y="62538"/>
                      <a:pt x="29084" y="58895"/>
                    </a:cubicBezTo>
                    <a:cubicBezTo>
                      <a:pt x="29084" y="55252"/>
                      <a:pt x="29084" y="51002"/>
                      <a:pt x="29690" y="45538"/>
                    </a:cubicBezTo>
                    <a:cubicBezTo>
                      <a:pt x="29690" y="40073"/>
                      <a:pt x="29690" y="34001"/>
                      <a:pt x="29690" y="26715"/>
                    </a:cubicBezTo>
                    <a:cubicBezTo>
                      <a:pt x="29690" y="19429"/>
                      <a:pt x="29690" y="10322"/>
                      <a:pt x="29690" y="0"/>
                    </a:cubicBezTo>
                    <a:lnTo>
                      <a:pt x="116336" y="0"/>
                    </a:lnTo>
                    <a:lnTo>
                      <a:pt x="116336" y="104433"/>
                    </a:lnTo>
                    <a:lnTo>
                      <a:pt x="136331" y="104433"/>
                    </a:lnTo>
                    <a:lnTo>
                      <a:pt x="136331" y="158471"/>
                    </a:lnTo>
                    <a:lnTo>
                      <a:pt x="116336" y="158471"/>
                    </a:lnTo>
                    <a:lnTo>
                      <a:pt x="116336" y="123862"/>
                    </a:lnTo>
                    <a:lnTo>
                      <a:pt x="19995" y="123862"/>
                    </a:lnTo>
                    <a:lnTo>
                      <a:pt x="19995" y="158471"/>
                    </a:lnTo>
                    <a:lnTo>
                      <a:pt x="0" y="158471"/>
                    </a:lnTo>
                    <a:lnTo>
                      <a:pt x="0" y="104433"/>
                    </a:lnTo>
                    <a:close/>
                  </a:path>
                </a:pathLst>
              </a:custGeom>
              <a:solidFill>
                <a:srgbClr val="7F8183"/>
              </a:solidFill>
              <a:ln w="6029" cap="flat">
                <a:noFill/>
                <a:prstDash val="solid"/>
                <a:miter/>
              </a:ln>
            </p:spPr>
            <p:txBody>
              <a:bodyPr rtlCol="0" anchor="ctr"/>
              <a:lstStyle/>
              <a:p>
                <a:endParaRPr lang="x-none" sz="1905"/>
              </a:p>
            </p:txBody>
          </p:sp>
          <p:sp>
            <p:nvSpPr>
              <p:cNvPr id="31" name="Freeform 30">
                <a:extLst>
                  <a:ext uri="{FF2B5EF4-FFF2-40B4-BE49-F238E27FC236}">
                    <a16:creationId xmlns:a16="http://schemas.microsoft.com/office/drawing/2014/main" id="{CBF366C2-5026-274D-BB00-A1AF7BE53D59}"/>
                  </a:ext>
                </a:extLst>
              </p:cNvPr>
              <p:cNvSpPr/>
              <p:nvPr/>
            </p:nvSpPr>
            <p:spPr>
              <a:xfrm>
                <a:off x="919738" y="5739365"/>
                <a:ext cx="119365" cy="173650"/>
              </a:xfrm>
              <a:custGeom>
                <a:avLst/>
                <a:gdLst>
                  <a:gd name="connsiteX0" fmla="*/ 63621 w 119365"/>
                  <a:gd name="connsiteY0" fmla="*/ 142685 h 173650"/>
                  <a:gd name="connsiteX1" fmla="*/ 47261 w 119365"/>
                  <a:gd name="connsiteY1" fmla="*/ 166971 h 173650"/>
                  <a:gd name="connsiteX2" fmla="*/ 24237 w 119365"/>
                  <a:gd name="connsiteY2" fmla="*/ 173650 h 173650"/>
                  <a:gd name="connsiteX3" fmla="*/ 12724 w 119365"/>
                  <a:gd name="connsiteY3" fmla="*/ 173650 h 173650"/>
                  <a:gd name="connsiteX4" fmla="*/ 12724 w 119365"/>
                  <a:gd name="connsiteY4" fmla="*/ 154221 h 173650"/>
                  <a:gd name="connsiteX5" fmla="*/ 20601 w 119365"/>
                  <a:gd name="connsiteY5" fmla="*/ 154221 h 173650"/>
                  <a:gd name="connsiteX6" fmla="*/ 35749 w 119365"/>
                  <a:gd name="connsiteY6" fmla="*/ 150578 h 173650"/>
                  <a:gd name="connsiteX7" fmla="*/ 46050 w 119365"/>
                  <a:gd name="connsiteY7" fmla="*/ 136006 h 173650"/>
                  <a:gd name="connsiteX8" fmla="*/ 51503 w 119365"/>
                  <a:gd name="connsiteY8" fmla="*/ 122648 h 173650"/>
                  <a:gd name="connsiteX9" fmla="*/ 0 w 119365"/>
                  <a:gd name="connsiteY9" fmla="*/ 0 h 173650"/>
                  <a:gd name="connsiteX10" fmla="*/ 22419 w 119365"/>
                  <a:gd name="connsiteY10" fmla="*/ 0 h 173650"/>
                  <a:gd name="connsiteX11" fmla="*/ 62409 w 119365"/>
                  <a:gd name="connsiteY11" fmla="*/ 97754 h 173650"/>
                  <a:gd name="connsiteX12" fmla="*/ 98158 w 119365"/>
                  <a:gd name="connsiteY12" fmla="*/ 0 h 173650"/>
                  <a:gd name="connsiteX13" fmla="*/ 119366 w 119365"/>
                  <a:gd name="connsiteY13" fmla="*/ 0 h 173650"/>
                  <a:gd name="connsiteX14" fmla="*/ 63621 w 119365"/>
                  <a:gd name="connsiteY14" fmla="*/ 142685 h 17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365" h="173650">
                    <a:moveTo>
                      <a:pt x="63621" y="142685"/>
                    </a:moveTo>
                    <a:cubicBezTo>
                      <a:pt x="58774" y="154221"/>
                      <a:pt x="53927" y="162721"/>
                      <a:pt x="47261" y="166971"/>
                    </a:cubicBezTo>
                    <a:cubicBezTo>
                      <a:pt x="41202" y="171829"/>
                      <a:pt x="33325" y="173650"/>
                      <a:pt x="24237" y="173650"/>
                    </a:cubicBezTo>
                    <a:lnTo>
                      <a:pt x="12724" y="173650"/>
                    </a:lnTo>
                    <a:lnTo>
                      <a:pt x="12724" y="154221"/>
                    </a:lnTo>
                    <a:lnTo>
                      <a:pt x="20601" y="154221"/>
                    </a:lnTo>
                    <a:cubicBezTo>
                      <a:pt x="26660" y="154221"/>
                      <a:pt x="31508" y="153006"/>
                      <a:pt x="35749" y="150578"/>
                    </a:cubicBezTo>
                    <a:cubicBezTo>
                      <a:pt x="39991" y="148149"/>
                      <a:pt x="43626" y="143292"/>
                      <a:pt x="46050" y="136006"/>
                    </a:cubicBezTo>
                    <a:lnTo>
                      <a:pt x="51503" y="122648"/>
                    </a:lnTo>
                    <a:lnTo>
                      <a:pt x="0" y="0"/>
                    </a:lnTo>
                    <a:lnTo>
                      <a:pt x="22419" y="0"/>
                    </a:lnTo>
                    <a:lnTo>
                      <a:pt x="62409" y="97754"/>
                    </a:lnTo>
                    <a:lnTo>
                      <a:pt x="98158" y="0"/>
                    </a:lnTo>
                    <a:lnTo>
                      <a:pt x="119366" y="0"/>
                    </a:lnTo>
                    <a:lnTo>
                      <a:pt x="63621" y="142685"/>
                    </a:lnTo>
                    <a:close/>
                  </a:path>
                </a:pathLst>
              </a:custGeom>
              <a:solidFill>
                <a:srgbClr val="7F8183"/>
              </a:solidFill>
              <a:ln w="6029" cap="flat">
                <a:noFill/>
                <a:prstDash val="solid"/>
                <a:miter/>
              </a:ln>
            </p:spPr>
            <p:txBody>
              <a:bodyPr rtlCol="0" anchor="ctr"/>
              <a:lstStyle/>
              <a:p>
                <a:endParaRPr lang="x-none" sz="1905"/>
              </a:p>
            </p:txBody>
          </p:sp>
        </p:grpSp>
        <p:sp>
          <p:nvSpPr>
            <p:cNvPr id="32" name="Freeform 31">
              <a:extLst>
                <a:ext uri="{FF2B5EF4-FFF2-40B4-BE49-F238E27FC236}">
                  <a16:creationId xmlns:a16="http://schemas.microsoft.com/office/drawing/2014/main" id="{49747A05-B75D-0740-8253-04BC786E7B96}"/>
                </a:ext>
              </a:extLst>
            </p:cNvPr>
            <p:cNvSpPr/>
            <p:nvPr/>
          </p:nvSpPr>
          <p:spPr>
            <a:xfrm>
              <a:off x="1060310" y="5739365"/>
              <a:ext cx="142390" cy="123255"/>
            </a:xfrm>
            <a:custGeom>
              <a:avLst/>
              <a:gdLst>
                <a:gd name="connsiteX0" fmla="*/ 0 w 142390"/>
                <a:gd name="connsiteY0" fmla="*/ 123255 h 123255"/>
                <a:gd name="connsiteX1" fmla="*/ 0 w 142390"/>
                <a:gd name="connsiteY1" fmla="*/ 0 h 123255"/>
                <a:gd name="connsiteX2" fmla="*/ 30296 w 142390"/>
                <a:gd name="connsiteY2" fmla="*/ 0 h 123255"/>
                <a:gd name="connsiteX3" fmla="*/ 71498 w 142390"/>
                <a:gd name="connsiteY3" fmla="*/ 103219 h 123255"/>
                <a:gd name="connsiteX4" fmla="*/ 113306 w 142390"/>
                <a:gd name="connsiteY4" fmla="*/ 0 h 123255"/>
                <a:gd name="connsiteX5" fmla="*/ 142390 w 142390"/>
                <a:gd name="connsiteY5" fmla="*/ 0 h 123255"/>
                <a:gd name="connsiteX6" fmla="*/ 142390 w 142390"/>
                <a:gd name="connsiteY6" fmla="*/ 123255 h 123255"/>
                <a:gd name="connsiteX7" fmla="*/ 122395 w 142390"/>
                <a:gd name="connsiteY7" fmla="*/ 123255 h 123255"/>
                <a:gd name="connsiteX8" fmla="*/ 122395 w 142390"/>
                <a:gd name="connsiteY8" fmla="*/ 22465 h 123255"/>
                <a:gd name="connsiteX9" fmla="*/ 81193 w 142390"/>
                <a:gd name="connsiteY9" fmla="*/ 123255 h 123255"/>
                <a:gd name="connsiteX10" fmla="*/ 59986 w 142390"/>
                <a:gd name="connsiteY10" fmla="*/ 123255 h 123255"/>
                <a:gd name="connsiteX11" fmla="*/ 18783 w 142390"/>
                <a:gd name="connsiteY11" fmla="*/ 22465 h 123255"/>
                <a:gd name="connsiteX12" fmla="*/ 18783 w 142390"/>
                <a:gd name="connsiteY12" fmla="*/ 123255 h 12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390" h="123255">
                  <a:moveTo>
                    <a:pt x="0" y="123255"/>
                  </a:moveTo>
                  <a:lnTo>
                    <a:pt x="0" y="0"/>
                  </a:lnTo>
                  <a:lnTo>
                    <a:pt x="30296" y="0"/>
                  </a:lnTo>
                  <a:lnTo>
                    <a:pt x="71498" y="103219"/>
                  </a:lnTo>
                  <a:lnTo>
                    <a:pt x="113306" y="0"/>
                  </a:lnTo>
                  <a:lnTo>
                    <a:pt x="142390" y="0"/>
                  </a:lnTo>
                  <a:lnTo>
                    <a:pt x="142390" y="123255"/>
                  </a:lnTo>
                  <a:lnTo>
                    <a:pt x="122395" y="123255"/>
                  </a:lnTo>
                  <a:lnTo>
                    <a:pt x="122395" y="22465"/>
                  </a:lnTo>
                  <a:lnTo>
                    <a:pt x="81193" y="123255"/>
                  </a:lnTo>
                  <a:lnTo>
                    <a:pt x="59986" y="123255"/>
                  </a:lnTo>
                  <a:lnTo>
                    <a:pt x="18783" y="22465"/>
                  </a:lnTo>
                  <a:lnTo>
                    <a:pt x="18783" y="123255"/>
                  </a:lnTo>
                  <a:close/>
                </a:path>
              </a:pathLst>
            </a:custGeom>
            <a:solidFill>
              <a:srgbClr val="7F8183"/>
            </a:solidFill>
            <a:ln w="6029" cap="flat">
              <a:noFill/>
              <a:prstDash val="solid"/>
              <a:miter/>
            </a:ln>
          </p:spPr>
          <p:txBody>
            <a:bodyPr rtlCol="0" anchor="ctr"/>
            <a:lstStyle/>
            <a:p>
              <a:endParaRPr lang="x-none" sz="1905"/>
            </a:p>
          </p:txBody>
        </p:sp>
        <p:sp>
          <p:nvSpPr>
            <p:cNvPr id="33" name="Freeform 32">
              <a:extLst>
                <a:ext uri="{FF2B5EF4-FFF2-40B4-BE49-F238E27FC236}">
                  <a16:creationId xmlns:a16="http://schemas.microsoft.com/office/drawing/2014/main" id="{32EE0B4E-9BA3-DD48-97DB-A444742C390B}"/>
                </a:ext>
              </a:extLst>
            </p:cNvPr>
            <p:cNvSpPr/>
            <p:nvPr/>
          </p:nvSpPr>
          <p:spPr>
            <a:xfrm>
              <a:off x="1235420" y="5736936"/>
              <a:ext cx="100582" cy="128112"/>
            </a:xfrm>
            <a:custGeom>
              <a:avLst/>
              <a:gdLst>
                <a:gd name="connsiteX0" fmla="*/ 80587 w 100582"/>
                <a:gd name="connsiteY0" fmla="*/ 71039 h 128112"/>
                <a:gd name="connsiteX1" fmla="*/ 64227 w 100582"/>
                <a:gd name="connsiteY1" fmla="*/ 71039 h 128112"/>
                <a:gd name="connsiteX2" fmla="*/ 46656 w 100582"/>
                <a:gd name="connsiteY2" fmla="*/ 71039 h 128112"/>
                <a:gd name="connsiteX3" fmla="*/ 27266 w 100582"/>
                <a:gd name="connsiteY3" fmla="*/ 76503 h 128112"/>
                <a:gd name="connsiteX4" fmla="*/ 20601 w 100582"/>
                <a:gd name="connsiteY4" fmla="*/ 91075 h 128112"/>
                <a:gd name="connsiteX5" fmla="*/ 26660 w 100582"/>
                <a:gd name="connsiteY5" fmla="*/ 105040 h 128112"/>
                <a:gd name="connsiteX6" fmla="*/ 43626 w 100582"/>
                <a:gd name="connsiteY6" fmla="*/ 110505 h 128112"/>
                <a:gd name="connsiteX7" fmla="*/ 69680 w 100582"/>
                <a:gd name="connsiteY7" fmla="*/ 102611 h 128112"/>
                <a:gd name="connsiteX8" fmla="*/ 80587 w 100582"/>
                <a:gd name="connsiteY8" fmla="*/ 82575 h 128112"/>
                <a:gd name="connsiteX9" fmla="*/ 80587 w 100582"/>
                <a:gd name="connsiteY9" fmla="*/ 71039 h 128112"/>
                <a:gd name="connsiteX10" fmla="*/ 81799 w 100582"/>
                <a:gd name="connsiteY10" fmla="*/ 125684 h 128112"/>
                <a:gd name="connsiteX11" fmla="*/ 81799 w 100582"/>
                <a:gd name="connsiteY11" fmla="*/ 111112 h 128112"/>
                <a:gd name="connsiteX12" fmla="*/ 66045 w 100582"/>
                <a:gd name="connsiteY12" fmla="*/ 123255 h 128112"/>
                <a:gd name="connsiteX13" fmla="*/ 43020 w 100582"/>
                <a:gd name="connsiteY13" fmla="*/ 128113 h 128112"/>
                <a:gd name="connsiteX14" fmla="*/ 11512 w 100582"/>
                <a:gd name="connsiteY14" fmla="*/ 118398 h 128112"/>
                <a:gd name="connsiteX15" fmla="*/ 0 w 100582"/>
                <a:gd name="connsiteY15" fmla="*/ 91682 h 128112"/>
                <a:gd name="connsiteX16" fmla="*/ 12724 w 100582"/>
                <a:gd name="connsiteY16" fmla="*/ 63753 h 128112"/>
                <a:gd name="connsiteX17" fmla="*/ 46656 w 100582"/>
                <a:gd name="connsiteY17" fmla="*/ 54645 h 128112"/>
                <a:gd name="connsiteX18" fmla="*/ 64227 w 100582"/>
                <a:gd name="connsiteY18" fmla="*/ 54645 h 128112"/>
                <a:gd name="connsiteX19" fmla="*/ 80587 w 100582"/>
                <a:gd name="connsiteY19" fmla="*/ 55252 h 128112"/>
                <a:gd name="connsiteX20" fmla="*/ 80587 w 100582"/>
                <a:gd name="connsiteY20" fmla="*/ 44323 h 128112"/>
                <a:gd name="connsiteX21" fmla="*/ 72710 w 100582"/>
                <a:gd name="connsiteY21" fmla="*/ 24894 h 128112"/>
                <a:gd name="connsiteX22" fmla="*/ 53321 w 100582"/>
                <a:gd name="connsiteY22" fmla="*/ 18822 h 128112"/>
                <a:gd name="connsiteX23" fmla="*/ 33325 w 100582"/>
                <a:gd name="connsiteY23" fmla="*/ 25501 h 128112"/>
                <a:gd name="connsiteX24" fmla="*/ 23631 w 100582"/>
                <a:gd name="connsiteY24" fmla="*/ 41287 h 128112"/>
                <a:gd name="connsiteX25" fmla="*/ 4241 w 100582"/>
                <a:gd name="connsiteY25" fmla="*/ 37037 h 128112"/>
                <a:gd name="connsiteX26" fmla="*/ 20601 w 100582"/>
                <a:gd name="connsiteY26" fmla="*/ 10322 h 128112"/>
                <a:gd name="connsiteX27" fmla="*/ 53321 w 100582"/>
                <a:gd name="connsiteY27" fmla="*/ 0 h 128112"/>
                <a:gd name="connsiteX28" fmla="*/ 87252 w 100582"/>
                <a:gd name="connsiteY28" fmla="*/ 10322 h 128112"/>
                <a:gd name="connsiteX29" fmla="*/ 100582 w 100582"/>
                <a:gd name="connsiteY29" fmla="*/ 43109 h 128112"/>
                <a:gd name="connsiteX30" fmla="*/ 100582 w 100582"/>
                <a:gd name="connsiteY30" fmla="*/ 125684 h 128112"/>
                <a:gd name="connsiteX31" fmla="*/ 81799 w 100582"/>
                <a:gd name="connsiteY31" fmla="*/ 125684 h 12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0582" h="128112">
                  <a:moveTo>
                    <a:pt x="80587" y="71039"/>
                  </a:moveTo>
                  <a:cubicBezTo>
                    <a:pt x="75740" y="71039"/>
                    <a:pt x="70286" y="71039"/>
                    <a:pt x="64227" y="71039"/>
                  </a:cubicBezTo>
                  <a:cubicBezTo>
                    <a:pt x="58774" y="71039"/>
                    <a:pt x="52715" y="71039"/>
                    <a:pt x="46656" y="71039"/>
                  </a:cubicBezTo>
                  <a:cubicBezTo>
                    <a:pt x="38173" y="71646"/>
                    <a:pt x="31508" y="73467"/>
                    <a:pt x="27266" y="76503"/>
                  </a:cubicBezTo>
                  <a:cubicBezTo>
                    <a:pt x="23025" y="80146"/>
                    <a:pt x="20601" y="85004"/>
                    <a:pt x="20601" y="91075"/>
                  </a:cubicBezTo>
                  <a:cubicBezTo>
                    <a:pt x="20601" y="97147"/>
                    <a:pt x="22419" y="101397"/>
                    <a:pt x="26660" y="105040"/>
                  </a:cubicBezTo>
                  <a:cubicBezTo>
                    <a:pt x="30902" y="108683"/>
                    <a:pt x="36355" y="110505"/>
                    <a:pt x="43626" y="110505"/>
                  </a:cubicBezTo>
                  <a:cubicBezTo>
                    <a:pt x="53927" y="110505"/>
                    <a:pt x="62409" y="108076"/>
                    <a:pt x="69680" y="102611"/>
                  </a:cubicBezTo>
                  <a:cubicBezTo>
                    <a:pt x="76951" y="97754"/>
                    <a:pt x="80587" y="91075"/>
                    <a:pt x="80587" y="82575"/>
                  </a:cubicBezTo>
                  <a:lnTo>
                    <a:pt x="80587" y="71039"/>
                  </a:lnTo>
                  <a:close/>
                  <a:moveTo>
                    <a:pt x="81799" y="125684"/>
                  </a:moveTo>
                  <a:lnTo>
                    <a:pt x="81799" y="111112"/>
                  </a:lnTo>
                  <a:cubicBezTo>
                    <a:pt x="78163" y="115969"/>
                    <a:pt x="72710" y="120219"/>
                    <a:pt x="66045" y="123255"/>
                  </a:cubicBezTo>
                  <a:cubicBezTo>
                    <a:pt x="59380" y="126291"/>
                    <a:pt x="52109" y="128113"/>
                    <a:pt x="43020" y="128113"/>
                  </a:cubicBezTo>
                  <a:cubicBezTo>
                    <a:pt x="29690" y="128113"/>
                    <a:pt x="19389" y="125077"/>
                    <a:pt x="11512" y="118398"/>
                  </a:cubicBezTo>
                  <a:cubicBezTo>
                    <a:pt x="3635" y="111719"/>
                    <a:pt x="0" y="102611"/>
                    <a:pt x="0" y="91682"/>
                  </a:cubicBezTo>
                  <a:cubicBezTo>
                    <a:pt x="0" y="78932"/>
                    <a:pt x="4241" y="69824"/>
                    <a:pt x="12724" y="63753"/>
                  </a:cubicBezTo>
                  <a:cubicBezTo>
                    <a:pt x="21207" y="58288"/>
                    <a:pt x="32114" y="54645"/>
                    <a:pt x="46656" y="54645"/>
                  </a:cubicBezTo>
                  <a:cubicBezTo>
                    <a:pt x="52715" y="54645"/>
                    <a:pt x="58774" y="54645"/>
                    <a:pt x="64227" y="54645"/>
                  </a:cubicBezTo>
                  <a:cubicBezTo>
                    <a:pt x="69680" y="54645"/>
                    <a:pt x="75134" y="54645"/>
                    <a:pt x="80587" y="55252"/>
                  </a:cubicBezTo>
                  <a:lnTo>
                    <a:pt x="80587" y="44323"/>
                  </a:lnTo>
                  <a:cubicBezTo>
                    <a:pt x="80587" y="35216"/>
                    <a:pt x="78163" y="28537"/>
                    <a:pt x="72710" y="24894"/>
                  </a:cubicBezTo>
                  <a:cubicBezTo>
                    <a:pt x="67863" y="20644"/>
                    <a:pt x="61197" y="18822"/>
                    <a:pt x="53321" y="18822"/>
                  </a:cubicBezTo>
                  <a:cubicBezTo>
                    <a:pt x="44838" y="18822"/>
                    <a:pt x="38173" y="21251"/>
                    <a:pt x="33325" y="25501"/>
                  </a:cubicBezTo>
                  <a:cubicBezTo>
                    <a:pt x="29084" y="29751"/>
                    <a:pt x="25448" y="35216"/>
                    <a:pt x="23631" y="41287"/>
                  </a:cubicBezTo>
                  <a:lnTo>
                    <a:pt x="4241" y="37037"/>
                  </a:lnTo>
                  <a:cubicBezTo>
                    <a:pt x="6665" y="26108"/>
                    <a:pt x="12118" y="17608"/>
                    <a:pt x="20601" y="10322"/>
                  </a:cubicBezTo>
                  <a:cubicBezTo>
                    <a:pt x="29084" y="3643"/>
                    <a:pt x="39990" y="0"/>
                    <a:pt x="53321" y="0"/>
                  </a:cubicBezTo>
                  <a:cubicBezTo>
                    <a:pt x="67257" y="0"/>
                    <a:pt x="78769" y="3643"/>
                    <a:pt x="87252" y="10322"/>
                  </a:cubicBezTo>
                  <a:cubicBezTo>
                    <a:pt x="96341" y="17608"/>
                    <a:pt x="100582" y="28537"/>
                    <a:pt x="100582" y="43109"/>
                  </a:cubicBezTo>
                  <a:lnTo>
                    <a:pt x="100582" y="125684"/>
                  </a:lnTo>
                  <a:lnTo>
                    <a:pt x="81799" y="125684"/>
                  </a:lnTo>
                  <a:close/>
                </a:path>
              </a:pathLst>
            </a:custGeom>
            <a:solidFill>
              <a:srgbClr val="7F8183"/>
            </a:solidFill>
            <a:ln w="6029" cap="flat">
              <a:noFill/>
              <a:prstDash val="solid"/>
              <a:miter/>
            </a:ln>
          </p:spPr>
          <p:txBody>
            <a:bodyPr rtlCol="0" anchor="ctr"/>
            <a:lstStyle/>
            <a:p>
              <a:endParaRPr lang="x-none" sz="1905"/>
            </a:p>
          </p:txBody>
        </p:sp>
        <p:sp>
          <p:nvSpPr>
            <p:cNvPr id="34" name="Freeform 33">
              <a:extLst>
                <a:ext uri="{FF2B5EF4-FFF2-40B4-BE49-F238E27FC236}">
                  <a16:creationId xmlns:a16="http://schemas.microsoft.com/office/drawing/2014/main" id="{60D3034A-AB0E-A740-8B75-39B7FEDB4FB3}"/>
                </a:ext>
              </a:extLst>
            </p:cNvPr>
            <p:cNvSpPr/>
            <p:nvPr/>
          </p:nvSpPr>
          <p:spPr>
            <a:xfrm>
              <a:off x="1373569" y="5739365"/>
              <a:ext cx="106035" cy="123255"/>
            </a:xfrm>
            <a:custGeom>
              <a:avLst/>
              <a:gdLst>
                <a:gd name="connsiteX0" fmla="*/ 0 w 106035"/>
                <a:gd name="connsiteY0" fmla="*/ 123255 h 123255"/>
                <a:gd name="connsiteX1" fmla="*/ 0 w 106035"/>
                <a:gd name="connsiteY1" fmla="*/ 0 h 123255"/>
                <a:gd name="connsiteX2" fmla="*/ 20601 w 106035"/>
                <a:gd name="connsiteY2" fmla="*/ 0 h 123255"/>
                <a:gd name="connsiteX3" fmla="*/ 20601 w 106035"/>
                <a:gd name="connsiteY3" fmla="*/ 50395 h 123255"/>
                <a:gd name="connsiteX4" fmla="*/ 85434 w 106035"/>
                <a:gd name="connsiteY4" fmla="*/ 50395 h 123255"/>
                <a:gd name="connsiteX5" fmla="*/ 85434 w 106035"/>
                <a:gd name="connsiteY5" fmla="*/ 0 h 123255"/>
                <a:gd name="connsiteX6" fmla="*/ 106035 w 106035"/>
                <a:gd name="connsiteY6" fmla="*/ 0 h 123255"/>
                <a:gd name="connsiteX7" fmla="*/ 106035 w 106035"/>
                <a:gd name="connsiteY7" fmla="*/ 123255 h 123255"/>
                <a:gd name="connsiteX8" fmla="*/ 85434 w 106035"/>
                <a:gd name="connsiteY8" fmla="*/ 123255 h 123255"/>
                <a:gd name="connsiteX9" fmla="*/ 85434 w 106035"/>
                <a:gd name="connsiteY9" fmla="*/ 69824 h 123255"/>
                <a:gd name="connsiteX10" fmla="*/ 20601 w 106035"/>
                <a:gd name="connsiteY10" fmla="*/ 69824 h 123255"/>
                <a:gd name="connsiteX11" fmla="*/ 20601 w 106035"/>
                <a:gd name="connsiteY11" fmla="*/ 123255 h 12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035" h="123255">
                  <a:moveTo>
                    <a:pt x="0" y="123255"/>
                  </a:moveTo>
                  <a:lnTo>
                    <a:pt x="0" y="0"/>
                  </a:lnTo>
                  <a:lnTo>
                    <a:pt x="20601" y="0"/>
                  </a:lnTo>
                  <a:lnTo>
                    <a:pt x="20601" y="50395"/>
                  </a:lnTo>
                  <a:lnTo>
                    <a:pt x="85434" y="50395"/>
                  </a:lnTo>
                  <a:lnTo>
                    <a:pt x="85434" y="0"/>
                  </a:lnTo>
                  <a:lnTo>
                    <a:pt x="106035" y="0"/>
                  </a:lnTo>
                  <a:lnTo>
                    <a:pt x="106035" y="123255"/>
                  </a:lnTo>
                  <a:lnTo>
                    <a:pt x="85434" y="123255"/>
                  </a:lnTo>
                  <a:lnTo>
                    <a:pt x="85434" y="69824"/>
                  </a:lnTo>
                  <a:lnTo>
                    <a:pt x="20601" y="69824"/>
                  </a:lnTo>
                  <a:lnTo>
                    <a:pt x="20601" y="123255"/>
                  </a:lnTo>
                  <a:close/>
                </a:path>
              </a:pathLst>
            </a:custGeom>
            <a:solidFill>
              <a:srgbClr val="7F8183"/>
            </a:solidFill>
            <a:ln w="6029" cap="flat">
              <a:noFill/>
              <a:prstDash val="solid"/>
              <a:miter/>
            </a:ln>
          </p:spPr>
          <p:txBody>
            <a:bodyPr rtlCol="0" anchor="ctr"/>
            <a:lstStyle/>
            <a:p>
              <a:endParaRPr lang="x-none" sz="1905"/>
            </a:p>
          </p:txBody>
        </p:sp>
        <p:sp>
          <p:nvSpPr>
            <p:cNvPr id="35" name="Freeform 34">
              <a:extLst>
                <a:ext uri="{FF2B5EF4-FFF2-40B4-BE49-F238E27FC236}">
                  <a16:creationId xmlns:a16="http://schemas.microsoft.com/office/drawing/2014/main" id="{9AF1852C-0969-F44F-9BE4-53C016FAD576}"/>
                </a:ext>
              </a:extLst>
            </p:cNvPr>
            <p:cNvSpPr/>
            <p:nvPr/>
          </p:nvSpPr>
          <p:spPr>
            <a:xfrm>
              <a:off x="1517777" y="5739365"/>
              <a:ext cx="106035" cy="123255"/>
            </a:xfrm>
            <a:custGeom>
              <a:avLst/>
              <a:gdLst>
                <a:gd name="connsiteX0" fmla="*/ 0 w 106035"/>
                <a:gd name="connsiteY0" fmla="*/ 123255 h 123255"/>
                <a:gd name="connsiteX1" fmla="*/ 0 w 106035"/>
                <a:gd name="connsiteY1" fmla="*/ 0 h 123255"/>
                <a:gd name="connsiteX2" fmla="*/ 20601 w 106035"/>
                <a:gd name="connsiteY2" fmla="*/ 0 h 123255"/>
                <a:gd name="connsiteX3" fmla="*/ 20601 w 106035"/>
                <a:gd name="connsiteY3" fmla="*/ 50395 h 123255"/>
                <a:gd name="connsiteX4" fmla="*/ 85434 w 106035"/>
                <a:gd name="connsiteY4" fmla="*/ 50395 h 123255"/>
                <a:gd name="connsiteX5" fmla="*/ 85434 w 106035"/>
                <a:gd name="connsiteY5" fmla="*/ 0 h 123255"/>
                <a:gd name="connsiteX6" fmla="*/ 106035 w 106035"/>
                <a:gd name="connsiteY6" fmla="*/ 0 h 123255"/>
                <a:gd name="connsiteX7" fmla="*/ 106035 w 106035"/>
                <a:gd name="connsiteY7" fmla="*/ 123255 h 123255"/>
                <a:gd name="connsiteX8" fmla="*/ 85434 w 106035"/>
                <a:gd name="connsiteY8" fmla="*/ 123255 h 123255"/>
                <a:gd name="connsiteX9" fmla="*/ 85434 w 106035"/>
                <a:gd name="connsiteY9" fmla="*/ 69824 h 123255"/>
                <a:gd name="connsiteX10" fmla="*/ 20601 w 106035"/>
                <a:gd name="connsiteY10" fmla="*/ 69824 h 123255"/>
                <a:gd name="connsiteX11" fmla="*/ 20601 w 106035"/>
                <a:gd name="connsiteY11" fmla="*/ 123255 h 12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035" h="123255">
                  <a:moveTo>
                    <a:pt x="0" y="123255"/>
                  </a:moveTo>
                  <a:lnTo>
                    <a:pt x="0" y="0"/>
                  </a:lnTo>
                  <a:lnTo>
                    <a:pt x="20601" y="0"/>
                  </a:lnTo>
                  <a:lnTo>
                    <a:pt x="20601" y="50395"/>
                  </a:lnTo>
                  <a:lnTo>
                    <a:pt x="85434" y="50395"/>
                  </a:lnTo>
                  <a:lnTo>
                    <a:pt x="85434" y="0"/>
                  </a:lnTo>
                  <a:lnTo>
                    <a:pt x="106035" y="0"/>
                  </a:lnTo>
                  <a:lnTo>
                    <a:pt x="106035" y="123255"/>
                  </a:lnTo>
                  <a:lnTo>
                    <a:pt x="85434" y="123255"/>
                  </a:lnTo>
                  <a:lnTo>
                    <a:pt x="85434" y="69824"/>
                  </a:lnTo>
                  <a:lnTo>
                    <a:pt x="20601" y="69824"/>
                  </a:lnTo>
                  <a:lnTo>
                    <a:pt x="20601" y="123255"/>
                  </a:lnTo>
                  <a:close/>
                </a:path>
              </a:pathLst>
            </a:custGeom>
            <a:solidFill>
              <a:srgbClr val="7F8183"/>
            </a:solidFill>
            <a:ln w="6029" cap="flat">
              <a:noFill/>
              <a:prstDash val="solid"/>
              <a:miter/>
            </a:ln>
          </p:spPr>
          <p:txBody>
            <a:bodyPr rtlCol="0" anchor="ctr"/>
            <a:lstStyle/>
            <a:p>
              <a:endParaRPr lang="x-none" sz="1905"/>
            </a:p>
          </p:txBody>
        </p:sp>
        <p:sp>
          <p:nvSpPr>
            <p:cNvPr id="36" name="Freeform 35">
              <a:extLst>
                <a:ext uri="{FF2B5EF4-FFF2-40B4-BE49-F238E27FC236}">
                  <a16:creationId xmlns:a16="http://schemas.microsoft.com/office/drawing/2014/main" id="{45D4FCA0-14DC-494B-BCD3-DA0F923920D4}"/>
                </a:ext>
              </a:extLst>
            </p:cNvPr>
            <p:cNvSpPr/>
            <p:nvPr/>
          </p:nvSpPr>
          <p:spPr>
            <a:xfrm>
              <a:off x="1661985" y="5739365"/>
              <a:ext cx="133907" cy="123255"/>
            </a:xfrm>
            <a:custGeom>
              <a:avLst/>
              <a:gdLst>
                <a:gd name="connsiteX0" fmla="*/ 113306 w 133907"/>
                <a:gd name="connsiteY0" fmla="*/ 0 h 123255"/>
                <a:gd name="connsiteX1" fmla="*/ 133908 w 133907"/>
                <a:gd name="connsiteY1" fmla="*/ 0 h 123255"/>
                <a:gd name="connsiteX2" fmla="*/ 133908 w 133907"/>
                <a:gd name="connsiteY2" fmla="*/ 123255 h 123255"/>
                <a:gd name="connsiteX3" fmla="*/ 113306 w 133907"/>
                <a:gd name="connsiteY3" fmla="*/ 123255 h 123255"/>
                <a:gd name="connsiteX4" fmla="*/ 113306 w 133907"/>
                <a:gd name="connsiteY4" fmla="*/ 0 h 123255"/>
                <a:gd name="connsiteX5" fmla="*/ 52109 w 133907"/>
                <a:gd name="connsiteY5" fmla="*/ 61324 h 123255"/>
                <a:gd name="connsiteX6" fmla="*/ 20601 w 133907"/>
                <a:gd name="connsiteY6" fmla="*/ 61324 h 123255"/>
                <a:gd name="connsiteX7" fmla="*/ 20601 w 133907"/>
                <a:gd name="connsiteY7" fmla="*/ 105040 h 123255"/>
                <a:gd name="connsiteX8" fmla="*/ 52109 w 133907"/>
                <a:gd name="connsiteY8" fmla="*/ 105040 h 123255"/>
                <a:gd name="connsiteX9" fmla="*/ 70892 w 133907"/>
                <a:gd name="connsiteY9" fmla="*/ 98969 h 123255"/>
                <a:gd name="connsiteX10" fmla="*/ 75740 w 133907"/>
                <a:gd name="connsiteY10" fmla="*/ 82575 h 123255"/>
                <a:gd name="connsiteX11" fmla="*/ 70892 w 133907"/>
                <a:gd name="connsiteY11" fmla="*/ 66789 h 123255"/>
                <a:gd name="connsiteX12" fmla="*/ 52109 w 133907"/>
                <a:gd name="connsiteY12" fmla="*/ 61324 h 123255"/>
                <a:gd name="connsiteX13" fmla="*/ 0 w 133907"/>
                <a:gd name="connsiteY13" fmla="*/ 123255 h 123255"/>
                <a:gd name="connsiteX14" fmla="*/ 0 w 133907"/>
                <a:gd name="connsiteY14" fmla="*/ 0 h 123255"/>
                <a:gd name="connsiteX15" fmla="*/ 20601 w 133907"/>
                <a:gd name="connsiteY15" fmla="*/ 0 h 123255"/>
                <a:gd name="connsiteX16" fmla="*/ 20601 w 133907"/>
                <a:gd name="connsiteY16" fmla="*/ 42502 h 123255"/>
                <a:gd name="connsiteX17" fmla="*/ 52109 w 133907"/>
                <a:gd name="connsiteY17" fmla="*/ 42502 h 123255"/>
                <a:gd name="connsiteX18" fmla="*/ 84222 w 133907"/>
                <a:gd name="connsiteY18" fmla="*/ 52824 h 123255"/>
                <a:gd name="connsiteX19" fmla="*/ 95129 w 133907"/>
                <a:gd name="connsiteY19" fmla="*/ 81968 h 123255"/>
                <a:gd name="connsiteX20" fmla="*/ 84222 w 133907"/>
                <a:gd name="connsiteY20" fmla="*/ 112326 h 123255"/>
                <a:gd name="connsiteX21" fmla="*/ 51503 w 133907"/>
                <a:gd name="connsiteY21" fmla="*/ 123255 h 123255"/>
                <a:gd name="connsiteX22" fmla="*/ 0 w 133907"/>
                <a:gd name="connsiteY22" fmla="*/ 123255 h 12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3907" h="123255">
                  <a:moveTo>
                    <a:pt x="113306" y="0"/>
                  </a:moveTo>
                  <a:lnTo>
                    <a:pt x="133908" y="0"/>
                  </a:lnTo>
                  <a:lnTo>
                    <a:pt x="133908" y="123255"/>
                  </a:lnTo>
                  <a:lnTo>
                    <a:pt x="113306" y="123255"/>
                  </a:lnTo>
                  <a:lnTo>
                    <a:pt x="113306" y="0"/>
                  </a:lnTo>
                  <a:close/>
                  <a:moveTo>
                    <a:pt x="52109" y="61324"/>
                  </a:moveTo>
                  <a:lnTo>
                    <a:pt x="20601" y="61324"/>
                  </a:lnTo>
                  <a:lnTo>
                    <a:pt x="20601" y="105040"/>
                  </a:lnTo>
                  <a:lnTo>
                    <a:pt x="52109" y="105040"/>
                  </a:lnTo>
                  <a:cubicBezTo>
                    <a:pt x="61198" y="105040"/>
                    <a:pt x="67863" y="102612"/>
                    <a:pt x="70892" y="98969"/>
                  </a:cubicBezTo>
                  <a:cubicBezTo>
                    <a:pt x="74528" y="94718"/>
                    <a:pt x="75740" y="89254"/>
                    <a:pt x="75740" y="82575"/>
                  </a:cubicBezTo>
                  <a:cubicBezTo>
                    <a:pt x="75740" y="75896"/>
                    <a:pt x="73922" y="70432"/>
                    <a:pt x="70892" y="66789"/>
                  </a:cubicBezTo>
                  <a:cubicBezTo>
                    <a:pt x="67863" y="63146"/>
                    <a:pt x="61803" y="61324"/>
                    <a:pt x="52109" y="61324"/>
                  </a:cubicBezTo>
                  <a:moveTo>
                    <a:pt x="0" y="123255"/>
                  </a:moveTo>
                  <a:lnTo>
                    <a:pt x="0" y="0"/>
                  </a:lnTo>
                  <a:lnTo>
                    <a:pt x="20601" y="0"/>
                  </a:lnTo>
                  <a:lnTo>
                    <a:pt x="20601" y="42502"/>
                  </a:lnTo>
                  <a:lnTo>
                    <a:pt x="52109" y="42502"/>
                  </a:lnTo>
                  <a:cubicBezTo>
                    <a:pt x="66045" y="42502"/>
                    <a:pt x="76951" y="46145"/>
                    <a:pt x="84222" y="52824"/>
                  </a:cubicBezTo>
                  <a:cubicBezTo>
                    <a:pt x="91493" y="59503"/>
                    <a:pt x="95129" y="69217"/>
                    <a:pt x="95129" y="81968"/>
                  </a:cubicBezTo>
                  <a:cubicBezTo>
                    <a:pt x="95129" y="94718"/>
                    <a:pt x="91493" y="105040"/>
                    <a:pt x="84222" y="112326"/>
                  </a:cubicBezTo>
                  <a:cubicBezTo>
                    <a:pt x="76951" y="119612"/>
                    <a:pt x="66045" y="123255"/>
                    <a:pt x="51503" y="123255"/>
                  </a:cubicBezTo>
                  <a:lnTo>
                    <a:pt x="0" y="123255"/>
                  </a:lnTo>
                  <a:close/>
                </a:path>
              </a:pathLst>
            </a:custGeom>
            <a:solidFill>
              <a:srgbClr val="7F8183"/>
            </a:solidFill>
            <a:ln w="6029" cap="flat">
              <a:noFill/>
              <a:prstDash val="solid"/>
              <a:miter/>
            </a:ln>
          </p:spPr>
          <p:txBody>
            <a:bodyPr rtlCol="0" anchor="ctr"/>
            <a:lstStyle/>
            <a:p>
              <a:endParaRPr lang="x-none" sz="1905"/>
            </a:p>
          </p:txBody>
        </p:sp>
        <p:sp>
          <p:nvSpPr>
            <p:cNvPr id="37" name="Freeform 36">
              <a:extLst>
                <a:ext uri="{FF2B5EF4-FFF2-40B4-BE49-F238E27FC236}">
                  <a16:creationId xmlns:a16="http://schemas.microsoft.com/office/drawing/2014/main" id="{A2FFC28F-85FD-BE41-8204-70A20F75E032}"/>
                </a:ext>
              </a:extLst>
            </p:cNvPr>
            <p:cNvSpPr/>
            <p:nvPr/>
          </p:nvSpPr>
          <p:spPr>
            <a:xfrm>
              <a:off x="1818917" y="5739365"/>
              <a:ext cx="116941" cy="123255"/>
            </a:xfrm>
            <a:custGeom>
              <a:avLst/>
              <a:gdLst>
                <a:gd name="connsiteX0" fmla="*/ 92099 w 116941"/>
                <a:gd name="connsiteY0" fmla="*/ 123255 h 123255"/>
                <a:gd name="connsiteX1" fmla="*/ 57562 w 116941"/>
                <a:gd name="connsiteY1" fmla="*/ 74075 h 123255"/>
                <a:gd name="connsiteX2" fmla="*/ 24237 w 116941"/>
                <a:gd name="connsiteY2" fmla="*/ 123255 h 123255"/>
                <a:gd name="connsiteX3" fmla="*/ 0 w 116941"/>
                <a:gd name="connsiteY3" fmla="*/ 123255 h 123255"/>
                <a:gd name="connsiteX4" fmla="*/ 45444 w 116941"/>
                <a:gd name="connsiteY4" fmla="*/ 60110 h 123255"/>
                <a:gd name="connsiteX5" fmla="*/ 3030 w 116941"/>
                <a:gd name="connsiteY5" fmla="*/ 0 h 123255"/>
                <a:gd name="connsiteX6" fmla="*/ 26660 w 116941"/>
                <a:gd name="connsiteY6" fmla="*/ 0 h 123255"/>
                <a:gd name="connsiteX7" fmla="*/ 57562 w 116941"/>
                <a:gd name="connsiteY7" fmla="*/ 45538 h 123255"/>
                <a:gd name="connsiteX8" fmla="*/ 89070 w 116941"/>
                <a:gd name="connsiteY8" fmla="*/ 0 h 123255"/>
                <a:gd name="connsiteX9" fmla="*/ 112700 w 116941"/>
                <a:gd name="connsiteY9" fmla="*/ 0 h 123255"/>
                <a:gd name="connsiteX10" fmla="*/ 69680 w 116941"/>
                <a:gd name="connsiteY10" fmla="*/ 58895 h 123255"/>
                <a:gd name="connsiteX11" fmla="*/ 116942 w 116941"/>
                <a:gd name="connsiteY11" fmla="*/ 123255 h 12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41" h="123255">
                  <a:moveTo>
                    <a:pt x="92099" y="123255"/>
                  </a:moveTo>
                  <a:lnTo>
                    <a:pt x="57562" y="74075"/>
                  </a:lnTo>
                  <a:lnTo>
                    <a:pt x="24237" y="123255"/>
                  </a:lnTo>
                  <a:lnTo>
                    <a:pt x="0" y="123255"/>
                  </a:lnTo>
                  <a:lnTo>
                    <a:pt x="45444" y="60110"/>
                  </a:lnTo>
                  <a:lnTo>
                    <a:pt x="3030" y="0"/>
                  </a:lnTo>
                  <a:lnTo>
                    <a:pt x="26660" y="0"/>
                  </a:lnTo>
                  <a:lnTo>
                    <a:pt x="57562" y="45538"/>
                  </a:lnTo>
                  <a:lnTo>
                    <a:pt x="89070" y="0"/>
                  </a:lnTo>
                  <a:lnTo>
                    <a:pt x="112700" y="0"/>
                  </a:lnTo>
                  <a:lnTo>
                    <a:pt x="69680" y="58895"/>
                  </a:lnTo>
                  <a:lnTo>
                    <a:pt x="116942" y="123255"/>
                  </a:lnTo>
                  <a:close/>
                </a:path>
              </a:pathLst>
            </a:custGeom>
            <a:solidFill>
              <a:srgbClr val="7F8183"/>
            </a:solidFill>
            <a:ln w="6029" cap="flat">
              <a:noFill/>
              <a:prstDash val="solid"/>
              <a:miter/>
            </a:ln>
          </p:spPr>
          <p:txBody>
            <a:bodyPr rtlCol="0" anchor="ctr"/>
            <a:lstStyle/>
            <a:p>
              <a:endParaRPr lang="x-none" sz="1905"/>
            </a:p>
          </p:txBody>
        </p:sp>
        <p:grpSp>
          <p:nvGrpSpPr>
            <p:cNvPr id="38" name="Graphic 11">
              <a:extLst>
                <a:ext uri="{FF2B5EF4-FFF2-40B4-BE49-F238E27FC236}">
                  <a16:creationId xmlns:a16="http://schemas.microsoft.com/office/drawing/2014/main" id="{2B14A07C-F107-AD4B-84D8-19021835B693}"/>
                </a:ext>
              </a:extLst>
            </p:cNvPr>
            <p:cNvGrpSpPr/>
            <p:nvPr/>
          </p:nvGrpSpPr>
          <p:grpSpPr>
            <a:xfrm>
              <a:off x="368960" y="6001054"/>
              <a:ext cx="249637" cy="176686"/>
              <a:chOff x="368960" y="6001054"/>
              <a:chExt cx="249637" cy="176686"/>
            </a:xfrm>
            <a:solidFill>
              <a:srgbClr val="CFD4D9"/>
            </a:solidFill>
          </p:grpSpPr>
          <p:sp>
            <p:nvSpPr>
              <p:cNvPr id="39" name="Freeform 38">
                <a:extLst>
                  <a:ext uri="{FF2B5EF4-FFF2-40B4-BE49-F238E27FC236}">
                    <a16:creationId xmlns:a16="http://schemas.microsoft.com/office/drawing/2014/main" id="{F3BC9B31-FED1-1348-9FC7-4B7596D6EE7B}"/>
                  </a:ext>
                </a:extLst>
              </p:cNvPr>
              <p:cNvSpPr/>
              <p:nvPr/>
            </p:nvSpPr>
            <p:spPr>
              <a:xfrm>
                <a:off x="368960" y="6001054"/>
                <a:ext cx="116335" cy="176686"/>
              </a:xfrm>
              <a:custGeom>
                <a:avLst/>
                <a:gdLst>
                  <a:gd name="connsiteX0" fmla="*/ 19995 w 116335"/>
                  <a:gd name="connsiteY0" fmla="*/ 74682 h 176686"/>
                  <a:gd name="connsiteX1" fmla="*/ 31508 w 116335"/>
                  <a:gd name="connsiteY1" fmla="*/ 100790 h 176686"/>
                  <a:gd name="connsiteX2" fmla="*/ 58774 w 116335"/>
                  <a:gd name="connsiteY2" fmla="*/ 110505 h 176686"/>
                  <a:gd name="connsiteX3" fmla="*/ 85434 w 116335"/>
                  <a:gd name="connsiteY3" fmla="*/ 97754 h 176686"/>
                  <a:gd name="connsiteX4" fmla="*/ 95129 w 116335"/>
                  <a:gd name="connsiteY4" fmla="*/ 63753 h 176686"/>
                  <a:gd name="connsiteX5" fmla="*/ 85434 w 116335"/>
                  <a:gd name="connsiteY5" fmla="*/ 30966 h 176686"/>
                  <a:gd name="connsiteX6" fmla="*/ 58168 w 116335"/>
                  <a:gd name="connsiteY6" fmla="*/ 18215 h 176686"/>
                  <a:gd name="connsiteX7" fmla="*/ 44232 w 116335"/>
                  <a:gd name="connsiteY7" fmla="*/ 20644 h 176686"/>
                  <a:gd name="connsiteX8" fmla="*/ 32114 w 116335"/>
                  <a:gd name="connsiteY8" fmla="*/ 28537 h 176686"/>
                  <a:gd name="connsiteX9" fmla="*/ 23631 w 116335"/>
                  <a:gd name="connsiteY9" fmla="*/ 41287 h 176686"/>
                  <a:gd name="connsiteX10" fmla="*/ 20601 w 116335"/>
                  <a:gd name="connsiteY10" fmla="*/ 58895 h 176686"/>
                  <a:gd name="connsiteX11" fmla="*/ 20601 w 116335"/>
                  <a:gd name="connsiteY11" fmla="*/ 74682 h 176686"/>
                  <a:gd name="connsiteX12" fmla="*/ 0 w 116335"/>
                  <a:gd name="connsiteY12" fmla="*/ 176686 h 176686"/>
                  <a:gd name="connsiteX13" fmla="*/ 0 w 116335"/>
                  <a:gd name="connsiteY13" fmla="*/ 3036 h 176686"/>
                  <a:gd name="connsiteX14" fmla="*/ 20601 w 116335"/>
                  <a:gd name="connsiteY14" fmla="*/ 3036 h 176686"/>
                  <a:gd name="connsiteX15" fmla="*/ 20601 w 116335"/>
                  <a:gd name="connsiteY15" fmla="*/ 19429 h 176686"/>
                  <a:gd name="connsiteX16" fmla="*/ 38779 w 116335"/>
                  <a:gd name="connsiteY16" fmla="*/ 4857 h 176686"/>
                  <a:gd name="connsiteX17" fmla="*/ 62409 w 116335"/>
                  <a:gd name="connsiteY17" fmla="*/ 0 h 176686"/>
                  <a:gd name="connsiteX18" fmla="*/ 83616 w 116335"/>
                  <a:gd name="connsiteY18" fmla="*/ 4250 h 176686"/>
                  <a:gd name="connsiteX19" fmla="*/ 100582 w 116335"/>
                  <a:gd name="connsiteY19" fmla="*/ 16394 h 176686"/>
                  <a:gd name="connsiteX20" fmla="*/ 112094 w 116335"/>
                  <a:gd name="connsiteY20" fmla="*/ 36430 h 176686"/>
                  <a:gd name="connsiteX21" fmla="*/ 116336 w 116335"/>
                  <a:gd name="connsiteY21" fmla="*/ 63753 h 176686"/>
                  <a:gd name="connsiteX22" fmla="*/ 100582 w 116335"/>
                  <a:gd name="connsiteY22" fmla="*/ 111719 h 176686"/>
                  <a:gd name="connsiteX23" fmla="*/ 58774 w 116335"/>
                  <a:gd name="connsiteY23" fmla="*/ 129327 h 176686"/>
                  <a:gd name="connsiteX24" fmla="*/ 36961 w 116335"/>
                  <a:gd name="connsiteY24" fmla="*/ 125077 h 176686"/>
                  <a:gd name="connsiteX25" fmla="*/ 20601 w 116335"/>
                  <a:gd name="connsiteY25" fmla="*/ 112933 h 176686"/>
                  <a:gd name="connsiteX26" fmla="*/ 20601 w 116335"/>
                  <a:gd name="connsiteY26" fmla="*/ 176686 h 176686"/>
                  <a:gd name="connsiteX27" fmla="*/ 0 w 116335"/>
                  <a:gd name="connsiteY27" fmla="*/ 176686 h 17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6335" h="176686">
                    <a:moveTo>
                      <a:pt x="19995" y="74682"/>
                    </a:moveTo>
                    <a:cubicBezTo>
                      <a:pt x="19995" y="86218"/>
                      <a:pt x="23631" y="94718"/>
                      <a:pt x="31508" y="100790"/>
                    </a:cubicBezTo>
                    <a:cubicBezTo>
                      <a:pt x="39385" y="106862"/>
                      <a:pt x="48473" y="110505"/>
                      <a:pt x="58774" y="110505"/>
                    </a:cubicBezTo>
                    <a:cubicBezTo>
                      <a:pt x="70286" y="110505"/>
                      <a:pt x="78769" y="106255"/>
                      <a:pt x="85434" y="97754"/>
                    </a:cubicBezTo>
                    <a:cubicBezTo>
                      <a:pt x="92099" y="89254"/>
                      <a:pt x="95129" y="78325"/>
                      <a:pt x="95129" y="63753"/>
                    </a:cubicBezTo>
                    <a:cubicBezTo>
                      <a:pt x="95129" y="50395"/>
                      <a:pt x="92099" y="39466"/>
                      <a:pt x="85434" y="30966"/>
                    </a:cubicBezTo>
                    <a:cubicBezTo>
                      <a:pt x="78769" y="22465"/>
                      <a:pt x="69680" y="18215"/>
                      <a:pt x="58168" y="18215"/>
                    </a:cubicBezTo>
                    <a:cubicBezTo>
                      <a:pt x="53321" y="18215"/>
                      <a:pt x="48473" y="18822"/>
                      <a:pt x="44232" y="20644"/>
                    </a:cubicBezTo>
                    <a:cubicBezTo>
                      <a:pt x="39990" y="22465"/>
                      <a:pt x="35749" y="24894"/>
                      <a:pt x="32114" y="28537"/>
                    </a:cubicBezTo>
                    <a:cubicBezTo>
                      <a:pt x="28478" y="32180"/>
                      <a:pt x="25448" y="36430"/>
                      <a:pt x="23631" y="41287"/>
                    </a:cubicBezTo>
                    <a:cubicBezTo>
                      <a:pt x="21207" y="46752"/>
                      <a:pt x="20601" y="52216"/>
                      <a:pt x="20601" y="58895"/>
                    </a:cubicBezTo>
                    <a:lnTo>
                      <a:pt x="20601" y="74682"/>
                    </a:lnTo>
                    <a:close/>
                    <a:moveTo>
                      <a:pt x="0" y="176686"/>
                    </a:moveTo>
                    <a:lnTo>
                      <a:pt x="0" y="3036"/>
                    </a:lnTo>
                    <a:lnTo>
                      <a:pt x="20601" y="3036"/>
                    </a:lnTo>
                    <a:lnTo>
                      <a:pt x="20601" y="19429"/>
                    </a:lnTo>
                    <a:cubicBezTo>
                      <a:pt x="24843" y="12750"/>
                      <a:pt x="30902" y="8500"/>
                      <a:pt x="38779" y="4857"/>
                    </a:cubicBezTo>
                    <a:cubicBezTo>
                      <a:pt x="46050" y="1822"/>
                      <a:pt x="53927" y="0"/>
                      <a:pt x="62409" y="0"/>
                    </a:cubicBezTo>
                    <a:cubicBezTo>
                      <a:pt x="69680" y="0"/>
                      <a:pt x="76951" y="1214"/>
                      <a:pt x="83616" y="4250"/>
                    </a:cubicBezTo>
                    <a:cubicBezTo>
                      <a:pt x="90282" y="6679"/>
                      <a:pt x="95735" y="10929"/>
                      <a:pt x="100582" y="16394"/>
                    </a:cubicBezTo>
                    <a:cubicBezTo>
                      <a:pt x="105429" y="21858"/>
                      <a:pt x="109671" y="28537"/>
                      <a:pt x="112094" y="36430"/>
                    </a:cubicBezTo>
                    <a:cubicBezTo>
                      <a:pt x="115124" y="44323"/>
                      <a:pt x="116336" y="53431"/>
                      <a:pt x="116336" y="63753"/>
                    </a:cubicBezTo>
                    <a:cubicBezTo>
                      <a:pt x="116336" y="84396"/>
                      <a:pt x="110883" y="100183"/>
                      <a:pt x="100582" y="111719"/>
                    </a:cubicBezTo>
                    <a:cubicBezTo>
                      <a:pt x="90282" y="123255"/>
                      <a:pt x="76345" y="129327"/>
                      <a:pt x="58774" y="129327"/>
                    </a:cubicBezTo>
                    <a:cubicBezTo>
                      <a:pt x="50897" y="129327"/>
                      <a:pt x="43626" y="128113"/>
                      <a:pt x="36961" y="125077"/>
                    </a:cubicBezTo>
                    <a:cubicBezTo>
                      <a:pt x="30296" y="122041"/>
                      <a:pt x="24843" y="118398"/>
                      <a:pt x="20601" y="112933"/>
                    </a:cubicBezTo>
                    <a:lnTo>
                      <a:pt x="20601" y="176686"/>
                    </a:lnTo>
                    <a:lnTo>
                      <a:pt x="0" y="176686"/>
                    </a:lnTo>
                    <a:close/>
                  </a:path>
                </a:pathLst>
              </a:custGeom>
              <a:solidFill>
                <a:srgbClr val="7F8183"/>
              </a:solidFill>
              <a:ln w="6029" cap="flat">
                <a:noFill/>
                <a:prstDash val="solid"/>
                <a:miter/>
              </a:ln>
            </p:spPr>
            <p:txBody>
              <a:bodyPr rtlCol="0" anchor="ctr"/>
              <a:lstStyle/>
              <a:p>
                <a:endParaRPr lang="x-none" sz="1905"/>
              </a:p>
            </p:txBody>
          </p:sp>
          <p:sp>
            <p:nvSpPr>
              <p:cNvPr id="40" name="Freeform 39">
                <a:extLst>
                  <a:ext uri="{FF2B5EF4-FFF2-40B4-BE49-F238E27FC236}">
                    <a16:creationId xmlns:a16="http://schemas.microsoft.com/office/drawing/2014/main" id="{4E2BC8D1-0D0C-9D43-867A-437A37E4CDDF}"/>
                  </a:ext>
                </a:extLst>
              </p:cNvPr>
              <p:cNvSpPr/>
              <p:nvPr/>
            </p:nvSpPr>
            <p:spPr>
              <a:xfrm>
                <a:off x="508321" y="6002269"/>
                <a:ext cx="110276" cy="128112"/>
              </a:xfrm>
              <a:custGeom>
                <a:avLst/>
                <a:gdLst>
                  <a:gd name="connsiteX0" fmla="*/ 56956 w 110276"/>
                  <a:gd name="connsiteY0" fmla="*/ 17001 h 128112"/>
                  <a:gd name="connsiteX1" fmla="*/ 33325 w 110276"/>
                  <a:gd name="connsiteY1" fmla="*/ 26108 h 128112"/>
                  <a:gd name="connsiteX2" fmla="*/ 21207 w 110276"/>
                  <a:gd name="connsiteY2" fmla="*/ 49788 h 128112"/>
                  <a:gd name="connsiteX3" fmla="*/ 90282 w 110276"/>
                  <a:gd name="connsiteY3" fmla="*/ 49788 h 128112"/>
                  <a:gd name="connsiteX4" fmla="*/ 81799 w 110276"/>
                  <a:gd name="connsiteY4" fmla="*/ 26108 h 128112"/>
                  <a:gd name="connsiteX5" fmla="*/ 56956 w 110276"/>
                  <a:gd name="connsiteY5" fmla="*/ 17001 h 128112"/>
                  <a:gd name="connsiteX6" fmla="*/ 110277 w 110276"/>
                  <a:gd name="connsiteY6" fmla="*/ 67396 h 128112"/>
                  <a:gd name="connsiteX7" fmla="*/ 20601 w 110276"/>
                  <a:gd name="connsiteY7" fmla="*/ 67396 h 128112"/>
                  <a:gd name="connsiteX8" fmla="*/ 32114 w 110276"/>
                  <a:gd name="connsiteY8" fmla="*/ 98969 h 128112"/>
                  <a:gd name="connsiteX9" fmla="*/ 58168 w 110276"/>
                  <a:gd name="connsiteY9" fmla="*/ 109898 h 128112"/>
                  <a:gd name="connsiteX10" fmla="*/ 80587 w 110276"/>
                  <a:gd name="connsiteY10" fmla="*/ 103219 h 128112"/>
                  <a:gd name="connsiteX11" fmla="*/ 90887 w 110276"/>
                  <a:gd name="connsiteY11" fmla="*/ 87432 h 128112"/>
                  <a:gd name="connsiteX12" fmla="*/ 110277 w 110276"/>
                  <a:gd name="connsiteY12" fmla="*/ 91075 h 128112"/>
                  <a:gd name="connsiteX13" fmla="*/ 92099 w 110276"/>
                  <a:gd name="connsiteY13" fmla="*/ 118398 h 128112"/>
                  <a:gd name="connsiteX14" fmla="*/ 57562 w 110276"/>
                  <a:gd name="connsiteY14" fmla="*/ 128113 h 128112"/>
                  <a:gd name="connsiteX15" fmla="*/ 15754 w 110276"/>
                  <a:gd name="connsiteY15" fmla="*/ 111112 h 128112"/>
                  <a:gd name="connsiteX16" fmla="*/ 0 w 110276"/>
                  <a:gd name="connsiteY16" fmla="*/ 63753 h 128112"/>
                  <a:gd name="connsiteX17" fmla="*/ 4241 w 110276"/>
                  <a:gd name="connsiteY17" fmla="*/ 36430 h 128112"/>
                  <a:gd name="connsiteX18" fmla="*/ 16360 w 110276"/>
                  <a:gd name="connsiteY18" fmla="*/ 16394 h 128112"/>
                  <a:gd name="connsiteX19" fmla="*/ 34537 w 110276"/>
                  <a:gd name="connsiteY19" fmla="*/ 4250 h 128112"/>
                  <a:gd name="connsiteX20" fmla="*/ 56956 w 110276"/>
                  <a:gd name="connsiteY20" fmla="*/ 0 h 128112"/>
                  <a:gd name="connsiteX21" fmla="*/ 95735 w 110276"/>
                  <a:gd name="connsiteY21" fmla="*/ 15786 h 128112"/>
                  <a:gd name="connsiteX22" fmla="*/ 110277 w 110276"/>
                  <a:gd name="connsiteY22" fmla="*/ 59503 h 128112"/>
                  <a:gd name="connsiteX23" fmla="*/ 110277 w 110276"/>
                  <a:gd name="connsiteY23" fmla="*/ 67396 h 12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0276" h="128112">
                    <a:moveTo>
                      <a:pt x="56956" y="17001"/>
                    </a:moveTo>
                    <a:cubicBezTo>
                      <a:pt x="47261" y="17001"/>
                      <a:pt x="39385" y="20037"/>
                      <a:pt x="33325" y="26108"/>
                    </a:cubicBezTo>
                    <a:cubicBezTo>
                      <a:pt x="26660" y="32180"/>
                      <a:pt x="23025" y="40073"/>
                      <a:pt x="21207" y="49788"/>
                    </a:cubicBezTo>
                    <a:lnTo>
                      <a:pt x="90282" y="49788"/>
                    </a:lnTo>
                    <a:cubicBezTo>
                      <a:pt x="89676" y="40073"/>
                      <a:pt x="86646" y="32180"/>
                      <a:pt x="81799" y="26108"/>
                    </a:cubicBezTo>
                    <a:cubicBezTo>
                      <a:pt x="75740" y="20037"/>
                      <a:pt x="67863" y="17001"/>
                      <a:pt x="56956" y="17001"/>
                    </a:cubicBezTo>
                    <a:moveTo>
                      <a:pt x="110277" y="67396"/>
                    </a:moveTo>
                    <a:lnTo>
                      <a:pt x="20601" y="67396"/>
                    </a:lnTo>
                    <a:cubicBezTo>
                      <a:pt x="21207" y="81361"/>
                      <a:pt x="24843" y="91683"/>
                      <a:pt x="32114" y="98969"/>
                    </a:cubicBezTo>
                    <a:cubicBezTo>
                      <a:pt x="38779" y="106255"/>
                      <a:pt x="47867" y="109898"/>
                      <a:pt x="58168" y="109898"/>
                    </a:cubicBezTo>
                    <a:cubicBezTo>
                      <a:pt x="67863" y="109898"/>
                      <a:pt x="75134" y="107469"/>
                      <a:pt x="80587" y="103219"/>
                    </a:cubicBezTo>
                    <a:cubicBezTo>
                      <a:pt x="86040" y="98969"/>
                      <a:pt x="89070" y="93504"/>
                      <a:pt x="90887" y="87432"/>
                    </a:cubicBezTo>
                    <a:lnTo>
                      <a:pt x="110277" y="91075"/>
                    </a:lnTo>
                    <a:cubicBezTo>
                      <a:pt x="107247" y="102611"/>
                      <a:pt x="101188" y="111719"/>
                      <a:pt x="92099" y="118398"/>
                    </a:cubicBezTo>
                    <a:cubicBezTo>
                      <a:pt x="83011" y="125077"/>
                      <a:pt x="71498" y="128113"/>
                      <a:pt x="57562" y="128113"/>
                    </a:cubicBezTo>
                    <a:cubicBezTo>
                      <a:pt x="39990" y="128113"/>
                      <a:pt x="26054" y="122648"/>
                      <a:pt x="15754" y="111112"/>
                    </a:cubicBezTo>
                    <a:cubicBezTo>
                      <a:pt x="5453" y="99576"/>
                      <a:pt x="0" y="83789"/>
                      <a:pt x="0" y="63753"/>
                    </a:cubicBezTo>
                    <a:cubicBezTo>
                      <a:pt x="0" y="53431"/>
                      <a:pt x="1212" y="44323"/>
                      <a:pt x="4241" y="36430"/>
                    </a:cubicBezTo>
                    <a:cubicBezTo>
                      <a:pt x="7271" y="28537"/>
                      <a:pt x="11512" y="21858"/>
                      <a:pt x="16360" y="16394"/>
                    </a:cubicBezTo>
                    <a:cubicBezTo>
                      <a:pt x="21207" y="10929"/>
                      <a:pt x="27872" y="6679"/>
                      <a:pt x="34537" y="4250"/>
                    </a:cubicBezTo>
                    <a:cubicBezTo>
                      <a:pt x="41808" y="1214"/>
                      <a:pt x="49079" y="0"/>
                      <a:pt x="56956" y="0"/>
                    </a:cubicBezTo>
                    <a:cubicBezTo>
                      <a:pt x="73316" y="0"/>
                      <a:pt x="86040" y="5464"/>
                      <a:pt x="95735" y="15786"/>
                    </a:cubicBezTo>
                    <a:cubicBezTo>
                      <a:pt x="105429" y="26108"/>
                      <a:pt x="110277" y="40680"/>
                      <a:pt x="110277" y="59503"/>
                    </a:cubicBezTo>
                    <a:lnTo>
                      <a:pt x="110277" y="67396"/>
                    </a:lnTo>
                    <a:close/>
                  </a:path>
                </a:pathLst>
              </a:custGeom>
              <a:solidFill>
                <a:srgbClr val="7F8183"/>
              </a:solidFill>
              <a:ln w="6029" cap="flat">
                <a:noFill/>
                <a:prstDash val="solid"/>
                <a:miter/>
              </a:ln>
            </p:spPr>
            <p:txBody>
              <a:bodyPr rtlCol="0" anchor="ctr"/>
              <a:lstStyle/>
              <a:p>
                <a:endParaRPr lang="x-none" sz="1905"/>
              </a:p>
            </p:txBody>
          </p:sp>
        </p:grpSp>
        <p:sp>
          <p:nvSpPr>
            <p:cNvPr id="41" name="Freeform 40">
              <a:extLst>
                <a:ext uri="{FF2B5EF4-FFF2-40B4-BE49-F238E27FC236}">
                  <a16:creationId xmlns:a16="http://schemas.microsoft.com/office/drawing/2014/main" id="{8D538EF1-09C4-5448-A023-ECE6ED903AEA}"/>
                </a:ext>
              </a:extLst>
            </p:cNvPr>
            <p:cNvSpPr/>
            <p:nvPr/>
          </p:nvSpPr>
          <p:spPr>
            <a:xfrm>
              <a:off x="648893" y="6004090"/>
              <a:ext cx="161779" cy="123255"/>
            </a:xfrm>
            <a:custGeom>
              <a:avLst/>
              <a:gdLst>
                <a:gd name="connsiteX0" fmla="*/ 161780 w 161779"/>
                <a:gd name="connsiteY0" fmla="*/ 0 h 123255"/>
                <a:gd name="connsiteX1" fmla="*/ 161780 w 161779"/>
                <a:gd name="connsiteY1" fmla="*/ 123255 h 123255"/>
                <a:gd name="connsiteX2" fmla="*/ 0 w 161779"/>
                <a:gd name="connsiteY2" fmla="*/ 123255 h 123255"/>
                <a:gd name="connsiteX3" fmla="*/ 0 w 161779"/>
                <a:gd name="connsiteY3" fmla="*/ 0 h 123255"/>
                <a:gd name="connsiteX4" fmla="*/ 19995 w 161779"/>
                <a:gd name="connsiteY4" fmla="*/ 0 h 123255"/>
                <a:gd name="connsiteX5" fmla="*/ 19995 w 161779"/>
                <a:gd name="connsiteY5" fmla="*/ 104433 h 123255"/>
                <a:gd name="connsiteX6" fmla="*/ 70286 w 161779"/>
                <a:gd name="connsiteY6" fmla="*/ 104433 h 123255"/>
                <a:gd name="connsiteX7" fmla="*/ 70286 w 161779"/>
                <a:gd name="connsiteY7" fmla="*/ 0 h 123255"/>
                <a:gd name="connsiteX8" fmla="*/ 90887 w 161779"/>
                <a:gd name="connsiteY8" fmla="*/ 0 h 123255"/>
                <a:gd name="connsiteX9" fmla="*/ 90887 w 161779"/>
                <a:gd name="connsiteY9" fmla="*/ 104433 h 123255"/>
                <a:gd name="connsiteX10" fmla="*/ 141178 w 161779"/>
                <a:gd name="connsiteY10" fmla="*/ 104433 h 123255"/>
                <a:gd name="connsiteX11" fmla="*/ 141178 w 161779"/>
                <a:gd name="connsiteY11" fmla="*/ 0 h 12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779" h="123255">
                  <a:moveTo>
                    <a:pt x="161780" y="0"/>
                  </a:moveTo>
                  <a:lnTo>
                    <a:pt x="161780" y="123255"/>
                  </a:lnTo>
                  <a:lnTo>
                    <a:pt x="0" y="123255"/>
                  </a:lnTo>
                  <a:lnTo>
                    <a:pt x="0" y="0"/>
                  </a:lnTo>
                  <a:lnTo>
                    <a:pt x="19995" y="0"/>
                  </a:lnTo>
                  <a:lnTo>
                    <a:pt x="19995" y="104433"/>
                  </a:lnTo>
                  <a:lnTo>
                    <a:pt x="70286" y="104433"/>
                  </a:lnTo>
                  <a:lnTo>
                    <a:pt x="70286" y="0"/>
                  </a:lnTo>
                  <a:lnTo>
                    <a:pt x="90887" y="0"/>
                  </a:lnTo>
                  <a:lnTo>
                    <a:pt x="90887" y="104433"/>
                  </a:lnTo>
                  <a:lnTo>
                    <a:pt x="141178" y="104433"/>
                  </a:lnTo>
                  <a:lnTo>
                    <a:pt x="141178" y="0"/>
                  </a:lnTo>
                  <a:close/>
                </a:path>
              </a:pathLst>
            </a:custGeom>
            <a:solidFill>
              <a:srgbClr val="7F8183"/>
            </a:solidFill>
            <a:ln w="6029" cap="flat">
              <a:noFill/>
              <a:prstDash val="solid"/>
              <a:miter/>
            </a:ln>
          </p:spPr>
          <p:txBody>
            <a:bodyPr rtlCol="0" anchor="ctr"/>
            <a:lstStyle/>
            <a:p>
              <a:endParaRPr lang="x-none" sz="1905"/>
            </a:p>
          </p:txBody>
        </p:sp>
        <p:sp>
          <p:nvSpPr>
            <p:cNvPr id="42" name="Freeform 41">
              <a:extLst>
                <a:ext uri="{FF2B5EF4-FFF2-40B4-BE49-F238E27FC236}">
                  <a16:creationId xmlns:a16="http://schemas.microsoft.com/office/drawing/2014/main" id="{F406CBEB-901C-C047-9A70-891DF09F1017}"/>
                </a:ext>
              </a:extLst>
            </p:cNvPr>
            <p:cNvSpPr/>
            <p:nvPr/>
          </p:nvSpPr>
          <p:spPr>
            <a:xfrm>
              <a:off x="840969" y="6002269"/>
              <a:ext cx="110276" cy="128112"/>
            </a:xfrm>
            <a:custGeom>
              <a:avLst/>
              <a:gdLst>
                <a:gd name="connsiteX0" fmla="*/ 56956 w 110276"/>
                <a:gd name="connsiteY0" fmla="*/ 17001 h 128112"/>
                <a:gd name="connsiteX1" fmla="*/ 33325 w 110276"/>
                <a:gd name="connsiteY1" fmla="*/ 26108 h 128112"/>
                <a:gd name="connsiteX2" fmla="*/ 21207 w 110276"/>
                <a:gd name="connsiteY2" fmla="*/ 49788 h 128112"/>
                <a:gd name="connsiteX3" fmla="*/ 89676 w 110276"/>
                <a:gd name="connsiteY3" fmla="*/ 49788 h 128112"/>
                <a:gd name="connsiteX4" fmla="*/ 81193 w 110276"/>
                <a:gd name="connsiteY4" fmla="*/ 26108 h 128112"/>
                <a:gd name="connsiteX5" fmla="*/ 56956 w 110276"/>
                <a:gd name="connsiteY5" fmla="*/ 17001 h 128112"/>
                <a:gd name="connsiteX6" fmla="*/ 110277 w 110276"/>
                <a:gd name="connsiteY6" fmla="*/ 67396 h 128112"/>
                <a:gd name="connsiteX7" fmla="*/ 20601 w 110276"/>
                <a:gd name="connsiteY7" fmla="*/ 67396 h 128112"/>
                <a:gd name="connsiteX8" fmla="*/ 32114 w 110276"/>
                <a:gd name="connsiteY8" fmla="*/ 98969 h 128112"/>
                <a:gd name="connsiteX9" fmla="*/ 58168 w 110276"/>
                <a:gd name="connsiteY9" fmla="*/ 109898 h 128112"/>
                <a:gd name="connsiteX10" fmla="*/ 80587 w 110276"/>
                <a:gd name="connsiteY10" fmla="*/ 103219 h 128112"/>
                <a:gd name="connsiteX11" fmla="*/ 90887 w 110276"/>
                <a:gd name="connsiteY11" fmla="*/ 87432 h 128112"/>
                <a:gd name="connsiteX12" fmla="*/ 110277 w 110276"/>
                <a:gd name="connsiteY12" fmla="*/ 91075 h 128112"/>
                <a:gd name="connsiteX13" fmla="*/ 92099 w 110276"/>
                <a:gd name="connsiteY13" fmla="*/ 118398 h 128112"/>
                <a:gd name="connsiteX14" fmla="*/ 57562 w 110276"/>
                <a:gd name="connsiteY14" fmla="*/ 128113 h 128112"/>
                <a:gd name="connsiteX15" fmla="*/ 15754 w 110276"/>
                <a:gd name="connsiteY15" fmla="*/ 111112 h 128112"/>
                <a:gd name="connsiteX16" fmla="*/ 0 w 110276"/>
                <a:gd name="connsiteY16" fmla="*/ 63753 h 128112"/>
                <a:gd name="connsiteX17" fmla="*/ 4241 w 110276"/>
                <a:gd name="connsiteY17" fmla="*/ 36430 h 128112"/>
                <a:gd name="connsiteX18" fmla="*/ 16360 w 110276"/>
                <a:gd name="connsiteY18" fmla="*/ 16394 h 128112"/>
                <a:gd name="connsiteX19" fmla="*/ 34537 w 110276"/>
                <a:gd name="connsiteY19" fmla="*/ 4250 h 128112"/>
                <a:gd name="connsiteX20" fmla="*/ 56956 w 110276"/>
                <a:gd name="connsiteY20" fmla="*/ 0 h 128112"/>
                <a:gd name="connsiteX21" fmla="*/ 95735 w 110276"/>
                <a:gd name="connsiteY21" fmla="*/ 15786 h 128112"/>
                <a:gd name="connsiteX22" fmla="*/ 110277 w 110276"/>
                <a:gd name="connsiteY22" fmla="*/ 59503 h 128112"/>
                <a:gd name="connsiteX23" fmla="*/ 110277 w 110276"/>
                <a:gd name="connsiteY23" fmla="*/ 67396 h 12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0276" h="128112">
                  <a:moveTo>
                    <a:pt x="56956" y="17001"/>
                  </a:moveTo>
                  <a:cubicBezTo>
                    <a:pt x="47261" y="17001"/>
                    <a:pt x="39385" y="20037"/>
                    <a:pt x="33325" y="26108"/>
                  </a:cubicBezTo>
                  <a:cubicBezTo>
                    <a:pt x="26660" y="32180"/>
                    <a:pt x="23025" y="40073"/>
                    <a:pt x="21207" y="49788"/>
                  </a:cubicBezTo>
                  <a:lnTo>
                    <a:pt x="89676" y="49788"/>
                  </a:lnTo>
                  <a:cubicBezTo>
                    <a:pt x="89070" y="40073"/>
                    <a:pt x="86040" y="32180"/>
                    <a:pt x="81193" y="26108"/>
                  </a:cubicBezTo>
                  <a:cubicBezTo>
                    <a:pt x="75740" y="20037"/>
                    <a:pt x="67863" y="17001"/>
                    <a:pt x="56956" y="17001"/>
                  </a:cubicBezTo>
                  <a:moveTo>
                    <a:pt x="110277" y="67396"/>
                  </a:moveTo>
                  <a:lnTo>
                    <a:pt x="20601" y="67396"/>
                  </a:lnTo>
                  <a:cubicBezTo>
                    <a:pt x="21207" y="81361"/>
                    <a:pt x="24843" y="91683"/>
                    <a:pt x="32114" y="98969"/>
                  </a:cubicBezTo>
                  <a:cubicBezTo>
                    <a:pt x="38779" y="106255"/>
                    <a:pt x="47867" y="109898"/>
                    <a:pt x="58168" y="109898"/>
                  </a:cubicBezTo>
                  <a:cubicBezTo>
                    <a:pt x="67863" y="109898"/>
                    <a:pt x="75134" y="107469"/>
                    <a:pt x="80587" y="103219"/>
                  </a:cubicBezTo>
                  <a:cubicBezTo>
                    <a:pt x="86040" y="98969"/>
                    <a:pt x="89070" y="93504"/>
                    <a:pt x="90887" y="87432"/>
                  </a:cubicBezTo>
                  <a:lnTo>
                    <a:pt x="110277" y="91075"/>
                  </a:lnTo>
                  <a:cubicBezTo>
                    <a:pt x="107247" y="102611"/>
                    <a:pt x="101188" y="111719"/>
                    <a:pt x="92099" y="118398"/>
                  </a:cubicBezTo>
                  <a:cubicBezTo>
                    <a:pt x="83011" y="125077"/>
                    <a:pt x="71498" y="128113"/>
                    <a:pt x="57562" y="128113"/>
                  </a:cubicBezTo>
                  <a:cubicBezTo>
                    <a:pt x="39991" y="128113"/>
                    <a:pt x="26054" y="122648"/>
                    <a:pt x="15754" y="111112"/>
                  </a:cubicBezTo>
                  <a:cubicBezTo>
                    <a:pt x="5453" y="99576"/>
                    <a:pt x="0" y="83789"/>
                    <a:pt x="0" y="63753"/>
                  </a:cubicBezTo>
                  <a:cubicBezTo>
                    <a:pt x="0" y="53431"/>
                    <a:pt x="1212" y="44323"/>
                    <a:pt x="4241" y="36430"/>
                  </a:cubicBezTo>
                  <a:cubicBezTo>
                    <a:pt x="7271" y="28537"/>
                    <a:pt x="11512" y="21858"/>
                    <a:pt x="16360" y="16394"/>
                  </a:cubicBezTo>
                  <a:cubicBezTo>
                    <a:pt x="21207" y="10929"/>
                    <a:pt x="27872" y="6679"/>
                    <a:pt x="34537" y="4250"/>
                  </a:cubicBezTo>
                  <a:cubicBezTo>
                    <a:pt x="41808" y="1214"/>
                    <a:pt x="49079" y="0"/>
                    <a:pt x="56956" y="0"/>
                  </a:cubicBezTo>
                  <a:cubicBezTo>
                    <a:pt x="73316" y="0"/>
                    <a:pt x="86040" y="5464"/>
                    <a:pt x="95735" y="15786"/>
                  </a:cubicBezTo>
                  <a:cubicBezTo>
                    <a:pt x="105429" y="26108"/>
                    <a:pt x="110277" y="40680"/>
                    <a:pt x="110277" y="59503"/>
                  </a:cubicBezTo>
                  <a:lnTo>
                    <a:pt x="110277" y="67396"/>
                  </a:lnTo>
                  <a:close/>
                </a:path>
              </a:pathLst>
            </a:custGeom>
            <a:solidFill>
              <a:srgbClr val="7F8183"/>
            </a:solidFill>
            <a:ln w="6029" cap="flat">
              <a:noFill/>
              <a:prstDash val="solid"/>
              <a:miter/>
            </a:ln>
          </p:spPr>
          <p:txBody>
            <a:bodyPr rtlCol="0" anchor="ctr"/>
            <a:lstStyle/>
            <a:p>
              <a:endParaRPr lang="x-none" sz="1905"/>
            </a:p>
          </p:txBody>
        </p:sp>
        <p:sp>
          <p:nvSpPr>
            <p:cNvPr id="43" name="Freeform 42">
              <a:extLst>
                <a:ext uri="{FF2B5EF4-FFF2-40B4-BE49-F238E27FC236}">
                  <a16:creationId xmlns:a16="http://schemas.microsoft.com/office/drawing/2014/main" id="{637D608A-56A2-0F4D-B83C-5125774C3DA3}"/>
                </a:ext>
              </a:extLst>
            </p:cNvPr>
            <p:cNvSpPr/>
            <p:nvPr/>
          </p:nvSpPr>
          <p:spPr>
            <a:xfrm>
              <a:off x="981541" y="6004090"/>
              <a:ext cx="105429" cy="123255"/>
            </a:xfrm>
            <a:custGeom>
              <a:avLst/>
              <a:gdLst>
                <a:gd name="connsiteX0" fmla="*/ 0 w 105429"/>
                <a:gd name="connsiteY0" fmla="*/ 123255 h 123255"/>
                <a:gd name="connsiteX1" fmla="*/ 0 w 105429"/>
                <a:gd name="connsiteY1" fmla="*/ 0 h 123255"/>
                <a:gd name="connsiteX2" fmla="*/ 19995 w 105429"/>
                <a:gd name="connsiteY2" fmla="*/ 0 h 123255"/>
                <a:gd name="connsiteX3" fmla="*/ 19995 w 105429"/>
                <a:gd name="connsiteY3" fmla="*/ 50395 h 123255"/>
                <a:gd name="connsiteX4" fmla="*/ 85434 w 105429"/>
                <a:gd name="connsiteY4" fmla="*/ 50395 h 123255"/>
                <a:gd name="connsiteX5" fmla="*/ 85434 w 105429"/>
                <a:gd name="connsiteY5" fmla="*/ 0 h 123255"/>
                <a:gd name="connsiteX6" fmla="*/ 105429 w 105429"/>
                <a:gd name="connsiteY6" fmla="*/ 0 h 123255"/>
                <a:gd name="connsiteX7" fmla="*/ 105429 w 105429"/>
                <a:gd name="connsiteY7" fmla="*/ 123255 h 123255"/>
                <a:gd name="connsiteX8" fmla="*/ 85434 w 105429"/>
                <a:gd name="connsiteY8" fmla="*/ 123255 h 123255"/>
                <a:gd name="connsiteX9" fmla="*/ 85434 w 105429"/>
                <a:gd name="connsiteY9" fmla="*/ 69824 h 123255"/>
                <a:gd name="connsiteX10" fmla="*/ 19995 w 105429"/>
                <a:gd name="connsiteY10" fmla="*/ 69824 h 123255"/>
                <a:gd name="connsiteX11" fmla="*/ 19995 w 105429"/>
                <a:gd name="connsiteY11" fmla="*/ 123255 h 12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429" h="123255">
                  <a:moveTo>
                    <a:pt x="0" y="123255"/>
                  </a:moveTo>
                  <a:lnTo>
                    <a:pt x="0" y="0"/>
                  </a:lnTo>
                  <a:lnTo>
                    <a:pt x="19995" y="0"/>
                  </a:lnTo>
                  <a:lnTo>
                    <a:pt x="19995" y="50395"/>
                  </a:lnTo>
                  <a:lnTo>
                    <a:pt x="85434" y="50395"/>
                  </a:lnTo>
                  <a:lnTo>
                    <a:pt x="85434" y="0"/>
                  </a:lnTo>
                  <a:lnTo>
                    <a:pt x="105429" y="0"/>
                  </a:lnTo>
                  <a:lnTo>
                    <a:pt x="105429" y="123255"/>
                  </a:lnTo>
                  <a:lnTo>
                    <a:pt x="85434" y="123255"/>
                  </a:lnTo>
                  <a:lnTo>
                    <a:pt x="85434" y="69824"/>
                  </a:lnTo>
                  <a:lnTo>
                    <a:pt x="19995" y="69824"/>
                  </a:lnTo>
                  <a:lnTo>
                    <a:pt x="19995" y="123255"/>
                  </a:lnTo>
                  <a:close/>
                </a:path>
              </a:pathLst>
            </a:custGeom>
            <a:solidFill>
              <a:srgbClr val="7F8183"/>
            </a:solidFill>
            <a:ln w="6029" cap="flat">
              <a:noFill/>
              <a:prstDash val="solid"/>
              <a:miter/>
            </a:ln>
          </p:spPr>
          <p:txBody>
            <a:bodyPr rtlCol="0" anchor="ctr"/>
            <a:lstStyle/>
            <a:p>
              <a:endParaRPr lang="x-none" sz="1905"/>
            </a:p>
          </p:txBody>
        </p:sp>
        <p:sp>
          <p:nvSpPr>
            <p:cNvPr id="44" name="Freeform 43">
              <a:extLst>
                <a:ext uri="{FF2B5EF4-FFF2-40B4-BE49-F238E27FC236}">
                  <a16:creationId xmlns:a16="http://schemas.microsoft.com/office/drawing/2014/main" id="{39E2D56B-79BF-B94A-A1AF-575B1A1C53FF}"/>
                </a:ext>
              </a:extLst>
            </p:cNvPr>
            <p:cNvSpPr/>
            <p:nvPr/>
          </p:nvSpPr>
          <p:spPr>
            <a:xfrm>
              <a:off x="1125749" y="6004090"/>
              <a:ext cx="103005" cy="123255"/>
            </a:xfrm>
            <a:custGeom>
              <a:avLst/>
              <a:gdLst>
                <a:gd name="connsiteX0" fmla="*/ 21813 w 103005"/>
                <a:gd name="connsiteY0" fmla="*/ 123255 h 123255"/>
                <a:gd name="connsiteX1" fmla="*/ 0 w 103005"/>
                <a:gd name="connsiteY1" fmla="*/ 123255 h 123255"/>
                <a:gd name="connsiteX2" fmla="*/ 0 w 103005"/>
                <a:gd name="connsiteY2" fmla="*/ 0 h 123255"/>
                <a:gd name="connsiteX3" fmla="*/ 19389 w 103005"/>
                <a:gd name="connsiteY3" fmla="*/ 0 h 123255"/>
                <a:gd name="connsiteX4" fmla="*/ 19389 w 103005"/>
                <a:gd name="connsiteY4" fmla="*/ 96540 h 123255"/>
                <a:gd name="connsiteX5" fmla="*/ 80587 w 103005"/>
                <a:gd name="connsiteY5" fmla="*/ 0 h 123255"/>
                <a:gd name="connsiteX6" fmla="*/ 103006 w 103005"/>
                <a:gd name="connsiteY6" fmla="*/ 0 h 123255"/>
                <a:gd name="connsiteX7" fmla="*/ 103006 w 103005"/>
                <a:gd name="connsiteY7" fmla="*/ 123255 h 123255"/>
                <a:gd name="connsiteX8" fmla="*/ 83616 w 103005"/>
                <a:gd name="connsiteY8" fmla="*/ 123255 h 123255"/>
                <a:gd name="connsiteX9" fmla="*/ 83616 w 103005"/>
                <a:gd name="connsiteY9" fmla="*/ 26108 h 12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005" h="123255">
                  <a:moveTo>
                    <a:pt x="21813" y="123255"/>
                  </a:moveTo>
                  <a:lnTo>
                    <a:pt x="0" y="123255"/>
                  </a:lnTo>
                  <a:lnTo>
                    <a:pt x="0" y="0"/>
                  </a:lnTo>
                  <a:lnTo>
                    <a:pt x="19389" y="0"/>
                  </a:lnTo>
                  <a:lnTo>
                    <a:pt x="19389" y="96540"/>
                  </a:lnTo>
                  <a:lnTo>
                    <a:pt x="80587" y="0"/>
                  </a:lnTo>
                  <a:lnTo>
                    <a:pt x="103006" y="0"/>
                  </a:lnTo>
                  <a:lnTo>
                    <a:pt x="103006" y="123255"/>
                  </a:lnTo>
                  <a:lnTo>
                    <a:pt x="83616" y="123255"/>
                  </a:lnTo>
                  <a:lnTo>
                    <a:pt x="83616" y="26108"/>
                  </a:lnTo>
                  <a:close/>
                </a:path>
              </a:pathLst>
            </a:custGeom>
            <a:solidFill>
              <a:srgbClr val="7F8183"/>
            </a:solidFill>
            <a:ln w="6029" cap="flat">
              <a:noFill/>
              <a:prstDash val="solid"/>
              <a:miter/>
            </a:ln>
          </p:spPr>
          <p:txBody>
            <a:bodyPr rtlCol="0" anchor="ctr"/>
            <a:lstStyle/>
            <a:p>
              <a:endParaRPr lang="x-none" sz="1905"/>
            </a:p>
          </p:txBody>
        </p:sp>
        <p:sp>
          <p:nvSpPr>
            <p:cNvPr id="45" name="Freeform 44">
              <a:extLst>
                <a:ext uri="{FF2B5EF4-FFF2-40B4-BE49-F238E27FC236}">
                  <a16:creationId xmlns:a16="http://schemas.microsoft.com/office/drawing/2014/main" id="{BE46DC9E-427D-EA4F-B748-F67A49365836}"/>
                </a:ext>
              </a:extLst>
            </p:cNvPr>
            <p:cNvSpPr/>
            <p:nvPr/>
          </p:nvSpPr>
          <p:spPr>
            <a:xfrm>
              <a:off x="1267534" y="5957338"/>
              <a:ext cx="103611" cy="170007"/>
            </a:xfrm>
            <a:custGeom>
              <a:avLst/>
              <a:gdLst>
                <a:gd name="connsiteX0" fmla="*/ 52109 w 103611"/>
                <a:gd name="connsiteY0" fmla="*/ 33394 h 170007"/>
                <a:gd name="connsiteX1" fmla="*/ 24237 w 103611"/>
                <a:gd name="connsiteY1" fmla="*/ 24287 h 170007"/>
                <a:gd name="connsiteX2" fmla="*/ 15148 w 103611"/>
                <a:gd name="connsiteY2" fmla="*/ 0 h 170007"/>
                <a:gd name="connsiteX3" fmla="*/ 32113 w 103611"/>
                <a:gd name="connsiteY3" fmla="*/ 0 h 170007"/>
                <a:gd name="connsiteX4" fmla="*/ 37567 w 103611"/>
                <a:gd name="connsiteY4" fmla="*/ 13358 h 170007"/>
                <a:gd name="connsiteX5" fmla="*/ 51503 w 103611"/>
                <a:gd name="connsiteY5" fmla="*/ 18215 h 170007"/>
                <a:gd name="connsiteX6" fmla="*/ 65439 w 103611"/>
                <a:gd name="connsiteY6" fmla="*/ 13358 h 170007"/>
                <a:gd name="connsiteX7" fmla="*/ 70892 w 103611"/>
                <a:gd name="connsiteY7" fmla="*/ 0 h 170007"/>
                <a:gd name="connsiteX8" fmla="*/ 87858 w 103611"/>
                <a:gd name="connsiteY8" fmla="*/ 0 h 170007"/>
                <a:gd name="connsiteX9" fmla="*/ 78769 w 103611"/>
                <a:gd name="connsiteY9" fmla="*/ 24287 h 170007"/>
                <a:gd name="connsiteX10" fmla="*/ 52109 w 103611"/>
                <a:gd name="connsiteY10" fmla="*/ 33394 h 170007"/>
                <a:gd name="connsiteX11" fmla="*/ 21813 w 103611"/>
                <a:gd name="connsiteY11" fmla="*/ 170007 h 170007"/>
                <a:gd name="connsiteX12" fmla="*/ 0 w 103611"/>
                <a:gd name="connsiteY12" fmla="*/ 170007 h 170007"/>
                <a:gd name="connsiteX13" fmla="*/ 0 w 103611"/>
                <a:gd name="connsiteY13" fmla="*/ 46752 h 170007"/>
                <a:gd name="connsiteX14" fmla="*/ 19995 w 103611"/>
                <a:gd name="connsiteY14" fmla="*/ 46752 h 170007"/>
                <a:gd name="connsiteX15" fmla="*/ 19995 w 103611"/>
                <a:gd name="connsiteY15" fmla="*/ 143292 h 170007"/>
                <a:gd name="connsiteX16" fmla="*/ 81193 w 103611"/>
                <a:gd name="connsiteY16" fmla="*/ 46752 h 170007"/>
                <a:gd name="connsiteX17" fmla="*/ 103612 w 103611"/>
                <a:gd name="connsiteY17" fmla="*/ 46752 h 170007"/>
                <a:gd name="connsiteX18" fmla="*/ 103612 w 103611"/>
                <a:gd name="connsiteY18" fmla="*/ 170007 h 170007"/>
                <a:gd name="connsiteX19" fmla="*/ 83616 w 103611"/>
                <a:gd name="connsiteY19" fmla="*/ 170007 h 170007"/>
                <a:gd name="connsiteX20" fmla="*/ 83616 w 103611"/>
                <a:gd name="connsiteY20" fmla="*/ 72860 h 170007"/>
                <a:gd name="connsiteX21" fmla="*/ 21813 w 103611"/>
                <a:gd name="connsiteY21" fmla="*/ 170007 h 17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3611" h="170007">
                  <a:moveTo>
                    <a:pt x="52109" y="33394"/>
                  </a:moveTo>
                  <a:cubicBezTo>
                    <a:pt x="39385" y="33394"/>
                    <a:pt x="30296" y="30358"/>
                    <a:pt x="24237" y="24287"/>
                  </a:cubicBezTo>
                  <a:cubicBezTo>
                    <a:pt x="18177" y="18215"/>
                    <a:pt x="15148" y="10322"/>
                    <a:pt x="15148" y="0"/>
                  </a:cubicBezTo>
                  <a:lnTo>
                    <a:pt x="32113" y="0"/>
                  </a:lnTo>
                  <a:cubicBezTo>
                    <a:pt x="32719" y="5464"/>
                    <a:pt x="34537" y="10322"/>
                    <a:pt x="37567" y="13358"/>
                  </a:cubicBezTo>
                  <a:cubicBezTo>
                    <a:pt x="40596" y="16394"/>
                    <a:pt x="45444" y="18215"/>
                    <a:pt x="51503" y="18215"/>
                  </a:cubicBezTo>
                  <a:cubicBezTo>
                    <a:pt x="57562" y="18215"/>
                    <a:pt x="62409" y="16394"/>
                    <a:pt x="65439" y="13358"/>
                  </a:cubicBezTo>
                  <a:cubicBezTo>
                    <a:pt x="68468" y="10322"/>
                    <a:pt x="70286" y="5464"/>
                    <a:pt x="70892" y="0"/>
                  </a:cubicBezTo>
                  <a:lnTo>
                    <a:pt x="87858" y="0"/>
                  </a:lnTo>
                  <a:cubicBezTo>
                    <a:pt x="87252" y="9715"/>
                    <a:pt x="84222" y="17608"/>
                    <a:pt x="78769" y="24287"/>
                  </a:cubicBezTo>
                  <a:cubicBezTo>
                    <a:pt x="73316" y="30358"/>
                    <a:pt x="64227" y="33394"/>
                    <a:pt x="52109" y="33394"/>
                  </a:cubicBezTo>
                  <a:moveTo>
                    <a:pt x="21813" y="170007"/>
                  </a:moveTo>
                  <a:lnTo>
                    <a:pt x="0" y="170007"/>
                  </a:lnTo>
                  <a:lnTo>
                    <a:pt x="0" y="46752"/>
                  </a:lnTo>
                  <a:lnTo>
                    <a:pt x="19995" y="46752"/>
                  </a:lnTo>
                  <a:lnTo>
                    <a:pt x="19995" y="143292"/>
                  </a:lnTo>
                  <a:lnTo>
                    <a:pt x="81193" y="46752"/>
                  </a:lnTo>
                  <a:lnTo>
                    <a:pt x="103612" y="46752"/>
                  </a:lnTo>
                  <a:lnTo>
                    <a:pt x="103612" y="170007"/>
                  </a:lnTo>
                  <a:lnTo>
                    <a:pt x="83616" y="170007"/>
                  </a:lnTo>
                  <a:lnTo>
                    <a:pt x="83616" y="72860"/>
                  </a:lnTo>
                  <a:lnTo>
                    <a:pt x="21813" y="170007"/>
                  </a:lnTo>
                  <a:close/>
                </a:path>
              </a:pathLst>
            </a:custGeom>
            <a:solidFill>
              <a:srgbClr val="7F8183"/>
            </a:solidFill>
            <a:ln w="6029" cap="flat">
              <a:noFill/>
              <a:prstDash val="solid"/>
              <a:miter/>
            </a:ln>
          </p:spPr>
          <p:txBody>
            <a:bodyPr rtlCol="0" anchor="ctr"/>
            <a:lstStyle/>
            <a:p>
              <a:endParaRPr lang="x-none" sz="1905"/>
            </a:p>
          </p:txBody>
        </p:sp>
        <p:sp>
          <p:nvSpPr>
            <p:cNvPr id="46" name="Freeform 45">
              <a:extLst>
                <a:ext uri="{FF2B5EF4-FFF2-40B4-BE49-F238E27FC236}">
                  <a16:creationId xmlns:a16="http://schemas.microsoft.com/office/drawing/2014/main" id="{63F66C5F-55B0-C14D-AA50-7ACDBA64B24B}"/>
                </a:ext>
              </a:extLst>
            </p:cNvPr>
            <p:cNvSpPr/>
            <p:nvPr/>
          </p:nvSpPr>
          <p:spPr>
            <a:xfrm>
              <a:off x="356842" y="4732072"/>
              <a:ext cx="1039146" cy="549487"/>
            </a:xfrm>
            <a:custGeom>
              <a:avLst/>
              <a:gdLst>
                <a:gd name="connsiteX0" fmla="*/ 1039146 w 1039146"/>
                <a:gd name="connsiteY0" fmla="*/ 0 h 549487"/>
                <a:gd name="connsiteX1" fmla="*/ 0 w 1039146"/>
                <a:gd name="connsiteY1" fmla="*/ 456591 h 549487"/>
                <a:gd name="connsiteX2" fmla="*/ 0 w 1039146"/>
                <a:gd name="connsiteY2" fmla="*/ 549488 h 549487"/>
                <a:gd name="connsiteX3" fmla="*/ 1039146 w 1039146"/>
                <a:gd name="connsiteY3" fmla="*/ 92897 h 549487"/>
              </a:gdLst>
              <a:ahLst/>
              <a:cxnLst>
                <a:cxn ang="0">
                  <a:pos x="connsiteX0" y="connsiteY0"/>
                </a:cxn>
                <a:cxn ang="0">
                  <a:pos x="connsiteX1" y="connsiteY1"/>
                </a:cxn>
                <a:cxn ang="0">
                  <a:pos x="connsiteX2" y="connsiteY2"/>
                </a:cxn>
                <a:cxn ang="0">
                  <a:pos x="connsiteX3" y="connsiteY3"/>
                </a:cxn>
              </a:cxnLst>
              <a:rect l="l" t="t" r="r" b="b"/>
              <a:pathLst>
                <a:path w="1039146" h="549487">
                  <a:moveTo>
                    <a:pt x="1039146" y="0"/>
                  </a:moveTo>
                  <a:lnTo>
                    <a:pt x="0" y="456591"/>
                  </a:lnTo>
                  <a:lnTo>
                    <a:pt x="0" y="549488"/>
                  </a:lnTo>
                  <a:lnTo>
                    <a:pt x="1039146" y="92897"/>
                  </a:lnTo>
                  <a:close/>
                </a:path>
              </a:pathLst>
            </a:custGeom>
            <a:solidFill>
              <a:srgbClr val="E22B26"/>
            </a:solidFill>
            <a:ln w="6029" cap="flat">
              <a:noFill/>
              <a:prstDash val="solid"/>
              <a:miter/>
            </a:ln>
          </p:spPr>
          <p:txBody>
            <a:bodyPr rtlCol="0" anchor="ctr"/>
            <a:lstStyle/>
            <a:p>
              <a:endParaRPr lang="x-none" sz="1905"/>
            </a:p>
          </p:txBody>
        </p:sp>
      </p:grpSp>
    </p:spTree>
    <p:extLst>
      <p:ext uri="{BB962C8B-B14F-4D97-AF65-F5344CB8AC3E}">
        <p14:creationId xmlns:p14="http://schemas.microsoft.com/office/powerpoint/2010/main" val="4287119373"/>
      </p:ext>
    </p:extLst>
  </p:cSld>
  <p:clrMapOvr>
    <a:masterClrMapping/>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5B106E36-FD25-4E2D-B0AA-010F637433A0}" type="datetimeFigureOut">
              <a:rPr lang="ru-RU" smtClean="0"/>
              <a:pPr/>
              <a:t>12.07.2022</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725C68B6-61C2-468F-89AB-4B9F7531AA68}" type="slidenum">
              <a:rPr lang="ru-RU" smtClean="0"/>
              <a:pPr/>
              <a:t>‹#›</a:t>
            </a:fld>
            <a:endParaRPr lang="ru-RU"/>
          </a:p>
        </p:txBody>
      </p:sp>
    </p:spTree>
    <p:extLst>
      <p:ext uri="{BB962C8B-B14F-4D97-AF65-F5344CB8AC3E}">
        <p14:creationId xmlns:p14="http://schemas.microsoft.com/office/powerpoint/2010/main" val="27069680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638"/>
            <a:ext cx="2743200" cy="5851526"/>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609600" y="274638"/>
            <a:ext cx="8026400" cy="5851526"/>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5B106E36-FD25-4E2D-B0AA-010F637433A0}" type="datetimeFigureOut">
              <a:rPr lang="ru-RU" smtClean="0"/>
              <a:pPr/>
              <a:t>12.07.2022</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725C68B6-61C2-468F-89AB-4B9F7531AA68}" type="slidenum">
              <a:rPr lang="ru-RU" smtClean="0"/>
              <a:pPr/>
              <a:t>‹#›</a:t>
            </a:fld>
            <a:endParaRPr lang="ru-RU"/>
          </a:p>
        </p:txBody>
      </p:sp>
    </p:spTree>
    <p:extLst>
      <p:ext uri="{BB962C8B-B14F-4D97-AF65-F5344CB8AC3E}">
        <p14:creationId xmlns:p14="http://schemas.microsoft.com/office/powerpoint/2010/main" val="30725282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19 Сопровождающий текст">
    <p:bg>
      <p:bgPr>
        <a:solidFill>
          <a:srgbClr val="FFFFFF"/>
        </a:solidFill>
        <a:effectLst/>
      </p:bgPr>
    </p:bg>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EB572FF-CA06-4849-8D94-3C3994A45B70}"/>
              </a:ext>
            </a:extLst>
          </p:cNvPr>
          <p:cNvSpPr>
            <a:spLocks noGrp="1"/>
          </p:cNvSpPr>
          <p:nvPr>
            <p:ph type="body" sz="quarter" idx="11" hasCustomPrompt="1"/>
          </p:nvPr>
        </p:nvSpPr>
        <p:spPr>
          <a:xfrm>
            <a:off x="381316" y="1278513"/>
            <a:ext cx="11429370" cy="1029869"/>
          </a:xfrm>
          <a:prstGeom prst="rect">
            <a:avLst/>
          </a:prstGeom>
        </p:spPr>
        <p:txBody>
          <a:bodyPr/>
          <a:lstStyle>
            <a:lvl1pPr marL="0" indent="0">
              <a:buFontTx/>
              <a:buNone/>
              <a:defRPr sz="2963"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Заголовок слайда</a:t>
            </a:r>
            <a:endParaRPr lang="x-none" dirty="0"/>
          </a:p>
        </p:txBody>
      </p:sp>
      <p:sp>
        <p:nvSpPr>
          <p:cNvPr id="8" name="Text Placeholder 8">
            <a:extLst>
              <a:ext uri="{FF2B5EF4-FFF2-40B4-BE49-F238E27FC236}">
                <a16:creationId xmlns:a16="http://schemas.microsoft.com/office/drawing/2014/main" id="{252C4B7C-9670-DF42-BC56-B170DECD75DC}"/>
              </a:ext>
            </a:extLst>
          </p:cNvPr>
          <p:cNvSpPr>
            <a:spLocks noGrp="1"/>
          </p:cNvSpPr>
          <p:nvPr>
            <p:ph type="body" sz="quarter" idx="27" hasCustomPrompt="1"/>
          </p:nvPr>
        </p:nvSpPr>
        <p:spPr>
          <a:xfrm>
            <a:off x="388590" y="2477728"/>
            <a:ext cx="11429370" cy="3842056"/>
          </a:xfrm>
          <a:prstGeom prst="rect">
            <a:avLst/>
          </a:prstGeom>
        </p:spPr>
        <p:txBody>
          <a:bodyPr/>
          <a:lstStyle>
            <a:lvl1pPr marL="0" indent="0">
              <a:buFontTx/>
              <a:buNone/>
              <a:defRPr sz="1376"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Текст слайда</a:t>
            </a:r>
            <a:endParaRPr lang="x-none" dirty="0"/>
          </a:p>
        </p:txBody>
      </p:sp>
      <p:cxnSp>
        <p:nvCxnSpPr>
          <p:cNvPr id="10" name="Straight Connector 9">
            <a:extLst>
              <a:ext uri="{FF2B5EF4-FFF2-40B4-BE49-F238E27FC236}">
                <a16:creationId xmlns:a16="http://schemas.microsoft.com/office/drawing/2014/main" id="{E508586F-874B-374D-83C3-AE2D248221F4}"/>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11" name="Text Placeholder 13">
            <a:extLst>
              <a:ext uri="{FF2B5EF4-FFF2-40B4-BE49-F238E27FC236}">
                <a16:creationId xmlns:a16="http://schemas.microsoft.com/office/drawing/2014/main" id="{598649D2-E782-5D48-8FCD-B39D7C72EF41}"/>
              </a:ext>
            </a:extLst>
          </p:cNvPr>
          <p:cNvSpPr>
            <a:spLocks noGrp="1"/>
          </p:cNvSpPr>
          <p:nvPr>
            <p:ph type="body" sz="quarter" idx="14" hasCustomPrompt="1"/>
          </p:nvPr>
        </p:nvSpPr>
        <p:spPr>
          <a:xfrm>
            <a:off x="295483"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Заголовок раздела</a:t>
            </a:r>
          </a:p>
        </p:txBody>
      </p:sp>
      <p:sp>
        <p:nvSpPr>
          <p:cNvPr id="13" name="Slide Number Placeholder 1">
            <a:extLst>
              <a:ext uri="{FF2B5EF4-FFF2-40B4-BE49-F238E27FC236}">
                <a16:creationId xmlns:a16="http://schemas.microsoft.com/office/drawing/2014/main" id="{9C321D37-B46B-774E-8AD4-106329636C69}"/>
              </a:ext>
            </a:extLst>
          </p:cNvPr>
          <p:cNvSpPr txBox="1">
            <a:spLocks/>
          </p:cNvSpPr>
          <p:nvPr userDrawn="1"/>
        </p:nvSpPr>
        <p:spPr>
          <a:xfrm>
            <a:off x="11108818" y="395811"/>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13">
            <a:extLst>
              <a:ext uri="{FF2B5EF4-FFF2-40B4-BE49-F238E27FC236}">
                <a16:creationId xmlns:a16="http://schemas.microsoft.com/office/drawing/2014/main" id="{875E4949-D1C2-3648-90A7-64A1873880BB}"/>
              </a:ext>
            </a:extLst>
          </p:cNvPr>
          <p:cNvSpPr>
            <a:spLocks noGrp="1"/>
          </p:cNvSpPr>
          <p:nvPr>
            <p:ph type="body" sz="quarter" idx="25" hasCustomPrompt="1"/>
          </p:nvPr>
        </p:nvSpPr>
        <p:spPr>
          <a:xfrm>
            <a:off x="10020017" y="6319800"/>
            <a:ext cx="1790667" cy="374160"/>
          </a:xfrm>
          <a:prstGeom prst="rect">
            <a:avLst/>
          </a:prstGeom>
        </p:spPr>
        <p:txBody>
          <a:bodyPr/>
          <a:lstStyle>
            <a:lvl1pPr marL="0" indent="0" algn="r">
              <a:buFontTx/>
              <a:buNone/>
              <a:defRPr sz="846"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Название презентации</a:t>
            </a:r>
            <a:endParaRPr lang="x-none" dirty="0"/>
          </a:p>
        </p:txBody>
      </p:sp>
    </p:spTree>
    <p:extLst>
      <p:ext uri="{BB962C8B-B14F-4D97-AF65-F5344CB8AC3E}">
        <p14:creationId xmlns:p14="http://schemas.microsoft.com/office/powerpoint/2010/main" val="2378929331"/>
      </p:ext>
    </p:extLst>
  </p:cSld>
  <p:clrMapOvr>
    <a:masterClrMapping/>
  </p:clrMapOvr>
  <p:transition>
    <p:fade/>
  </p:transition>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4_Content">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B144694-7FC2-824B-ACAA-93D4B0E2FE77}"/>
              </a:ext>
            </a:extLst>
          </p:cNvPr>
          <p:cNvSpPr>
            <a:spLocks noGrp="1"/>
          </p:cNvSpPr>
          <p:nvPr>
            <p:ph type="body" sz="quarter" idx="11" hasCustomPrompt="1"/>
          </p:nvPr>
        </p:nvSpPr>
        <p:spPr>
          <a:xfrm>
            <a:off x="228455" y="1409574"/>
            <a:ext cx="6744404" cy="4038860"/>
          </a:xfrm>
          <a:prstGeom prst="rect">
            <a:avLst/>
          </a:prstGeom>
        </p:spPr>
        <p:txBody>
          <a:bodyPr anchor="ctr"/>
          <a:lstStyle>
            <a:lvl1pPr marL="0" indent="0">
              <a:buFontTx/>
              <a:buNone/>
              <a:defRPr sz="581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orem ipsum dolor sit </a:t>
            </a:r>
            <a:r>
              <a:rPr lang="en-US" dirty="0" err="1"/>
              <a:t>amet</a:t>
            </a:r>
            <a:r>
              <a:rPr lang="en-US" dirty="0"/>
              <a:t>, </a:t>
            </a:r>
            <a:r>
              <a:rPr lang="en-US" dirty="0" err="1"/>
              <a:t>consectetuer</a:t>
            </a:r>
            <a:endParaRPr lang="x-none" dirty="0"/>
          </a:p>
        </p:txBody>
      </p:sp>
      <p:sp>
        <p:nvSpPr>
          <p:cNvPr id="6" name="Picture Placeholder 5">
            <a:extLst>
              <a:ext uri="{FF2B5EF4-FFF2-40B4-BE49-F238E27FC236}">
                <a16:creationId xmlns:a16="http://schemas.microsoft.com/office/drawing/2014/main" id="{888A7F86-BC36-3241-91E5-D03882836D21}"/>
              </a:ext>
            </a:extLst>
          </p:cNvPr>
          <p:cNvSpPr>
            <a:spLocks noGrp="1"/>
          </p:cNvSpPr>
          <p:nvPr>
            <p:ph type="pic" sz="quarter" idx="16"/>
          </p:nvPr>
        </p:nvSpPr>
        <p:spPr>
          <a:xfrm>
            <a:off x="7124039" y="1409572"/>
            <a:ext cx="4686645" cy="4038859"/>
          </a:xfrm>
          <a:prstGeom prst="rect">
            <a:avLst/>
          </a:prstGeom>
        </p:spPr>
        <p:txBody>
          <a:bodyPr anchor="ctr"/>
          <a:lstStyle>
            <a:lvl1pPr algn="ctr">
              <a:buFontTx/>
              <a:buNone/>
              <a:defRPr sz="2963"/>
            </a:lvl1pPr>
          </a:lstStyle>
          <a:p>
            <a:endParaRPr lang="x-none"/>
          </a:p>
        </p:txBody>
      </p:sp>
      <p:cxnSp>
        <p:nvCxnSpPr>
          <p:cNvPr id="11" name="Straight Connector 10">
            <a:extLst>
              <a:ext uri="{FF2B5EF4-FFF2-40B4-BE49-F238E27FC236}">
                <a16:creationId xmlns:a16="http://schemas.microsoft.com/office/drawing/2014/main" id="{69D176CE-8965-5349-9FBA-5A96377315FB}"/>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12" name="Text Placeholder 13">
            <a:extLst>
              <a:ext uri="{FF2B5EF4-FFF2-40B4-BE49-F238E27FC236}">
                <a16:creationId xmlns:a16="http://schemas.microsoft.com/office/drawing/2014/main" id="{301B00CD-A1FA-E242-8C42-584DF7EACB1C}"/>
              </a:ext>
            </a:extLst>
          </p:cNvPr>
          <p:cNvSpPr>
            <a:spLocks noGrp="1"/>
          </p:cNvSpPr>
          <p:nvPr>
            <p:ph type="body" sz="quarter" idx="14" hasCustomPrompt="1"/>
          </p:nvPr>
        </p:nvSpPr>
        <p:spPr>
          <a:xfrm>
            <a:off x="295484"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14" name="Slide Number Placeholder 1">
            <a:extLst>
              <a:ext uri="{FF2B5EF4-FFF2-40B4-BE49-F238E27FC236}">
                <a16:creationId xmlns:a16="http://schemas.microsoft.com/office/drawing/2014/main" id="{45546C9A-5E11-424E-858D-8C2913D9A7B7}"/>
              </a:ext>
            </a:extLst>
          </p:cNvPr>
          <p:cNvSpPr txBox="1">
            <a:spLocks/>
          </p:cNvSpPr>
          <p:nvPr userDrawn="1"/>
        </p:nvSpPr>
        <p:spPr>
          <a:xfrm>
            <a:off x="11108818" y="395812"/>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Text Placeholder 13">
            <a:extLst>
              <a:ext uri="{FF2B5EF4-FFF2-40B4-BE49-F238E27FC236}">
                <a16:creationId xmlns:a16="http://schemas.microsoft.com/office/drawing/2014/main" id="{24CD8EB8-EB60-2F4E-88CC-EAA88C251C92}"/>
              </a:ext>
            </a:extLst>
          </p:cNvPr>
          <p:cNvSpPr>
            <a:spLocks noGrp="1"/>
          </p:cNvSpPr>
          <p:nvPr>
            <p:ph type="body" sz="quarter" idx="25" hasCustomPrompt="1"/>
          </p:nvPr>
        </p:nvSpPr>
        <p:spPr>
          <a:xfrm>
            <a:off x="10020017" y="6319801"/>
            <a:ext cx="1790667" cy="374160"/>
          </a:xfrm>
          <a:prstGeom prst="rect">
            <a:avLst/>
          </a:prstGeom>
        </p:spPr>
        <p:txBody>
          <a:bodyPr/>
          <a:lstStyle>
            <a:lvl1pPr marL="0" indent="0" algn="r">
              <a:buFontTx/>
              <a:buNone/>
              <a:defRPr sz="845"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spTree>
    <p:extLst>
      <p:ext uri="{BB962C8B-B14F-4D97-AF65-F5344CB8AC3E}">
        <p14:creationId xmlns:p14="http://schemas.microsoft.com/office/powerpoint/2010/main" val="1635681720"/>
      </p:ext>
    </p:extLst>
  </p:cSld>
  <p:clrMapOvr>
    <a:masterClrMapping/>
  </p:clrMapOvr>
  <p:transition>
    <p:fade/>
  </p:transition>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3_Title">
    <p:bg>
      <p:bgPr>
        <a:solidFill>
          <a:srgbClr val="FFFFFF"/>
        </a:solidFill>
        <a:effectLst/>
      </p:bgPr>
    </p:bg>
    <p:spTree>
      <p:nvGrpSpPr>
        <p:cNvPr id="1" name=""/>
        <p:cNvGrpSpPr/>
        <p:nvPr/>
      </p:nvGrpSpPr>
      <p:grpSpPr>
        <a:xfrm>
          <a:off x="0" y="0"/>
          <a:ext cx="0" cy="0"/>
          <a:chOff x="0" y="0"/>
          <a:chExt cx="0" cy="0"/>
        </a:xfrm>
      </p:grpSpPr>
      <p:sp>
        <p:nvSpPr>
          <p:cNvPr id="16" name="Text Placeholder 10">
            <a:extLst>
              <a:ext uri="{FF2B5EF4-FFF2-40B4-BE49-F238E27FC236}">
                <a16:creationId xmlns:a16="http://schemas.microsoft.com/office/drawing/2014/main" id="{474A4320-3C1A-114D-AA60-FA85EE7C2760}"/>
              </a:ext>
            </a:extLst>
          </p:cNvPr>
          <p:cNvSpPr>
            <a:spLocks noGrp="1"/>
          </p:cNvSpPr>
          <p:nvPr>
            <p:ph type="body" sz="quarter" idx="14" hasCustomPrompt="1"/>
          </p:nvPr>
        </p:nvSpPr>
        <p:spPr>
          <a:xfrm>
            <a:off x="6106115" y="5885456"/>
            <a:ext cx="2110853" cy="898016"/>
          </a:xfrm>
          <a:prstGeom prst="rect">
            <a:avLst/>
          </a:prstGeom>
        </p:spPr>
        <p:txBody>
          <a:bodyPr lIns="180000" tIns="45720" rIns="180000" bIns="45720" anchor="t"/>
          <a:lstStyle>
            <a:lvl1pPr marL="0" indent="0" algn="l">
              <a:lnSpc>
                <a:spcPct val="100000"/>
              </a:lnSpc>
              <a:buFontTx/>
              <a:buNone/>
              <a:defRPr sz="1058"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r>
              <a:rPr lang="en-US" dirty="0" err="1"/>
              <a:t>Facebook.com</a:t>
            </a:r>
            <a:r>
              <a:rPr lang="en-US" dirty="0"/>
              <a:t>/</a:t>
            </a:r>
            <a:r>
              <a:rPr lang="en-US" dirty="0" err="1"/>
              <a:t>omk.ru</a:t>
            </a:r>
            <a:endParaRPr lang="en-US" dirty="0"/>
          </a:p>
          <a:p>
            <a:pPr lvl="0"/>
            <a:r>
              <a:rPr lang="en-US" dirty="0"/>
              <a:t>@</a:t>
            </a:r>
            <a:r>
              <a:rPr lang="en-US" dirty="0" err="1"/>
              <a:t>instagram.com</a:t>
            </a:r>
            <a:r>
              <a:rPr lang="en-US" dirty="0"/>
              <a:t>/</a:t>
            </a:r>
            <a:r>
              <a:rPr lang="en-US" dirty="0" err="1"/>
              <a:t>oml.ru</a:t>
            </a:r>
            <a:endParaRPr lang="en-US" dirty="0"/>
          </a:p>
          <a:p>
            <a:pPr lvl="0"/>
            <a:r>
              <a:rPr lang="en-US" dirty="0"/>
              <a:t>@</a:t>
            </a:r>
            <a:r>
              <a:rPr lang="en-US" dirty="0" err="1"/>
              <a:t>vk.com</a:t>
            </a:r>
            <a:r>
              <a:rPr lang="en-US" dirty="0"/>
              <a:t>/</a:t>
            </a:r>
            <a:r>
              <a:rPr lang="en-US" dirty="0" err="1"/>
              <a:t>omk_official</a:t>
            </a:r>
            <a:endParaRPr lang="x-none" dirty="0"/>
          </a:p>
        </p:txBody>
      </p:sp>
      <p:sp>
        <p:nvSpPr>
          <p:cNvPr id="21" name="Text Placeholder 8">
            <a:extLst>
              <a:ext uri="{FF2B5EF4-FFF2-40B4-BE49-F238E27FC236}">
                <a16:creationId xmlns:a16="http://schemas.microsoft.com/office/drawing/2014/main" id="{8082DBEF-CBAD-B54A-A0D6-2705122AF9D8}"/>
              </a:ext>
            </a:extLst>
          </p:cNvPr>
          <p:cNvSpPr>
            <a:spLocks noGrp="1"/>
          </p:cNvSpPr>
          <p:nvPr>
            <p:ph type="body" sz="quarter" idx="15" hasCustomPrompt="1"/>
          </p:nvPr>
        </p:nvSpPr>
        <p:spPr>
          <a:xfrm>
            <a:off x="2215722" y="2332104"/>
            <a:ext cx="8082431" cy="1174967"/>
          </a:xfrm>
          <a:prstGeom prst="rect">
            <a:avLst/>
          </a:prstGeom>
        </p:spPr>
        <p:txBody>
          <a:bodyPr lIns="91440" tIns="45720" rIns="91440" bIns="45720" anchor="b"/>
          <a:lstStyle>
            <a:lvl1pPr marL="0" indent="0">
              <a:buFontTx/>
              <a:buNone/>
              <a:defRPr sz="359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Спасибо за внимание!</a:t>
            </a:r>
            <a:endParaRPr lang="x-none" dirty="0"/>
          </a:p>
        </p:txBody>
      </p:sp>
      <p:sp>
        <p:nvSpPr>
          <p:cNvPr id="2" name="TextBox 1">
            <a:extLst>
              <a:ext uri="{FF2B5EF4-FFF2-40B4-BE49-F238E27FC236}">
                <a16:creationId xmlns:a16="http://schemas.microsoft.com/office/drawing/2014/main" id="{3B44C52D-F828-E147-91DD-C0937F7A31CE}"/>
              </a:ext>
            </a:extLst>
          </p:cNvPr>
          <p:cNvSpPr txBox="1"/>
          <p:nvPr userDrawn="1"/>
        </p:nvSpPr>
        <p:spPr>
          <a:xfrm>
            <a:off x="2236373" y="5774789"/>
            <a:ext cx="886882" cy="830402"/>
          </a:xfrm>
          <a:prstGeom prst="rect">
            <a:avLst/>
          </a:prstGeom>
          <a:noFill/>
        </p:spPr>
        <p:txBody>
          <a:bodyPr wrap="square" lIns="96757" tIns="48378" rIns="96757" bIns="48378" rtlCol="0">
            <a:spAutoFit/>
          </a:bodyPr>
          <a:lstStyle/>
          <a:p>
            <a:pPr>
              <a:lnSpc>
                <a:spcPct val="150000"/>
              </a:lnSpc>
            </a:pPr>
            <a:r>
              <a:rPr lang="ru-RU" sz="1058" kern="1200" dirty="0">
                <a:solidFill>
                  <a:srgbClr val="E41910"/>
                </a:solidFill>
                <a:effectLst/>
                <a:latin typeface="+mn-lt"/>
                <a:ea typeface="+mn-ea"/>
                <a:cs typeface="+mn-cs"/>
              </a:rPr>
              <a:t>Телефон</a:t>
            </a:r>
          </a:p>
          <a:p>
            <a:pPr>
              <a:lnSpc>
                <a:spcPct val="150000"/>
              </a:lnSpc>
            </a:pPr>
            <a:r>
              <a:rPr lang="ru-RU" sz="1058" kern="1200" dirty="0">
                <a:solidFill>
                  <a:srgbClr val="E41910"/>
                </a:solidFill>
                <a:effectLst/>
                <a:latin typeface="+mn-lt"/>
                <a:ea typeface="+mn-ea"/>
                <a:cs typeface="+mn-cs"/>
              </a:rPr>
              <a:t>Почта</a:t>
            </a:r>
          </a:p>
          <a:p>
            <a:pPr>
              <a:lnSpc>
                <a:spcPct val="150000"/>
              </a:lnSpc>
            </a:pPr>
            <a:r>
              <a:rPr lang="ru-RU" sz="1058" kern="1200" dirty="0">
                <a:solidFill>
                  <a:srgbClr val="E41910"/>
                </a:solidFill>
                <a:effectLst/>
                <a:latin typeface="+mn-lt"/>
                <a:ea typeface="+mn-ea"/>
                <a:cs typeface="+mn-cs"/>
              </a:rPr>
              <a:t>Сайт</a:t>
            </a:r>
          </a:p>
        </p:txBody>
      </p:sp>
      <p:sp>
        <p:nvSpPr>
          <p:cNvPr id="24" name="TextBox 23">
            <a:extLst>
              <a:ext uri="{FF2B5EF4-FFF2-40B4-BE49-F238E27FC236}">
                <a16:creationId xmlns:a16="http://schemas.microsoft.com/office/drawing/2014/main" id="{3F26B54D-F66A-C344-AD13-EBD8F068DB36}"/>
              </a:ext>
            </a:extLst>
          </p:cNvPr>
          <p:cNvSpPr txBox="1"/>
          <p:nvPr userDrawn="1"/>
        </p:nvSpPr>
        <p:spPr>
          <a:xfrm>
            <a:off x="5107760" y="5833001"/>
            <a:ext cx="1153134" cy="341935"/>
          </a:xfrm>
          <a:prstGeom prst="rect">
            <a:avLst/>
          </a:prstGeom>
          <a:noFill/>
        </p:spPr>
        <p:txBody>
          <a:bodyPr wrap="square" lIns="96757" tIns="48378" rIns="96757" bIns="48378" rtlCol="0">
            <a:spAutoFit/>
          </a:bodyPr>
          <a:lstStyle/>
          <a:p>
            <a:pPr>
              <a:lnSpc>
                <a:spcPct val="150000"/>
              </a:lnSpc>
            </a:pPr>
            <a:r>
              <a:rPr lang="ru-RU" sz="1058" kern="1200" dirty="0">
                <a:solidFill>
                  <a:srgbClr val="E41910"/>
                </a:solidFill>
                <a:effectLst/>
                <a:latin typeface="+mn-lt"/>
                <a:ea typeface="+mn-ea"/>
                <a:cs typeface="+mn-cs"/>
              </a:rPr>
              <a:t>Подписаться</a:t>
            </a:r>
          </a:p>
        </p:txBody>
      </p:sp>
      <p:sp>
        <p:nvSpPr>
          <p:cNvPr id="25" name="Text Placeholder 10">
            <a:extLst>
              <a:ext uri="{FF2B5EF4-FFF2-40B4-BE49-F238E27FC236}">
                <a16:creationId xmlns:a16="http://schemas.microsoft.com/office/drawing/2014/main" id="{7A8121F5-98F3-AC40-97DF-13F1C657C0FC}"/>
              </a:ext>
            </a:extLst>
          </p:cNvPr>
          <p:cNvSpPr>
            <a:spLocks noGrp="1"/>
          </p:cNvSpPr>
          <p:nvPr>
            <p:ph type="body" sz="quarter" idx="16" hasCustomPrompt="1"/>
          </p:nvPr>
        </p:nvSpPr>
        <p:spPr>
          <a:xfrm>
            <a:off x="8216969" y="5885461"/>
            <a:ext cx="3603376" cy="932454"/>
          </a:xfrm>
          <a:prstGeom prst="rect">
            <a:avLst/>
          </a:prstGeom>
        </p:spPr>
        <p:txBody>
          <a:bodyPr lIns="180000" tIns="45720" rIns="180000" bIns="45720" anchor="t"/>
          <a:lstStyle>
            <a:lvl1pPr marL="0" indent="0" algn="l">
              <a:lnSpc>
                <a:spcPct val="100000"/>
              </a:lnSpc>
              <a:buFontTx/>
              <a:buNone/>
              <a:defRPr sz="1058"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r>
              <a:rPr lang="en-US" dirty="0" err="1"/>
              <a:t>twitter.com</a:t>
            </a:r>
            <a:r>
              <a:rPr lang="en-US" dirty="0"/>
              <a:t>/</a:t>
            </a:r>
            <a:r>
              <a:rPr lang="en-US" dirty="0" err="1"/>
              <a:t>omkru</a:t>
            </a:r>
            <a:endParaRPr lang="en-US" dirty="0"/>
          </a:p>
          <a:p>
            <a:pPr lvl="0"/>
            <a:r>
              <a:rPr lang="en-US" dirty="0" err="1"/>
              <a:t>youtube.com</a:t>
            </a:r>
            <a:r>
              <a:rPr lang="en-US" dirty="0"/>
              <a:t>/user/</a:t>
            </a:r>
            <a:r>
              <a:rPr lang="en-US" dirty="0" err="1"/>
              <a:t>OMKPipeCompany</a:t>
            </a:r>
            <a:endParaRPr lang="x-none" dirty="0"/>
          </a:p>
        </p:txBody>
      </p:sp>
      <p:grpSp>
        <p:nvGrpSpPr>
          <p:cNvPr id="15" name="Graphic 2">
            <a:extLst>
              <a:ext uri="{FF2B5EF4-FFF2-40B4-BE49-F238E27FC236}">
                <a16:creationId xmlns:a16="http://schemas.microsoft.com/office/drawing/2014/main" id="{40F11E44-1AF8-A041-B789-CADF7AA9753D}"/>
              </a:ext>
            </a:extLst>
          </p:cNvPr>
          <p:cNvGrpSpPr/>
          <p:nvPr userDrawn="1"/>
        </p:nvGrpSpPr>
        <p:grpSpPr>
          <a:xfrm>
            <a:off x="365010" y="2462731"/>
            <a:ext cx="838222" cy="890667"/>
            <a:chOff x="4522787" y="1925637"/>
            <a:chExt cx="2472690" cy="2627001"/>
          </a:xfrm>
        </p:grpSpPr>
        <p:sp>
          <p:nvSpPr>
            <p:cNvPr id="17" name="Freeform 16">
              <a:extLst>
                <a:ext uri="{FF2B5EF4-FFF2-40B4-BE49-F238E27FC236}">
                  <a16:creationId xmlns:a16="http://schemas.microsoft.com/office/drawing/2014/main" id="{76D2B971-C16C-8F4A-B71D-1FCAFEF220DB}"/>
                </a:ext>
              </a:extLst>
            </p:cNvPr>
            <p:cNvSpPr/>
            <p:nvPr/>
          </p:nvSpPr>
          <p:spPr>
            <a:xfrm>
              <a:off x="4522787" y="1925637"/>
              <a:ext cx="2472690" cy="1641876"/>
            </a:xfrm>
            <a:custGeom>
              <a:avLst/>
              <a:gdLst>
                <a:gd name="connsiteX0" fmla="*/ 700088 w 2472690"/>
                <a:gd name="connsiteY0" fmla="*/ 820938 h 1641876"/>
                <a:gd name="connsiteX1" fmla="*/ 1235393 w 2472690"/>
                <a:gd name="connsiteY1" fmla="*/ 287566 h 1641876"/>
                <a:gd name="connsiteX2" fmla="*/ 1497330 w 2472690"/>
                <a:gd name="connsiteY2" fmla="*/ 355898 h 1641876"/>
                <a:gd name="connsiteX3" fmla="*/ 1497330 w 2472690"/>
                <a:gd name="connsiteY3" fmla="*/ 0 h 1641876"/>
                <a:gd name="connsiteX4" fmla="*/ 0 w 2472690"/>
                <a:gd name="connsiteY4" fmla="*/ 647260 h 1641876"/>
                <a:gd name="connsiteX5" fmla="*/ 0 w 2472690"/>
                <a:gd name="connsiteY5" fmla="*/ 1641876 h 1641876"/>
                <a:gd name="connsiteX6" fmla="*/ 914400 w 2472690"/>
                <a:gd name="connsiteY6" fmla="*/ 1247067 h 1641876"/>
                <a:gd name="connsiteX7" fmla="*/ 700088 w 2472690"/>
                <a:gd name="connsiteY7" fmla="*/ 820938 h 1641876"/>
                <a:gd name="connsiteX8" fmla="*/ 1558290 w 2472690"/>
                <a:gd name="connsiteY8" fmla="*/ 394810 h 1641876"/>
                <a:gd name="connsiteX9" fmla="*/ 1771650 w 2472690"/>
                <a:gd name="connsiteY9" fmla="*/ 820938 h 1641876"/>
                <a:gd name="connsiteX10" fmla="*/ 1236345 w 2472690"/>
                <a:gd name="connsiteY10" fmla="*/ 1354311 h 1641876"/>
                <a:gd name="connsiteX11" fmla="*/ 974408 w 2472690"/>
                <a:gd name="connsiteY11" fmla="*/ 1285978 h 1641876"/>
                <a:gd name="connsiteX12" fmla="*/ 974408 w 2472690"/>
                <a:gd name="connsiteY12" fmla="*/ 1641876 h 1641876"/>
                <a:gd name="connsiteX13" fmla="*/ 2472690 w 2472690"/>
                <a:gd name="connsiteY13" fmla="*/ 994616 h 1641876"/>
                <a:gd name="connsiteX14" fmla="*/ 2472690 w 2472690"/>
                <a:gd name="connsiteY14" fmla="*/ 0 h 1641876"/>
                <a:gd name="connsiteX15" fmla="*/ 1558290 w 2472690"/>
                <a:gd name="connsiteY15" fmla="*/ 394810 h 164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72690" h="1641876">
                  <a:moveTo>
                    <a:pt x="700088" y="820938"/>
                  </a:moveTo>
                  <a:cubicBezTo>
                    <a:pt x="700088" y="525780"/>
                    <a:pt x="940118" y="287566"/>
                    <a:pt x="1235393" y="287566"/>
                  </a:cubicBezTo>
                  <a:cubicBezTo>
                    <a:pt x="1330643" y="287566"/>
                    <a:pt x="1420178" y="312241"/>
                    <a:pt x="1497330" y="355898"/>
                  </a:cubicBezTo>
                  <a:lnTo>
                    <a:pt x="1497330" y="0"/>
                  </a:lnTo>
                  <a:lnTo>
                    <a:pt x="0" y="647260"/>
                  </a:lnTo>
                  <a:lnTo>
                    <a:pt x="0" y="1641876"/>
                  </a:lnTo>
                  <a:lnTo>
                    <a:pt x="914400" y="1247067"/>
                  </a:lnTo>
                  <a:cubicBezTo>
                    <a:pt x="784860" y="1150262"/>
                    <a:pt x="700088" y="995565"/>
                    <a:pt x="700088" y="820938"/>
                  </a:cubicBezTo>
                  <a:close/>
                  <a:moveTo>
                    <a:pt x="1558290" y="394810"/>
                  </a:moveTo>
                  <a:cubicBezTo>
                    <a:pt x="1687830" y="491614"/>
                    <a:pt x="1771650" y="647260"/>
                    <a:pt x="1771650" y="820938"/>
                  </a:cubicBezTo>
                  <a:cubicBezTo>
                    <a:pt x="1771650" y="1116096"/>
                    <a:pt x="1531620" y="1354311"/>
                    <a:pt x="1236345" y="1354311"/>
                  </a:cubicBezTo>
                  <a:cubicBezTo>
                    <a:pt x="1141095" y="1354311"/>
                    <a:pt x="1051560" y="1329635"/>
                    <a:pt x="974408" y="1285978"/>
                  </a:cubicBezTo>
                  <a:lnTo>
                    <a:pt x="974408" y="1641876"/>
                  </a:lnTo>
                  <a:lnTo>
                    <a:pt x="2472690" y="994616"/>
                  </a:lnTo>
                  <a:lnTo>
                    <a:pt x="2472690" y="0"/>
                  </a:lnTo>
                  <a:lnTo>
                    <a:pt x="1558290" y="394810"/>
                  </a:lnTo>
                  <a:close/>
                </a:path>
              </a:pathLst>
            </a:custGeom>
            <a:solidFill>
              <a:srgbClr val="7F8183"/>
            </a:solidFill>
            <a:ln w="9525" cap="flat">
              <a:noFill/>
              <a:prstDash val="solid"/>
              <a:miter/>
            </a:ln>
          </p:spPr>
          <p:txBody>
            <a:bodyPr rtlCol="0" anchor="ctr"/>
            <a:lstStyle/>
            <a:p>
              <a:endParaRPr lang="x-none" sz="1905"/>
            </a:p>
          </p:txBody>
        </p:sp>
        <p:sp>
          <p:nvSpPr>
            <p:cNvPr id="18" name="Freeform 17">
              <a:extLst>
                <a:ext uri="{FF2B5EF4-FFF2-40B4-BE49-F238E27FC236}">
                  <a16:creationId xmlns:a16="http://schemas.microsoft.com/office/drawing/2014/main" id="{B9B177FA-B9C4-0348-9234-14014F48B60B}"/>
                </a:ext>
              </a:extLst>
            </p:cNvPr>
            <p:cNvSpPr/>
            <p:nvPr/>
          </p:nvSpPr>
          <p:spPr>
            <a:xfrm>
              <a:off x="5470524" y="2459009"/>
              <a:ext cx="577215" cy="575131"/>
            </a:xfrm>
            <a:custGeom>
              <a:avLst/>
              <a:gdLst>
                <a:gd name="connsiteX0" fmla="*/ 577215 w 577215"/>
                <a:gd name="connsiteY0" fmla="*/ 287566 h 575131"/>
                <a:gd name="connsiteX1" fmla="*/ 288608 w 577215"/>
                <a:gd name="connsiteY1" fmla="*/ 575131 h 575131"/>
                <a:gd name="connsiteX2" fmla="*/ 0 w 577215"/>
                <a:gd name="connsiteY2" fmla="*/ 287566 h 575131"/>
                <a:gd name="connsiteX3" fmla="*/ 288608 w 577215"/>
                <a:gd name="connsiteY3" fmla="*/ 0 h 575131"/>
                <a:gd name="connsiteX4" fmla="*/ 577215 w 577215"/>
                <a:gd name="connsiteY4" fmla="*/ 287566 h 57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15" h="575131">
                  <a:moveTo>
                    <a:pt x="577215" y="287566"/>
                  </a:moveTo>
                  <a:cubicBezTo>
                    <a:pt x="577215" y="446059"/>
                    <a:pt x="447675" y="575131"/>
                    <a:pt x="288608" y="575131"/>
                  </a:cubicBezTo>
                  <a:cubicBezTo>
                    <a:pt x="129540" y="575131"/>
                    <a:pt x="0" y="446059"/>
                    <a:pt x="0" y="287566"/>
                  </a:cubicBezTo>
                  <a:cubicBezTo>
                    <a:pt x="0" y="129072"/>
                    <a:pt x="129540" y="0"/>
                    <a:pt x="288608" y="0"/>
                  </a:cubicBezTo>
                  <a:cubicBezTo>
                    <a:pt x="447675" y="0"/>
                    <a:pt x="577215" y="129072"/>
                    <a:pt x="577215" y="287566"/>
                  </a:cubicBezTo>
                  <a:close/>
                </a:path>
              </a:pathLst>
            </a:custGeom>
            <a:solidFill>
              <a:srgbClr val="E72B2B"/>
            </a:solidFill>
            <a:ln w="9525" cap="flat">
              <a:noFill/>
              <a:prstDash val="solid"/>
              <a:miter/>
            </a:ln>
          </p:spPr>
          <p:txBody>
            <a:bodyPr rtlCol="0" anchor="ctr"/>
            <a:lstStyle/>
            <a:p>
              <a:endParaRPr lang="x-none" sz="1905"/>
            </a:p>
          </p:txBody>
        </p:sp>
        <p:sp>
          <p:nvSpPr>
            <p:cNvPr id="19" name="Freeform 18">
              <a:extLst>
                <a:ext uri="{FF2B5EF4-FFF2-40B4-BE49-F238E27FC236}">
                  <a16:creationId xmlns:a16="http://schemas.microsoft.com/office/drawing/2014/main" id="{1CE2FDDC-7DE1-8441-9AD1-C61F46339ECA}"/>
                </a:ext>
              </a:extLst>
            </p:cNvPr>
            <p:cNvSpPr/>
            <p:nvPr/>
          </p:nvSpPr>
          <p:spPr>
            <a:xfrm>
              <a:off x="4522787" y="3863620"/>
              <a:ext cx="2472690" cy="689018"/>
            </a:xfrm>
            <a:custGeom>
              <a:avLst/>
              <a:gdLst>
                <a:gd name="connsiteX0" fmla="*/ 345758 w 2472690"/>
                <a:gd name="connsiteY0" fmla="*/ 0 h 689018"/>
                <a:gd name="connsiteX1" fmla="*/ 0 w 2472690"/>
                <a:gd name="connsiteY1" fmla="*/ 344509 h 689018"/>
                <a:gd name="connsiteX2" fmla="*/ 345758 w 2472690"/>
                <a:gd name="connsiteY2" fmla="*/ 689019 h 689018"/>
                <a:gd name="connsiteX3" fmla="*/ 691515 w 2472690"/>
                <a:gd name="connsiteY3" fmla="*/ 344509 h 689018"/>
                <a:gd name="connsiteX4" fmla="*/ 345758 w 2472690"/>
                <a:gd name="connsiteY4" fmla="*/ 0 h 689018"/>
                <a:gd name="connsiteX5" fmla="*/ 345758 w 2472690"/>
                <a:gd name="connsiteY5" fmla="*/ 525780 h 689018"/>
                <a:gd name="connsiteX6" fmla="*/ 164783 w 2472690"/>
                <a:gd name="connsiteY6" fmla="*/ 345458 h 689018"/>
                <a:gd name="connsiteX7" fmla="*/ 345758 w 2472690"/>
                <a:gd name="connsiteY7" fmla="*/ 165137 h 689018"/>
                <a:gd name="connsiteX8" fmla="*/ 526733 w 2472690"/>
                <a:gd name="connsiteY8" fmla="*/ 345458 h 689018"/>
                <a:gd name="connsiteX9" fmla="*/ 345758 w 2472690"/>
                <a:gd name="connsiteY9" fmla="*/ 525780 h 689018"/>
                <a:gd name="connsiteX10" fmla="*/ 1253490 w 2472690"/>
                <a:gd name="connsiteY10" fmla="*/ 284718 h 689018"/>
                <a:gd name="connsiteX11" fmla="*/ 1063943 w 2472690"/>
                <a:gd name="connsiteY11" fmla="*/ 17083 h 689018"/>
                <a:gd name="connsiteX12" fmla="*/ 899160 w 2472690"/>
                <a:gd name="connsiteY12" fmla="*/ 17083 h 689018"/>
                <a:gd name="connsiteX13" fmla="*/ 899160 w 2472690"/>
                <a:gd name="connsiteY13" fmla="*/ 673834 h 689018"/>
                <a:gd name="connsiteX14" fmla="*/ 1063943 w 2472690"/>
                <a:gd name="connsiteY14" fmla="*/ 673834 h 689018"/>
                <a:gd name="connsiteX15" fmla="*/ 1063943 w 2472690"/>
                <a:gd name="connsiteY15" fmla="*/ 301802 h 689018"/>
                <a:gd name="connsiteX16" fmla="*/ 1152525 w 2472690"/>
                <a:gd name="connsiteY16" fmla="*/ 427078 h 689018"/>
                <a:gd name="connsiteX17" fmla="*/ 1253490 w 2472690"/>
                <a:gd name="connsiteY17" fmla="*/ 569437 h 689018"/>
                <a:gd name="connsiteX18" fmla="*/ 1354455 w 2472690"/>
                <a:gd name="connsiteY18" fmla="*/ 427078 h 689018"/>
                <a:gd name="connsiteX19" fmla="*/ 1443038 w 2472690"/>
                <a:gd name="connsiteY19" fmla="*/ 301802 h 689018"/>
                <a:gd name="connsiteX20" fmla="*/ 1443038 w 2472690"/>
                <a:gd name="connsiteY20" fmla="*/ 673834 h 689018"/>
                <a:gd name="connsiteX21" fmla="*/ 1607820 w 2472690"/>
                <a:gd name="connsiteY21" fmla="*/ 673834 h 689018"/>
                <a:gd name="connsiteX22" fmla="*/ 1607820 w 2472690"/>
                <a:gd name="connsiteY22" fmla="*/ 17083 h 689018"/>
                <a:gd name="connsiteX23" fmla="*/ 1443038 w 2472690"/>
                <a:gd name="connsiteY23" fmla="*/ 17083 h 689018"/>
                <a:gd name="connsiteX24" fmla="*/ 1253490 w 2472690"/>
                <a:gd name="connsiteY24" fmla="*/ 284718 h 689018"/>
                <a:gd name="connsiteX25" fmla="*/ 2472690 w 2472690"/>
                <a:gd name="connsiteY25" fmla="*/ 18032 h 689018"/>
                <a:gd name="connsiteX26" fmla="*/ 2270760 w 2472690"/>
                <a:gd name="connsiteY26" fmla="*/ 18032 h 689018"/>
                <a:gd name="connsiteX27" fmla="*/ 2037398 w 2472690"/>
                <a:gd name="connsiteY27" fmla="*/ 336917 h 689018"/>
                <a:gd name="connsiteX28" fmla="*/ 2037398 w 2472690"/>
                <a:gd name="connsiteY28" fmla="*/ 18032 h 689018"/>
                <a:gd name="connsiteX29" fmla="*/ 1872615 w 2472690"/>
                <a:gd name="connsiteY29" fmla="*/ 18032 h 689018"/>
                <a:gd name="connsiteX30" fmla="*/ 1872615 w 2472690"/>
                <a:gd name="connsiteY30" fmla="*/ 674783 h 689018"/>
                <a:gd name="connsiteX31" fmla="*/ 2037398 w 2472690"/>
                <a:gd name="connsiteY31" fmla="*/ 674783 h 689018"/>
                <a:gd name="connsiteX32" fmla="*/ 2037398 w 2472690"/>
                <a:gd name="connsiteY32" fmla="*/ 354000 h 689018"/>
                <a:gd name="connsiteX33" fmla="*/ 2270760 w 2472690"/>
                <a:gd name="connsiteY33" fmla="*/ 674783 h 689018"/>
                <a:gd name="connsiteX34" fmla="*/ 2472690 w 2472690"/>
                <a:gd name="connsiteY34" fmla="*/ 674783 h 689018"/>
                <a:gd name="connsiteX35" fmla="*/ 2231708 w 2472690"/>
                <a:gd name="connsiteY35" fmla="*/ 346407 h 689018"/>
                <a:gd name="connsiteX36" fmla="*/ 2472690 w 2472690"/>
                <a:gd name="connsiteY36" fmla="*/ 18032 h 68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72690" h="689018">
                  <a:moveTo>
                    <a:pt x="345758" y="0"/>
                  </a:moveTo>
                  <a:cubicBezTo>
                    <a:pt x="155258" y="0"/>
                    <a:pt x="0" y="154697"/>
                    <a:pt x="0" y="344509"/>
                  </a:cubicBezTo>
                  <a:cubicBezTo>
                    <a:pt x="0" y="535271"/>
                    <a:pt x="155258" y="689019"/>
                    <a:pt x="345758" y="689019"/>
                  </a:cubicBezTo>
                  <a:cubicBezTo>
                    <a:pt x="537210" y="689019"/>
                    <a:pt x="691515" y="534322"/>
                    <a:pt x="691515" y="344509"/>
                  </a:cubicBezTo>
                  <a:cubicBezTo>
                    <a:pt x="692468" y="154697"/>
                    <a:pt x="537210" y="0"/>
                    <a:pt x="345758" y="0"/>
                  </a:cubicBezTo>
                  <a:close/>
                  <a:moveTo>
                    <a:pt x="345758" y="525780"/>
                  </a:moveTo>
                  <a:cubicBezTo>
                    <a:pt x="245745" y="525780"/>
                    <a:pt x="164783" y="445110"/>
                    <a:pt x="164783" y="345458"/>
                  </a:cubicBezTo>
                  <a:cubicBezTo>
                    <a:pt x="164783" y="245807"/>
                    <a:pt x="245745" y="165137"/>
                    <a:pt x="345758" y="165137"/>
                  </a:cubicBezTo>
                  <a:cubicBezTo>
                    <a:pt x="445770" y="165137"/>
                    <a:pt x="526733" y="245807"/>
                    <a:pt x="526733" y="345458"/>
                  </a:cubicBezTo>
                  <a:cubicBezTo>
                    <a:pt x="527685" y="444161"/>
                    <a:pt x="445770" y="525780"/>
                    <a:pt x="345758" y="525780"/>
                  </a:cubicBezTo>
                  <a:close/>
                  <a:moveTo>
                    <a:pt x="1253490" y="284718"/>
                  </a:moveTo>
                  <a:lnTo>
                    <a:pt x="1063943" y="17083"/>
                  </a:lnTo>
                  <a:lnTo>
                    <a:pt x="899160" y="17083"/>
                  </a:lnTo>
                  <a:lnTo>
                    <a:pt x="899160" y="673834"/>
                  </a:lnTo>
                  <a:lnTo>
                    <a:pt x="1063943" y="673834"/>
                  </a:lnTo>
                  <a:lnTo>
                    <a:pt x="1063943" y="301802"/>
                  </a:lnTo>
                  <a:lnTo>
                    <a:pt x="1152525" y="427078"/>
                  </a:lnTo>
                  <a:lnTo>
                    <a:pt x="1253490" y="569437"/>
                  </a:lnTo>
                  <a:lnTo>
                    <a:pt x="1354455" y="427078"/>
                  </a:lnTo>
                  <a:lnTo>
                    <a:pt x="1443038" y="301802"/>
                  </a:lnTo>
                  <a:lnTo>
                    <a:pt x="1443038" y="673834"/>
                  </a:lnTo>
                  <a:lnTo>
                    <a:pt x="1607820" y="673834"/>
                  </a:lnTo>
                  <a:lnTo>
                    <a:pt x="1607820" y="17083"/>
                  </a:lnTo>
                  <a:lnTo>
                    <a:pt x="1443038" y="17083"/>
                  </a:lnTo>
                  <a:lnTo>
                    <a:pt x="1253490" y="284718"/>
                  </a:lnTo>
                  <a:close/>
                  <a:moveTo>
                    <a:pt x="2472690" y="18032"/>
                  </a:moveTo>
                  <a:lnTo>
                    <a:pt x="2270760" y="18032"/>
                  </a:lnTo>
                  <a:lnTo>
                    <a:pt x="2037398" y="336917"/>
                  </a:lnTo>
                  <a:lnTo>
                    <a:pt x="2037398" y="18032"/>
                  </a:lnTo>
                  <a:lnTo>
                    <a:pt x="1872615" y="18032"/>
                  </a:lnTo>
                  <a:lnTo>
                    <a:pt x="1872615" y="674783"/>
                  </a:lnTo>
                  <a:lnTo>
                    <a:pt x="2037398" y="674783"/>
                  </a:lnTo>
                  <a:lnTo>
                    <a:pt x="2037398" y="354000"/>
                  </a:lnTo>
                  <a:lnTo>
                    <a:pt x="2270760" y="674783"/>
                  </a:lnTo>
                  <a:lnTo>
                    <a:pt x="2472690" y="674783"/>
                  </a:lnTo>
                  <a:lnTo>
                    <a:pt x="2231708" y="346407"/>
                  </a:lnTo>
                  <a:lnTo>
                    <a:pt x="2472690" y="18032"/>
                  </a:lnTo>
                  <a:close/>
                </a:path>
              </a:pathLst>
            </a:custGeom>
            <a:solidFill>
              <a:srgbClr val="7F8183"/>
            </a:solidFill>
            <a:ln w="9525" cap="flat">
              <a:noFill/>
              <a:prstDash val="solid"/>
              <a:miter/>
            </a:ln>
          </p:spPr>
          <p:txBody>
            <a:bodyPr rtlCol="0" anchor="ctr"/>
            <a:lstStyle/>
            <a:p>
              <a:endParaRPr lang="x-none" sz="1905"/>
            </a:p>
          </p:txBody>
        </p:sp>
      </p:grpSp>
      <p:grpSp>
        <p:nvGrpSpPr>
          <p:cNvPr id="22" name="Graphic 13">
            <a:extLst>
              <a:ext uri="{FF2B5EF4-FFF2-40B4-BE49-F238E27FC236}">
                <a16:creationId xmlns:a16="http://schemas.microsoft.com/office/drawing/2014/main" id="{AA443365-44DD-6049-B8C1-DC81D1B11A4E}"/>
              </a:ext>
            </a:extLst>
          </p:cNvPr>
          <p:cNvGrpSpPr/>
          <p:nvPr userDrawn="1"/>
        </p:nvGrpSpPr>
        <p:grpSpPr>
          <a:xfrm>
            <a:off x="340920" y="5763385"/>
            <a:ext cx="886399" cy="762739"/>
            <a:chOff x="1237542" y="5445861"/>
            <a:chExt cx="837693" cy="720718"/>
          </a:xfrm>
        </p:grpSpPr>
        <p:grpSp>
          <p:nvGrpSpPr>
            <p:cNvPr id="23" name="Graphic 13">
              <a:extLst>
                <a:ext uri="{FF2B5EF4-FFF2-40B4-BE49-F238E27FC236}">
                  <a16:creationId xmlns:a16="http://schemas.microsoft.com/office/drawing/2014/main" id="{5FBEBAB4-8198-0149-BC9E-EA85E807390A}"/>
                </a:ext>
              </a:extLst>
            </p:cNvPr>
            <p:cNvGrpSpPr/>
            <p:nvPr/>
          </p:nvGrpSpPr>
          <p:grpSpPr>
            <a:xfrm>
              <a:off x="1264054" y="5786435"/>
              <a:ext cx="327743" cy="106553"/>
              <a:chOff x="1264054" y="5786435"/>
              <a:chExt cx="327743" cy="106553"/>
            </a:xfrm>
            <a:solidFill>
              <a:srgbClr val="CFD4D9"/>
            </a:solidFill>
          </p:grpSpPr>
          <p:sp>
            <p:nvSpPr>
              <p:cNvPr id="55" name="Freeform 54">
                <a:extLst>
                  <a:ext uri="{FF2B5EF4-FFF2-40B4-BE49-F238E27FC236}">
                    <a16:creationId xmlns:a16="http://schemas.microsoft.com/office/drawing/2014/main" id="{53F6BECB-5E13-9A47-908B-D8DDA9F616AF}"/>
                  </a:ext>
                </a:extLst>
              </p:cNvPr>
              <p:cNvSpPr/>
              <p:nvPr/>
            </p:nvSpPr>
            <p:spPr>
              <a:xfrm>
                <a:off x="1264054" y="5786435"/>
                <a:ext cx="72205" cy="84225"/>
              </a:xfrm>
              <a:custGeom>
                <a:avLst/>
                <a:gdLst>
                  <a:gd name="connsiteX0" fmla="*/ 38077 w 72205"/>
                  <a:gd name="connsiteY0" fmla="*/ 74898 h 84225"/>
                  <a:gd name="connsiteX1" fmla="*/ 55000 w 72205"/>
                  <a:gd name="connsiteY1" fmla="*/ 69811 h 84225"/>
                  <a:gd name="connsiteX2" fmla="*/ 62615 w 72205"/>
                  <a:gd name="connsiteY2" fmla="*/ 55962 h 84225"/>
                  <a:gd name="connsiteX3" fmla="*/ 72205 w 72205"/>
                  <a:gd name="connsiteY3" fmla="*/ 57657 h 84225"/>
                  <a:gd name="connsiteX4" fmla="*/ 60923 w 72205"/>
                  <a:gd name="connsiteY4" fmla="*/ 77442 h 84225"/>
                  <a:gd name="connsiteX5" fmla="*/ 37795 w 72205"/>
                  <a:gd name="connsiteY5" fmla="*/ 84225 h 84225"/>
                  <a:gd name="connsiteX6" fmla="*/ 10154 w 72205"/>
                  <a:gd name="connsiteY6" fmla="*/ 72920 h 84225"/>
                  <a:gd name="connsiteX7" fmla="*/ 0 w 72205"/>
                  <a:gd name="connsiteY7" fmla="*/ 42113 h 84225"/>
                  <a:gd name="connsiteX8" fmla="*/ 2821 w 72205"/>
                  <a:gd name="connsiteY8" fmla="*/ 24307 h 84225"/>
                  <a:gd name="connsiteX9" fmla="*/ 10436 w 72205"/>
                  <a:gd name="connsiteY9" fmla="*/ 11023 h 84225"/>
                  <a:gd name="connsiteX10" fmla="*/ 22282 w 72205"/>
                  <a:gd name="connsiteY10" fmla="*/ 2826 h 84225"/>
                  <a:gd name="connsiteX11" fmla="*/ 37795 w 72205"/>
                  <a:gd name="connsiteY11" fmla="*/ 0 h 84225"/>
                  <a:gd name="connsiteX12" fmla="*/ 60923 w 72205"/>
                  <a:gd name="connsiteY12" fmla="*/ 6783 h 84225"/>
                  <a:gd name="connsiteX13" fmla="*/ 71923 w 72205"/>
                  <a:gd name="connsiteY13" fmla="*/ 26568 h 84225"/>
                  <a:gd name="connsiteX14" fmla="*/ 62333 w 72205"/>
                  <a:gd name="connsiteY14" fmla="*/ 28263 h 84225"/>
                  <a:gd name="connsiteX15" fmla="*/ 54718 w 72205"/>
                  <a:gd name="connsiteY15" fmla="*/ 14697 h 84225"/>
                  <a:gd name="connsiteX16" fmla="*/ 37795 w 72205"/>
                  <a:gd name="connsiteY16" fmla="*/ 9327 h 84225"/>
                  <a:gd name="connsiteX17" fmla="*/ 25667 w 72205"/>
                  <a:gd name="connsiteY17" fmla="*/ 11871 h 84225"/>
                  <a:gd name="connsiteX18" fmla="*/ 16923 w 72205"/>
                  <a:gd name="connsiteY18" fmla="*/ 18654 h 84225"/>
                  <a:gd name="connsiteX19" fmla="*/ 11564 w 72205"/>
                  <a:gd name="connsiteY19" fmla="*/ 29111 h 84225"/>
                  <a:gd name="connsiteX20" fmla="*/ 9872 w 72205"/>
                  <a:gd name="connsiteY20" fmla="*/ 42678 h 84225"/>
                  <a:gd name="connsiteX21" fmla="*/ 17205 w 72205"/>
                  <a:gd name="connsiteY21" fmla="*/ 66419 h 84225"/>
                  <a:gd name="connsiteX22" fmla="*/ 38077 w 72205"/>
                  <a:gd name="connsiteY22" fmla="*/ 74898 h 8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2205" h="84225">
                    <a:moveTo>
                      <a:pt x="38077" y="74898"/>
                    </a:moveTo>
                    <a:cubicBezTo>
                      <a:pt x="45410" y="74898"/>
                      <a:pt x="51051" y="73202"/>
                      <a:pt x="55000" y="69811"/>
                    </a:cubicBezTo>
                    <a:cubicBezTo>
                      <a:pt x="58949" y="66419"/>
                      <a:pt x="61487" y="61897"/>
                      <a:pt x="62615" y="55962"/>
                    </a:cubicBezTo>
                    <a:lnTo>
                      <a:pt x="72205" y="57657"/>
                    </a:lnTo>
                    <a:cubicBezTo>
                      <a:pt x="70795" y="66136"/>
                      <a:pt x="66846" y="72920"/>
                      <a:pt x="60923" y="77442"/>
                    </a:cubicBezTo>
                    <a:cubicBezTo>
                      <a:pt x="55000" y="81964"/>
                      <a:pt x="47385" y="84225"/>
                      <a:pt x="37795" y="84225"/>
                    </a:cubicBezTo>
                    <a:cubicBezTo>
                      <a:pt x="26231" y="84225"/>
                      <a:pt x="16923" y="80551"/>
                      <a:pt x="10154" y="72920"/>
                    </a:cubicBezTo>
                    <a:cubicBezTo>
                      <a:pt x="3385" y="65289"/>
                      <a:pt x="0" y="55114"/>
                      <a:pt x="0" y="42113"/>
                    </a:cubicBezTo>
                    <a:cubicBezTo>
                      <a:pt x="0" y="35329"/>
                      <a:pt x="846" y="29394"/>
                      <a:pt x="2821" y="24307"/>
                    </a:cubicBezTo>
                    <a:cubicBezTo>
                      <a:pt x="4513" y="18937"/>
                      <a:pt x="7333" y="14697"/>
                      <a:pt x="10436" y="11023"/>
                    </a:cubicBezTo>
                    <a:cubicBezTo>
                      <a:pt x="13821" y="7348"/>
                      <a:pt x="17769" y="4522"/>
                      <a:pt x="22282" y="2826"/>
                    </a:cubicBezTo>
                    <a:cubicBezTo>
                      <a:pt x="27077" y="848"/>
                      <a:pt x="32154" y="0"/>
                      <a:pt x="37795" y="0"/>
                    </a:cubicBezTo>
                    <a:cubicBezTo>
                      <a:pt x="47385" y="0"/>
                      <a:pt x="55000" y="2261"/>
                      <a:pt x="60923" y="6783"/>
                    </a:cubicBezTo>
                    <a:cubicBezTo>
                      <a:pt x="66846" y="11305"/>
                      <a:pt x="70513" y="18089"/>
                      <a:pt x="71923" y="26568"/>
                    </a:cubicBezTo>
                    <a:lnTo>
                      <a:pt x="62333" y="28263"/>
                    </a:lnTo>
                    <a:cubicBezTo>
                      <a:pt x="61205" y="22893"/>
                      <a:pt x="58667" y="18371"/>
                      <a:pt x="54718" y="14697"/>
                    </a:cubicBezTo>
                    <a:cubicBezTo>
                      <a:pt x="50769" y="11023"/>
                      <a:pt x="45128" y="9327"/>
                      <a:pt x="37795" y="9327"/>
                    </a:cubicBezTo>
                    <a:cubicBezTo>
                      <a:pt x="33282" y="9327"/>
                      <a:pt x="29333" y="10175"/>
                      <a:pt x="25667" y="11871"/>
                    </a:cubicBezTo>
                    <a:cubicBezTo>
                      <a:pt x="22282" y="13566"/>
                      <a:pt x="19180" y="15828"/>
                      <a:pt x="16923" y="18654"/>
                    </a:cubicBezTo>
                    <a:cubicBezTo>
                      <a:pt x="14667" y="21480"/>
                      <a:pt x="12974" y="24872"/>
                      <a:pt x="11564" y="29111"/>
                    </a:cubicBezTo>
                    <a:cubicBezTo>
                      <a:pt x="10436" y="33068"/>
                      <a:pt x="9872" y="37590"/>
                      <a:pt x="9872" y="42678"/>
                    </a:cubicBezTo>
                    <a:cubicBezTo>
                      <a:pt x="9872" y="52570"/>
                      <a:pt x="12410" y="60484"/>
                      <a:pt x="17205" y="66419"/>
                    </a:cubicBezTo>
                    <a:cubicBezTo>
                      <a:pt x="22282" y="72072"/>
                      <a:pt x="29051" y="74898"/>
                      <a:pt x="38077" y="74898"/>
                    </a:cubicBezTo>
                  </a:path>
                </a:pathLst>
              </a:custGeom>
              <a:solidFill>
                <a:srgbClr val="7F8183"/>
              </a:solidFill>
              <a:ln w="2790" cap="flat">
                <a:noFill/>
                <a:prstDash val="solid"/>
                <a:miter/>
              </a:ln>
            </p:spPr>
            <p:txBody>
              <a:bodyPr rtlCol="0" anchor="ctr"/>
              <a:lstStyle/>
              <a:p>
                <a:endParaRPr lang="x-none" sz="1905"/>
              </a:p>
            </p:txBody>
          </p:sp>
          <p:sp>
            <p:nvSpPr>
              <p:cNvPr id="56" name="Freeform 55">
                <a:extLst>
                  <a:ext uri="{FF2B5EF4-FFF2-40B4-BE49-F238E27FC236}">
                    <a16:creationId xmlns:a16="http://schemas.microsoft.com/office/drawing/2014/main" id="{951EE360-1C01-BB42-9A9C-1A019F76AA81}"/>
                  </a:ext>
                </a:extLst>
              </p:cNvPr>
              <p:cNvSpPr/>
              <p:nvPr/>
            </p:nvSpPr>
            <p:spPr>
              <a:xfrm>
                <a:off x="1347542" y="5811024"/>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769" y="49461"/>
                      <a:pt x="22000"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764"/>
                      <a:pt x="0" y="29959"/>
                    </a:cubicBezTo>
                    <a:cubicBezTo>
                      <a:pt x="0" y="20350"/>
                      <a:pt x="2538" y="13001"/>
                      <a:pt x="7615" y="7914"/>
                    </a:cubicBezTo>
                    <a:cubicBezTo>
                      <a:pt x="12692" y="2826"/>
                      <a:pt x="19180" y="0"/>
                      <a:pt x="27359" y="0"/>
                    </a:cubicBezTo>
                    <a:cubicBezTo>
                      <a:pt x="35256" y="0"/>
                      <a:pt x="41744" y="2544"/>
                      <a:pt x="46539" y="7914"/>
                    </a:cubicBezTo>
                    <a:cubicBezTo>
                      <a:pt x="51333" y="13001"/>
                      <a:pt x="53872" y="20350"/>
                      <a:pt x="53872" y="29959"/>
                    </a:cubicBezTo>
                    <a:cubicBezTo>
                      <a:pt x="53872" y="39286"/>
                      <a:pt x="51333" y="46635"/>
                      <a:pt x="46539" y="52005"/>
                    </a:cubicBezTo>
                    <a:cubicBezTo>
                      <a:pt x="41744" y="57092"/>
                      <a:pt x="35538" y="59919"/>
                      <a:pt x="27359" y="59919"/>
                    </a:cubicBezTo>
                  </a:path>
                </a:pathLst>
              </a:custGeom>
              <a:solidFill>
                <a:srgbClr val="7F8183"/>
              </a:solidFill>
              <a:ln w="2790" cap="flat">
                <a:noFill/>
                <a:prstDash val="solid"/>
                <a:miter/>
              </a:ln>
            </p:spPr>
            <p:txBody>
              <a:bodyPr rtlCol="0" anchor="ctr"/>
              <a:lstStyle/>
              <a:p>
                <a:endParaRPr lang="x-none" sz="1905"/>
              </a:p>
            </p:txBody>
          </p:sp>
          <p:sp>
            <p:nvSpPr>
              <p:cNvPr id="57" name="Freeform 56">
                <a:extLst>
                  <a:ext uri="{FF2B5EF4-FFF2-40B4-BE49-F238E27FC236}">
                    <a16:creationId xmlns:a16="http://schemas.microsoft.com/office/drawing/2014/main" id="{16F6205D-01CB-4245-AF73-08FBC725C314}"/>
                  </a:ext>
                </a:extLst>
              </p:cNvPr>
              <p:cNvSpPr/>
              <p:nvPr/>
            </p:nvSpPr>
            <p:spPr>
              <a:xfrm>
                <a:off x="1416080" y="5812155"/>
                <a:ext cx="45410" cy="57657"/>
              </a:xfrm>
              <a:custGeom>
                <a:avLst/>
                <a:gdLst>
                  <a:gd name="connsiteX0" fmla="*/ 26231 w 45410"/>
                  <a:gd name="connsiteY0" fmla="*/ 32220 h 57657"/>
                  <a:gd name="connsiteX1" fmla="*/ 9308 w 45410"/>
                  <a:gd name="connsiteY1" fmla="*/ 32220 h 57657"/>
                  <a:gd name="connsiteX2" fmla="*/ 9308 w 45410"/>
                  <a:gd name="connsiteY2" fmla="*/ 49178 h 57657"/>
                  <a:gd name="connsiteX3" fmla="*/ 26231 w 45410"/>
                  <a:gd name="connsiteY3" fmla="*/ 49178 h 57657"/>
                  <a:gd name="connsiteX4" fmla="*/ 34128 w 45410"/>
                  <a:gd name="connsiteY4" fmla="*/ 46917 h 57657"/>
                  <a:gd name="connsiteX5" fmla="*/ 36385 w 45410"/>
                  <a:gd name="connsiteY5" fmla="*/ 40699 h 57657"/>
                  <a:gd name="connsiteX6" fmla="*/ 33846 w 45410"/>
                  <a:gd name="connsiteY6" fmla="*/ 34199 h 57657"/>
                  <a:gd name="connsiteX7" fmla="*/ 26231 w 45410"/>
                  <a:gd name="connsiteY7" fmla="*/ 32220 h 57657"/>
                  <a:gd name="connsiteX8" fmla="*/ 24538 w 45410"/>
                  <a:gd name="connsiteY8" fmla="*/ 8196 h 57657"/>
                  <a:gd name="connsiteX9" fmla="*/ 9308 w 45410"/>
                  <a:gd name="connsiteY9" fmla="*/ 8196 h 57657"/>
                  <a:gd name="connsiteX10" fmla="*/ 9308 w 45410"/>
                  <a:gd name="connsiteY10" fmla="*/ 24307 h 57657"/>
                  <a:gd name="connsiteX11" fmla="*/ 25385 w 45410"/>
                  <a:gd name="connsiteY11" fmla="*/ 24307 h 57657"/>
                  <a:gd name="connsiteX12" fmla="*/ 32436 w 45410"/>
                  <a:gd name="connsiteY12" fmla="*/ 22328 h 57657"/>
                  <a:gd name="connsiteX13" fmla="*/ 34692 w 45410"/>
                  <a:gd name="connsiteY13" fmla="*/ 16110 h 57657"/>
                  <a:gd name="connsiteX14" fmla="*/ 32436 w 45410"/>
                  <a:gd name="connsiteY14" fmla="*/ 9892 h 57657"/>
                  <a:gd name="connsiteX15" fmla="*/ 24538 w 45410"/>
                  <a:gd name="connsiteY15" fmla="*/ 8196 h 57657"/>
                  <a:gd name="connsiteX16" fmla="*/ 0 w 45410"/>
                  <a:gd name="connsiteY16" fmla="*/ 57375 h 57657"/>
                  <a:gd name="connsiteX17" fmla="*/ 0 w 45410"/>
                  <a:gd name="connsiteY17" fmla="*/ 0 h 57657"/>
                  <a:gd name="connsiteX18" fmla="*/ 24538 w 45410"/>
                  <a:gd name="connsiteY18" fmla="*/ 0 h 57657"/>
                  <a:gd name="connsiteX19" fmla="*/ 38923 w 45410"/>
                  <a:gd name="connsiteY19" fmla="*/ 3957 h 57657"/>
                  <a:gd name="connsiteX20" fmla="*/ 44000 w 45410"/>
                  <a:gd name="connsiteY20" fmla="*/ 15545 h 57657"/>
                  <a:gd name="connsiteX21" fmla="*/ 42308 w 45410"/>
                  <a:gd name="connsiteY21" fmla="*/ 22328 h 57657"/>
                  <a:gd name="connsiteX22" fmla="*/ 35821 w 45410"/>
                  <a:gd name="connsiteY22" fmla="*/ 27698 h 57657"/>
                  <a:gd name="connsiteX23" fmla="*/ 43154 w 45410"/>
                  <a:gd name="connsiteY23" fmla="*/ 32786 h 57657"/>
                  <a:gd name="connsiteX24" fmla="*/ 45410 w 45410"/>
                  <a:gd name="connsiteY24" fmla="*/ 41265 h 57657"/>
                  <a:gd name="connsiteX25" fmla="*/ 40897 w 45410"/>
                  <a:gd name="connsiteY25" fmla="*/ 53135 h 57657"/>
                  <a:gd name="connsiteX26" fmla="*/ 26231 w 45410"/>
                  <a:gd name="connsiteY26" fmla="*/ 57657 h 57657"/>
                  <a:gd name="connsiteX27" fmla="*/ 0 w 45410"/>
                  <a:gd name="connsiteY27" fmla="*/ 57657 h 5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5410" h="57657">
                    <a:moveTo>
                      <a:pt x="26231" y="32220"/>
                    </a:moveTo>
                    <a:lnTo>
                      <a:pt x="9308" y="32220"/>
                    </a:lnTo>
                    <a:lnTo>
                      <a:pt x="9308" y="49178"/>
                    </a:lnTo>
                    <a:lnTo>
                      <a:pt x="26231" y="49178"/>
                    </a:lnTo>
                    <a:cubicBezTo>
                      <a:pt x="29897" y="49178"/>
                      <a:pt x="32436" y="48330"/>
                      <a:pt x="34128" y="46917"/>
                    </a:cubicBezTo>
                    <a:cubicBezTo>
                      <a:pt x="35538" y="45504"/>
                      <a:pt x="36385" y="43526"/>
                      <a:pt x="36385" y="40699"/>
                    </a:cubicBezTo>
                    <a:cubicBezTo>
                      <a:pt x="36385" y="37590"/>
                      <a:pt x="35538" y="35612"/>
                      <a:pt x="33846" y="34199"/>
                    </a:cubicBezTo>
                    <a:cubicBezTo>
                      <a:pt x="32436" y="33068"/>
                      <a:pt x="29897" y="32220"/>
                      <a:pt x="26231" y="32220"/>
                    </a:cubicBezTo>
                    <a:moveTo>
                      <a:pt x="24538" y="8196"/>
                    </a:moveTo>
                    <a:lnTo>
                      <a:pt x="9308" y="8196"/>
                    </a:lnTo>
                    <a:lnTo>
                      <a:pt x="9308" y="24307"/>
                    </a:lnTo>
                    <a:lnTo>
                      <a:pt x="25385" y="24307"/>
                    </a:lnTo>
                    <a:cubicBezTo>
                      <a:pt x="28487" y="24307"/>
                      <a:pt x="31026" y="23741"/>
                      <a:pt x="32436" y="22328"/>
                    </a:cubicBezTo>
                    <a:cubicBezTo>
                      <a:pt x="34128" y="20915"/>
                      <a:pt x="34692" y="18937"/>
                      <a:pt x="34692" y="16110"/>
                    </a:cubicBezTo>
                    <a:cubicBezTo>
                      <a:pt x="34692" y="13284"/>
                      <a:pt x="33846" y="11305"/>
                      <a:pt x="32436" y="9892"/>
                    </a:cubicBezTo>
                    <a:cubicBezTo>
                      <a:pt x="31308" y="9044"/>
                      <a:pt x="28487" y="8196"/>
                      <a:pt x="24538" y="8196"/>
                    </a:cubicBezTo>
                    <a:moveTo>
                      <a:pt x="0" y="57375"/>
                    </a:moveTo>
                    <a:lnTo>
                      <a:pt x="0" y="0"/>
                    </a:lnTo>
                    <a:lnTo>
                      <a:pt x="24538" y="0"/>
                    </a:lnTo>
                    <a:cubicBezTo>
                      <a:pt x="30744" y="0"/>
                      <a:pt x="35538" y="1413"/>
                      <a:pt x="38923" y="3957"/>
                    </a:cubicBezTo>
                    <a:cubicBezTo>
                      <a:pt x="42308" y="6501"/>
                      <a:pt x="44000" y="10457"/>
                      <a:pt x="44000" y="15545"/>
                    </a:cubicBezTo>
                    <a:cubicBezTo>
                      <a:pt x="44000" y="17806"/>
                      <a:pt x="43436" y="20067"/>
                      <a:pt x="42308" y="22328"/>
                    </a:cubicBezTo>
                    <a:cubicBezTo>
                      <a:pt x="41180" y="24589"/>
                      <a:pt x="39205" y="26568"/>
                      <a:pt x="35821" y="27698"/>
                    </a:cubicBezTo>
                    <a:cubicBezTo>
                      <a:pt x="39205" y="28829"/>
                      <a:pt x="41744" y="30524"/>
                      <a:pt x="43154" y="32786"/>
                    </a:cubicBezTo>
                    <a:cubicBezTo>
                      <a:pt x="44564" y="35047"/>
                      <a:pt x="45410" y="37873"/>
                      <a:pt x="45410" y="41265"/>
                    </a:cubicBezTo>
                    <a:cubicBezTo>
                      <a:pt x="45410" y="46069"/>
                      <a:pt x="44000" y="50026"/>
                      <a:pt x="40897" y="53135"/>
                    </a:cubicBezTo>
                    <a:cubicBezTo>
                      <a:pt x="37795" y="55962"/>
                      <a:pt x="33000" y="57657"/>
                      <a:pt x="26231" y="57657"/>
                    </a:cubicBezTo>
                    <a:lnTo>
                      <a:pt x="0" y="57657"/>
                    </a:lnTo>
                    <a:close/>
                  </a:path>
                </a:pathLst>
              </a:custGeom>
              <a:solidFill>
                <a:srgbClr val="7F8183"/>
              </a:solidFill>
              <a:ln w="2790" cap="flat">
                <a:noFill/>
                <a:prstDash val="solid"/>
                <a:miter/>
              </a:ln>
            </p:spPr>
            <p:txBody>
              <a:bodyPr rtlCol="0" anchor="ctr"/>
              <a:lstStyle/>
              <a:p>
                <a:endParaRPr lang="x-none" sz="1905"/>
              </a:p>
            </p:txBody>
          </p:sp>
          <p:sp>
            <p:nvSpPr>
              <p:cNvPr id="58" name="Freeform 57">
                <a:extLst>
                  <a:ext uri="{FF2B5EF4-FFF2-40B4-BE49-F238E27FC236}">
                    <a16:creationId xmlns:a16="http://schemas.microsoft.com/office/drawing/2014/main" id="{73E37A58-7A04-3D4C-B1C2-8DE0C7DC770C}"/>
                  </a:ext>
                </a:extLst>
              </p:cNvPr>
              <p:cNvSpPr/>
              <p:nvPr/>
            </p:nvSpPr>
            <p:spPr>
              <a:xfrm>
                <a:off x="1472208" y="5811307"/>
                <a:ext cx="51333" cy="59635"/>
              </a:xfrm>
              <a:custGeom>
                <a:avLst/>
                <a:gdLst>
                  <a:gd name="connsiteX0" fmla="*/ 26795 w 51333"/>
                  <a:gd name="connsiteY0" fmla="*/ 7914 h 59635"/>
                  <a:gd name="connsiteX1" fmla="*/ 15795 w 51333"/>
                  <a:gd name="connsiteY1" fmla="*/ 12153 h 59635"/>
                  <a:gd name="connsiteX2" fmla="*/ 10154 w 51333"/>
                  <a:gd name="connsiteY2" fmla="*/ 23176 h 59635"/>
                  <a:gd name="connsiteX3" fmla="*/ 42308 w 51333"/>
                  <a:gd name="connsiteY3" fmla="*/ 23176 h 59635"/>
                  <a:gd name="connsiteX4" fmla="*/ 38359 w 51333"/>
                  <a:gd name="connsiteY4" fmla="*/ 12153 h 59635"/>
                  <a:gd name="connsiteX5" fmla="*/ 26795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8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795" y="7914"/>
                    </a:moveTo>
                    <a:cubicBezTo>
                      <a:pt x="22282" y="7914"/>
                      <a:pt x="18615" y="9327"/>
                      <a:pt x="15795" y="12153"/>
                    </a:cubicBezTo>
                    <a:cubicBezTo>
                      <a:pt x="12692" y="14980"/>
                      <a:pt x="11000" y="18654"/>
                      <a:pt x="10154" y="23176"/>
                    </a:cubicBezTo>
                    <a:lnTo>
                      <a:pt x="42308" y="23176"/>
                    </a:lnTo>
                    <a:cubicBezTo>
                      <a:pt x="42026" y="18654"/>
                      <a:pt x="40615" y="14980"/>
                      <a:pt x="38359" y="12153"/>
                    </a:cubicBezTo>
                    <a:cubicBezTo>
                      <a:pt x="35256" y="9327"/>
                      <a:pt x="31590" y="7914"/>
                      <a:pt x="26795"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8"/>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59" name="Freeform 58">
                <a:extLst>
                  <a:ext uri="{FF2B5EF4-FFF2-40B4-BE49-F238E27FC236}">
                    <a16:creationId xmlns:a16="http://schemas.microsoft.com/office/drawing/2014/main" id="{A5FB3A17-DE30-EC46-85FD-34B2B2EB33B8}"/>
                  </a:ext>
                </a:extLst>
              </p:cNvPr>
              <p:cNvSpPr/>
              <p:nvPr/>
            </p:nvSpPr>
            <p:spPr>
              <a:xfrm>
                <a:off x="1537644" y="5810742"/>
                <a:ext cx="54153" cy="82246"/>
              </a:xfrm>
              <a:custGeom>
                <a:avLst/>
                <a:gdLst>
                  <a:gd name="connsiteX0" fmla="*/ 9590 w 54153"/>
                  <a:gd name="connsiteY0" fmla="*/ 34764 h 82246"/>
                  <a:gd name="connsiteX1" fmla="*/ 14949 w 54153"/>
                  <a:gd name="connsiteY1" fmla="*/ 46917 h 82246"/>
                  <a:gd name="connsiteX2" fmla="*/ 27641 w 54153"/>
                  <a:gd name="connsiteY2" fmla="*/ 51439 h 82246"/>
                  <a:gd name="connsiteX3" fmla="*/ 40051 w 54153"/>
                  <a:gd name="connsiteY3" fmla="*/ 45504 h 82246"/>
                  <a:gd name="connsiteX4" fmla="*/ 44564 w 54153"/>
                  <a:gd name="connsiteY4" fmla="*/ 29677 h 82246"/>
                  <a:gd name="connsiteX5" fmla="*/ 40051 w 54153"/>
                  <a:gd name="connsiteY5" fmla="*/ 14414 h 82246"/>
                  <a:gd name="connsiteX6" fmla="*/ 27359 w 54153"/>
                  <a:gd name="connsiteY6" fmla="*/ 8479 h 82246"/>
                  <a:gd name="connsiteX7" fmla="*/ 20872 w 54153"/>
                  <a:gd name="connsiteY7" fmla="*/ 9610 h 82246"/>
                  <a:gd name="connsiteX8" fmla="*/ 15231 w 54153"/>
                  <a:gd name="connsiteY8" fmla="*/ 13284 h 82246"/>
                  <a:gd name="connsiteX9" fmla="*/ 11282 w 54153"/>
                  <a:gd name="connsiteY9" fmla="*/ 19219 h 82246"/>
                  <a:gd name="connsiteX10" fmla="*/ 9872 w 54153"/>
                  <a:gd name="connsiteY10" fmla="*/ 27416 h 82246"/>
                  <a:gd name="connsiteX11" fmla="*/ 9872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590" y="34764"/>
                    </a:moveTo>
                    <a:cubicBezTo>
                      <a:pt x="9590" y="40134"/>
                      <a:pt x="11282" y="44091"/>
                      <a:pt x="14949" y="46917"/>
                    </a:cubicBezTo>
                    <a:cubicBezTo>
                      <a:pt x="18615" y="49744"/>
                      <a:pt x="22846" y="51439"/>
                      <a:pt x="27641" y="51439"/>
                    </a:cubicBezTo>
                    <a:cubicBezTo>
                      <a:pt x="33000" y="51439"/>
                      <a:pt x="36949" y="49461"/>
                      <a:pt x="40051" y="45504"/>
                    </a:cubicBezTo>
                    <a:cubicBezTo>
                      <a:pt x="43154" y="41547"/>
                      <a:pt x="44564" y="36460"/>
                      <a:pt x="44564" y="29677"/>
                    </a:cubicBezTo>
                    <a:cubicBezTo>
                      <a:pt x="44564" y="23459"/>
                      <a:pt x="43154" y="18371"/>
                      <a:pt x="40051" y="14414"/>
                    </a:cubicBezTo>
                    <a:cubicBezTo>
                      <a:pt x="36949" y="10457"/>
                      <a:pt x="32718" y="8479"/>
                      <a:pt x="27359" y="8479"/>
                    </a:cubicBezTo>
                    <a:cubicBezTo>
                      <a:pt x="25103" y="8479"/>
                      <a:pt x="22846" y="8762"/>
                      <a:pt x="20872" y="9610"/>
                    </a:cubicBezTo>
                    <a:cubicBezTo>
                      <a:pt x="18897" y="10457"/>
                      <a:pt x="16923" y="11588"/>
                      <a:pt x="15231" y="13284"/>
                    </a:cubicBezTo>
                    <a:cubicBezTo>
                      <a:pt x="13538" y="14980"/>
                      <a:pt x="12128" y="16958"/>
                      <a:pt x="11282" y="19219"/>
                    </a:cubicBezTo>
                    <a:cubicBezTo>
                      <a:pt x="10154" y="21763"/>
                      <a:pt x="9872" y="24307"/>
                      <a:pt x="9872" y="27416"/>
                    </a:cubicBezTo>
                    <a:lnTo>
                      <a:pt x="9872" y="34764"/>
                    </a:lnTo>
                    <a:close/>
                    <a:moveTo>
                      <a:pt x="0" y="82247"/>
                    </a:moveTo>
                    <a:lnTo>
                      <a:pt x="0" y="1413"/>
                    </a:lnTo>
                    <a:lnTo>
                      <a:pt x="9590" y="1413"/>
                    </a:lnTo>
                    <a:lnTo>
                      <a:pt x="9590" y="9044"/>
                    </a:lnTo>
                    <a:cubicBezTo>
                      <a:pt x="11564" y="6218"/>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grpSp>
        <p:sp>
          <p:nvSpPr>
            <p:cNvPr id="26" name="Freeform 25">
              <a:extLst>
                <a:ext uri="{FF2B5EF4-FFF2-40B4-BE49-F238E27FC236}">
                  <a16:creationId xmlns:a16="http://schemas.microsoft.com/office/drawing/2014/main" id="{8A57EE60-CECA-0745-A9C4-EE0F6B57CD75}"/>
                </a:ext>
              </a:extLst>
            </p:cNvPr>
            <p:cNvSpPr/>
            <p:nvPr/>
          </p:nvSpPr>
          <p:spPr>
            <a:xfrm>
              <a:off x="1606183" y="5812155"/>
              <a:ext cx="75307" cy="57374"/>
            </a:xfrm>
            <a:custGeom>
              <a:avLst/>
              <a:gdLst>
                <a:gd name="connsiteX0" fmla="*/ 75308 w 75307"/>
                <a:gd name="connsiteY0" fmla="*/ 0 h 57374"/>
                <a:gd name="connsiteX1" fmla="*/ 75308 w 75307"/>
                <a:gd name="connsiteY1" fmla="*/ 57375 h 57374"/>
                <a:gd name="connsiteX2" fmla="*/ 0 w 75307"/>
                <a:gd name="connsiteY2" fmla="*/ 57375 h 57374"/>
                <a:gd name="connsiteX3" fmla="*/ 0 w 75307"/>
                <a:gd name="connsiteY3" fmla="*/ 0 h 57374"/>
                <a:gd name="connsiteX4" fmla="*/ 9590 w 75307"/>
                <a:gd name="connsiteY4" fmla="*/ 0 h 57374"/>
                <a:gd name="connsiteX5" fmla="*/ 9590 w 75307"/>
                <a:gd name="connsiteY5" fmla="*/ 48613 h 57374"/>
                <a:gd name="connsiteX6" fmla="*/ 33000 w 75307"/>
                <a:gd name="connsiteY6" fmla="*/ 48613 h 57374"/>
                <a:gd name="connsiteX7" fmla="*/ 33000 w 75307"/>
                <a:gd name="connsiteY7" fmla="*/ 0 h 57374"/>
                <a:gd name="connsiteX8" fmla="*/ 42308 w 75307"/>
                <a:gd name="connsiteY8" fmla="*/ 0 h 57374"/>
                <a:gd name="connsiteX9" fmla="*/ 42308 w 75307"/>
                <a:gd name="connsiteY9" fmla="*/ 48613 h 57374"/>
                <a:gd name="connsiteX10" fmla="*/ 65718 w 75307"/>
                <a:gd name="connsiteY10" fmla="*/ 48613 h 57374"/>
                <a:gd name="connsiteX11" fmla="*/ 65718 w 75307"/>
                <a:gd name="connsiteY11" fmla="*/ 0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307" h="57374">
                  <a:moveTo>
                    <a:pt x="75308" y="0"/>
                  </a:moveTo>
                  <a:lnTo>
                    <a:pt x="75308" y="57375"/>
                  </a:lnTo>
                  <a:lnTo>
                    <a:pt x="0" y="57375"/>
                  </a:lnTo>
                  <a:lnTo>
                    <a:pt x="0" y="0"/>
                  </a:lnTo>
                  <a:lnTo>
                    <a:pt x="9590" y="0"/>
                  </a:lnTo>
                  <a:lnTo>
                    <a:pt x="9590" y="48613"/>
                  </a:lnTo>
                  <a:lnTo>
                    <a:pt x="33000" y="48613"/>
                  </a:lnTo>
                  <a:lnTo>
                    <a:pt x="33000" y="0"/>
                  </a:lnTo>
                  <a:lnTo>
                    <a:pt x="42308" y="0"/>
                  </a:lnTo>
                  <a:lnTo>
                    <a:pt x="42308" y="48613"/>
                  </a:lnTo>
                  <a:lnTo>
                    <a:pt x="65718" y="48613"/>
                  </a:lnTo>
                  <a:lnTo>
                    <a:pt x="65718" y="0"/>
                  </a:lnTo>
                  <a:close/>
                </a:path>
              </a:pathLst>
            </a:custGeom>
            <a:solidFill>
              <a:srgbClr val="7F8183"/>
            </a:solidFill>
            <a:ln w="2790" cap="flat">
              <a:noFill/>
              <a:prstDash val="solid"/>
              <a:miter/>
            </a:ln>
          </p:spPr>
          <p:txBody>
            <a:bodyPr rtlCol="0" anchor="ctr"/>
            <a:lstStyle/>
            <a:p>
              <a:endParaRPr lang="x-none" sz="1905"/>
            </a:p>
          </p:txBody>
        </p:sp>
        <p:sp>
          <p:nvSpPr>
            <p:cNvPr id="27" name="Freeform 26">
              <a:extLst>
                <a:ext uri="{FF2B5EF4-FFF2-40B4-BE49-F238E27FC236}">
                  <a16:creationId xmlns:a16="http://schemas.microsoft.com/office/drawing/2014/main" id="{4C1D8118-E478-6F49-92CE-6359D0AC6C1A}"/>
                </a:ext>
              </a:extLst>
            </p:cNvPr>
            <p:cNvSpPr/>
            <p:nvPr/>
          </p:nvSpPr>
          <p:spPr>
            <a:xfrm>
              <a:off x="1695593" y="5811307"/>
              <a:ext cx="51615" cy="59635"/>
            </a:xfrm>
            <a:custGeom>
              <a:avLst/>
              <a:gdLst>
                <a:gd name="connsiteX0" fmla="*/ 26795 w 51615"/>
                <a:gd name="connsiteY0" fmla="*/ 7914 h 59635"/>
                <a:gd name="connsiteX1" fmla="*/ 15795 w 51615"/>
                <a:gd name="connsiteY1" fmla="*/ 12153 h 59635"/>
                <a:gd name="connsiteX2" fmla="*/ 10154 w 51615"/>
                <a:gd name="connsiteY2" fmla="*/ 23176 h 59635"/>
                <a:gd name="connsiteX3" fmla="*/ 42308 w 51615"/>
                <a:gd name="connsiteY3" fmla="*/ 23176 h 59635"/>
                <a:gd name="connsiteX4" fmla="*/ 38359 w 51615"/>
                <a:gd name="connsiteY4" fmla="*/ 12153 h 59635"/>
                <a:gd name="connsiteX5" fmla="*/ 26795 w 51615"/>
                <a:gd name="connsiteY5" fmla="*/ 7914 h 59635"/>
                <a:gd name="connsiteX6" fmla="*/ 51615 w 51615"/>
                <a:gd name="connsiteY6" fmla="*/ 31372 h 59635"/>
                <a:gd name="connsiteX7" fmla="*/ 9590 w 51615"/>
                <a:gd name="connsiteY7" fmla="*/ 31372 h 59635"/>
                <a:gd name="connsiteX8" fmla="*/ 14949 w 51615"/>
                <a:gd name="connsiteY8" fmla="*/ 46069 h 59635"/>
                <a:gd name="connsiteX9" fmla="*/ 27077 w 51615"/>
                <a:gd name="connsiteY9" fmla="*/ 51157 h 59635"/>
                <a:gd name="connsiteX10" fmla="*/ 37513 w 51615"/>
                <a:gd name="connsiteY10" fmla="*/ 48048 h 59635"/>
                <a:gd name="connsiteX11" fmla="*/ 42308 w 51615"/>
                <a:gd name="connsiteY11" fmla="*/ 40699 h 59635"/>
                <a:gd name="connsiteX12" fmla="*/ 51333 w 51615"/>
                <a:gd name="connsiteY12" fmla="*/ 42395 h 59635"/>
                <a:gd name="connsiteX13" fmla="*/ 42872 w 51615"/>
                <a:gd name="connsiteY13" fmla="*/ 55114 h 59635"/>
                <a:gd name="connsiteX14" fmla="*/ 26795 w 51615"/>
                <a:gd name="connsiteY14" fmla="*/ 59636 h 59635"/>
                <a:gd name="connsiteX15" fmla="*/ 7333 w 51615"/>
                <a:gd name="connsiteY15" fmla="*/ 51722 h 59635"/>
                <a:gd name="connsiteX16" fmla="*/ 0 w 51615"/>
                <a:gd name="connsiteY16" fmla="*/ 29677 h 59635"/>
                <a:gd name="connsiteX17" fmla="*/ 1974 w 51615"/>
                <a:gd name="connsiteY17" fmla="*/ 16958 h 59635"/>
                <a:gd name="connsiteX18" fmla="*/ 7615 w 51615"/>
                <a:gd name="connsiteY18" fmla="*/ 7631 h 59635"/>
                <a:gd name="connsiteX19" fmla="*/ 16077 w 51615"/>
                <a:gd name="connsiteY19" fmla="*/ 1978 h 59635"/>
                <a:gd name="connsiteX20" fmla="*/ 26513 w 51615"/>
                <a:gd name="connsiteY20" fmla="*/ 0 h 59635"/>
                <a:gd name="connsiteX21" fmla="*/ 44564 w 51615"/>
                <a:gd name="connsiteY21" fmla="*/ 7348 h 59635"/>
                <a:gd name="connsiteX22" fmla="*/ 51333 w 51615"/>
                <a:gd name="connsiteY22" fmla="*/ 27698 h 59635"/>
                <a:gd name="connsiteX23" fmla="*/ 51333 w 51615"/>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615" h="59635">
                  <a:moveTo>
                    <a:pt x="26795" y="7914"/>
                  </a:moveTo>
                  <a:cubicBezTo>
                    <a:pt x="22282" y="7914"/>
                    <a:pt x="18615" y="9327"/>
                    <a:pt x="15795" y="12153"/>
                  </a:cubicBezTo>
                  <a:cubicBezTo>
                    <a:pt x="12692" y="14980"/>
                    <a:pt x="11000" y="18654"/>
                    <a:pt x="10154" y="23176"/>
                  </a:cubicBezTo>
                  <a:lnTo>
                    <a:pt x="42308" y="23176"/>
                  </a:lnTo>
                  <a:cubicBezTo>
                    <a:pt x="42026" y="18654"/>
                    <a:pt x="40615" y="14980"/>
                    <a:pt x="38359" y="12153"/>
                  </a:cubicBezTo>
                  <a:cubicBezTo>
                    <a:pt x="35539" y="9327"/>
                    <a:pt x="31590" y="7914"/>
                    <a:pt x="26795" y="7914"/>
                  </a:cubicBezTo>
                  <a:moveTo>
                    <a:pt x="51615"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8"/>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28" name="Freeform 27">
              <a:extLst>
                <a:ext uri="{FF2B5EF4-FFF2-40B4-BE49-F238E27FC236}">
                  <a16:creationId xmlns:a16="http://schemas.microsoft.com/office/drawing/2014/main" id="{D5B77BF7-A718-7F46-B83C-AF7018415C50}"/>
                </a:ext>
              </a:extLst>
            </p:cNvPr>
            <p:cNvSpPr/>
            <p:nvPr/>
          </p:nvSpPr>
          <p:spPr>
            <a:xfrm>
              <a:off x="1761029" y="5812155"/>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29" name="Freeform 28">
              <a:extLst>
                <a:ext uri="{FF2B5EF4-FFF2-40B4-BE49-F238E27FC236}">
                  <a16:creationId xmlns:a16="http://schemas.microsoft.com/office/drawing/2014/main" id="{6918E6DD-6E3E-8943-88BC-027320426CAB}"/>
                </a:ext>
              </a:extLst>
            </p:cNvPr>
            <p:cNvSpPr/>
            <p:nvPr/>
          </p:nvSpPr>
          <p:spPr>
            <a:xfrm>
              <a:off x="1825055" y="5810742"/>
              <a:ext cx="50769" cy="59918"/>
            </a:xfrm>
            <a:custGeom>
              <a:avLst/>
              <a:gdLst>
                <a:gd name="connsiteX0" fmla="*/ 41744 w 50769"/>
                <a:gd name="connsiteY0" fmla="*/ 40134 h 59918"/>
                <a:gd name="connsiteX1" fmla="*/ 50769 w 50769"/>
                <a:gd name="connsiteY1" fmla="*/ 41547 h 59918"/>
                <a:gd name="connsiteX2" fmla="*/ 43154 w 50769"/>
                <a:gd name="connsiteY2" fmla="*/ 54548 h 59918"/>
                <a:gd name="connsiteX3" fmla="*/ 26513 w 50769"/>
                <a:gd name="connsiteY3" fmla="*/ 59919 h 59918"/>
                <a:gd name="connsiteX4" fmla="*/ 7333 w 50769"/>
                <a:gd name="connsiteY4" fmla="*/ 52287 h 59918"/>
                <a:gd name="connsiteX5" fmla="*/ 0 w 50769"/>
                <a:gd name="connsiteY5" fmla="*/ 29959 h 59918"/>
                <a:gd name="connsiteX6" fmla="*/ 1974 w 50769"/>
                <a:gd name="connsiteY6" fmla="*/ 16675 h 59918"/>
                <a:gd name="connsiteX7" fmla="*/ 7615 w 50769"/>
                <a:gd name="connsiteY7" fmla="*/ 7348 h 59918"/>
                <a:gd name="connsiteX8" fmla="*/ 16077 w 50769"/>
                <a:gd name="connsiteY8" fmla="*/ 1696 h 59918"/>
                <a:gd name="connsiteX9" fmla="*/ 26513 w 50769"/>
                <a:gd name="connsiteY9" fmla="*/ 0 h 59918"/>
                <a:gd name="connsiteX10" fmla="*/ 43436 w 50769"/>
                <a:gd name="connsiteY10" fmla="*/ 5370 h 59918"/>
                <a:gd name="connsiteX11" fmla="*/ 50769 w 50769"/>
                <a:gd name="connsiteY11" fmla="*/ 18089 h 59918"/>
                <a:gd name="connsiteX12" fmla="*/ 42026 w 50769"/>
                <a:gd name="connsiteY12" fmla="*/ 19784 h 59918"/>
                <a:gd name="connsiteX13" fmla="*/ 37513 w 50769"/>
                <a:gd name="connsiteY13" fmla="*/ 12153 h 59918"/>
                <a:gd name="connsiteX14" fmla="*/ 26795 w 50769"/>
                <a:gd name="connsiteY14" fmla="*/ 8479 h 59918"/>
                <a:gd name="connsiteX15" fmla="*/ 14103 w 50769"/>
                <a:gd name="connsiteY15" fmla="*/ 14132 h 59918"/>
                <a:gd name="connsiteX16" fmla="*/ 9590 w 50769"/>
                <a:gd name="connsiteY16" fmla="*/ 29677 h 59918"/>
                <a:gd name="connsiteX17" fmla="*/ 14103 w 50769"/>
                <a:gd name="connsiteY17" fmla="*/ 45222 h 59918"/>
                <a:gd name="connsiteX18" fmla="*/ 26795 w 50769"/>
                <a:gd name="connsiteY18" fmla="*/ 51157 h 59918"/>
                <a:gd name="connsiteX19" fmla="*/ 37795 w 50769"/>
                <a:gd name="connsiteY19" fmla="*/ 47483 h 59918"/>
                <a:gd name="connsiteX20" fmla="*/ 41744 w 50769"/>
                <a:gd name="connsiteY20" fmla="*/ 40134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769" h="59918">
                  <a:moveTo>
                    <a:pt x="41744" y="40134"/>
                  </a:moveTo>
                  <a:lnTo>
                    <a:pt x="50769" y="41547"/>
                  </a:lnTo>
                  <a:cubicBezTo>
                    <a:pt x="49641" y="46635"/>
                    <a:pt x="47103" y="51157"/>
                    <a:pt x="43154" y="54548"/>
                  </a:cubicBezTo>
                  <a:cubicBezTo>
                    <a:pt x="39205" y="58223"/>
                    <a:pt x="33564" y="59919"/>
                    <a:pt x="26513" y="59919"/>
                  </a:cubicBezTo>
                  <a:cubicBezTo>
                    <a:pt x="18615" y="59919"/>
                    <a:pt x="12128" y="57375"/>
                    <a:pt x="7333" y="52287"/>
                  </a:cubicBezTo>
                  <a:cubicBezTo>
                    <a:pt x="2538" y="47200"/>
                    <a:pt x="0" y="39851"/>
                    <a:pt x="0" y="29959"/>
                  </a:cubicBezTo>
                  <a:cubicBezTo>
                    <a:pt x="0" y="24872"/>
                    <a:pt x="564" y="20350"/>
                    <a:pt x="1974" y="16675"/>
                  </a:cubicBezTo>
                  <a:cubicBezTo>
                    <a:pt x="3385" y="13001"/>
                    <a:pt x="5359" y="9892"/>
                    <a:pt x="7615" y="7348"/>
                  </a:cubicBezTo>
                  <a:cubicBezTo>
                    <a:pt x="9872" y="4805"/>
                    <a:pt x="12692" y="3109"/>
                    <a:pt x="16077" y="1696"/>
                  </a:cubicBezTo>
                  <a:cubicBezTo>
                    <a:pt x="19462" y="565"/>
                    <a:pt x="22846" y="0"/>
                    <a:pt x="26513" y="0"/>
                  </a:cubicBezTo>
                  <a:cubicBezTo>
                    <a:pt x="33846" y="0"/>
                    <a:pt x="39487" y="1696"/>
                    <a:pt x="43436" y="5370"/>
                  </a:cubicBezTo>
                  <a:cubicBezTo>
                    <a:pt x="47385" y="9044"/>
                    <a:pt x="49641" y="13284"/>
                    <a:pt x="50769" y="18089"/>
                  </a:cubicBezTo>
                  <a:lnTo>
                    <a:pt x="42026" y="19784"/>
                  </a:lnTo>
                  <a:cubicBezTo>
                    <a:pt x="41179" y="16958"/>
                    <a:pt x="39769" y="14414"/>
                    <a:pt x="37513" y="12153"/>
                  </a:cubicBezTo>
                  <a:cubicBezTo>
                    <a:pt x="35256" y="9892"/>
                    <a:pt x="31590" y="8479"/>
                    <a:pt x="26795" y="8479"/>
                  </a:cubicBezTo>
                  <a:cubicBezTo>
                    <a:pt x="21436" y="8479"/>
                    <a:pt x="17205" y="10457"/>
                    <a:pt x="14103" y="14132"/>
                  </a:cubicBezTo>
                  <a:cubicBezTo>
                    <a:pt x="11000" y="18089"/>
                    <a:pt x="9590" y="23176"/>
                    <a:pt x="9590" y="29677"/>
                  </a:cubicBezTo>
                  <a:cubicBezTo>
                    <a:pt x="9590" y="36177"/>
                    <a:pt x="11000" y="41265"/>
                    <a:pt x="14103" y="45222"/>
                  </a:cubicBezTo>
                  <a:cubicBezTo>
                    <a:pt x="16923" y="49178"/>
                    <a:pt x="21154" y="51157"/>
                    <a:pt x="26795" y="51157"/>
                  </a:cubicBezTo>
                  <a:cubicBezTo>
                    <a:pt x="31872" y="51157"/>
                    <a:pt x="35538" y="50026"/>
                    <a:pt x="37795" y="47483"/>
                  </a:cubicBezTo>
                  <a:cubicBezTo>
                    <a:pt x="39487" y="45504"/>
                    <a:pt x="40897" y="42960"/>
                    <a:pt x="41744" y="40134"/>
                  </a:cubicBezTo>
                </a:path>
              </a:pathLst>
            </a:custGeom>
            <a:solidFill>
              <a:srgbClr val="7F8183"/>
            </a:solidFill>
            <a:ln w="2790" cap="flat">
              <a:noFill/>
              <a:prstDash val="solid"/>
              <a:miter/>
            </a:ln>
          </p:spPr>
          <p:txBody>
            <a:bodyPr rtlCol="0" anchor="ctr"/>
            <a:lstStyle/>
            <a:p>
              <a:endParaRPr lang="x-none" sz="1905"/>
            </a:p>
          </p:txBody>
        </p:sp>
        <p:sp>
          <p:nvSpPr>
            <p:cNvPr id="30" name="Freeform 29">
              <a:extLst>
                <a:ext uri="{FF2B5EF4-FFF2-40B4-BE49-F238E27FC236}">
                  <a16:creationId xmlns:a16="http://schemas.microsoft.com/office/drawing/2014/main" id="{645310B9-8CA4-C849-B2E3-16871DC771FC}"/>
                </a:ext>
              </a:extLst>
            </p:cNvPr>
            <p:cNvSpPr/>
            <p:nvPr/>
          </p:nvSpPr>
          <p:spPr>
            <a:xfrm>
              <a:off x="1882875" y="5812155"/>
              <a:ext cx="51333" cy="57374"/>
            </a:xfrm>
            <a:custGeom>
              <a:avLst/>
              <a:gdLst>
                <a:gd name="connsiteX0" fmla="*/ 0 w 51333"/>
                <a:gd name="connsiteY0" fmla="*/ 9044 h 57374"/>
                <a:gd name="connsiteX1" fmla="*/ 0 w 51333"/>
                <a:gd name="connsiteY1" fmla="*/ 0 h 57374"/>
                <a:gd name="connsiteX2" fmla="*/ 51333 w 51333"/>
                <a:gd name="connsiteY2" fmla="*/ 0 h 57374"/>
                <a:gd name="connsiteX3" fmla="*/ 51333 w 51333"/>
                <a:gd name="connsiteY3" fmla="*/ 9044 h 57374"/>
                <a:gd name="connsiteX4" fmla="*/ 30462 w 51333"/>
                <a:gd name="connsiteY4" fmla="*/ 9044 h 57374"/>
                <a:gd name="connsiteX5" fmla="*/ 30462 w 51333"/>
                <a:gd name="connsiteY5" fmla="*/ 57375 h 57374"/>
                <a:gd name="connsiteX6" fmla="*/ 20872 w 51333"/>
                <a:gd name="connsiteY6" fmla="*/ 57375 h 57374"/>
                <a:gd name="connsiteX7" fmla="*/ 20872 w 51333"/>
                <a:gd name="connsiteY7" fmla="*/ 9044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333" h="57374">
                  <a:moveTo>
                    <a:pt x="0" y="9044"/>
                  </a:moveTo>
                  <a:lnTo>
                    <a:pt x="0" y="0"/>
                  </a:lnTo>
                  <a:lnTo>
                    <a:pt x="51333" y="0"/>
                  </a:lnTo>
                  <a:lnTo>
                    <a:pt x="51333" y="9044"/>
                  </a:lnTo>
                  <a:lnTo>
                    <a:pt x="30462" y="9044"/>
                  </a:lnTo>
                  <a:lnTo>
                    <a:pt x="30462" y="57375"/>
                  </a:lnTo>
                  <a:lnTo>
                    <a:pt x="20872" y="57375"/>
                  </a:lnTo>
                  <a:lnTo>
                    <a:pt x="20872" y="9044"/>
                  </a:lnTo>
                  <a:close/>
                </a:path>
              </a:pathLst>
            </a:custGeom>
            <a:solidFill>
              <a:srgbClr val="7F8183"/>
            </a:solidFill>
            <a:ln w="2790" cap="flat">
              <a:noFill/>
              <a:prstDash val="solid"/>
              <a:miter/>
            </a:ln>
          </p:spPr>
          <p:txBody>
            <a:bodyPr rtlCol="0" anchor="ctr"/>
            <a:lstStyle/>
            <a:p>
              <a:endParaRPr lang="x-none" sz="1905"/>
            </a:p>
          </p:txBody>
        </p:sp>
        <p:grpSp>
          <p:nvGrpSpPr>
            <p:cNvPr id="31" name="Graphic 13">
              <a:extLst>
                <a:ext uri="{FF2B5EF4-FFF2-40B4-BE49-F238E27FC236}">
                  <a16:creationId xmlns:a16="http://schemas.microsoft.com/office/drawing/2014/main" id="{68D06D50-A541-C448-B5A3-276B64E2D4C1}"/>
                </a:ext>
              </a:extLst>
            </p:cNvPr>
            <p:cNvGrpSpPr/>
            <p:nvPr/>
          </p:nvGrpSpPr>
          <p:grpSpPr>
            <a:xfrm>
              <a:off x="1946055" y="5811024"/>
              <a:ext cx="110282" cy="59918"/>
              <a:chOff x="1946055" y="5811024"/>
              <a:chExt cx="110282" cy="59918"/>
            </a:xfrm>
            <a:solidFill>
              <a:srgbClr val="CFD4D9"/>
            </a:solidFill>
          </p:grpSpPr>
          <p:sp>
            <p:nvSpPr>
              <p:cNvPr id="53" name="Freeform 52">
                <a:extLst>
                  <a:ext uri="{FF2B5EF4-FFF2-40B4-BE49-F238E27FC236}">
                    <a16:creationId xmlns:a16="http://schemas.microsoft.com/office/drawing/2014/main" id="{07959E70-C873-A843-8416-EFC12CA91A5C}"/>
                  </a:ext>
                </a:extLst>
              </p:cNvPr>
              <p:cNvSpPr/>
              <p:nvPr/>
            </p:nvSpPr>
            <p:spPr>
              <a:xfrm>
                <a:off x="1946055" y="5812155"/>
                <a:ext cx="45410" cy="57657"/>
              </a:xfrm>
              <a:custGeom>
                <a:avLst/>
                <a:gdLst>
                  <a:gd name="connsiteX0" fmla="*/ 26231 w 45410"/>
                  <a:gd name="connsiteY0" fmla="*/ 32220 h 57657"/>
                  <a:gd name="connsiteX1" fmla="*/ 9308 w 45410"/>
                  <a:gd name="connsiteY1" fmla="*/ 32220 h 57657"/>
                  <a:gd name="connsiteX2" fmla="*/ 9308 w 45410"/>
                  <a:gd name="connsiteY2" fmla="*/ 49178 h 57657"/>
                  <a:gd name="connsiteX3" fmla="*/ 26231 w 45410"/>
                  <a:gd name="connsiteY3" fmla="*/ 49178 h 57657"/>
                  <a:gd name="connsiteX4" fmla="*/ 34128 w 45410"/>
                  <a:gd name="connsiteY4" fmla="*/ 46917 h 57657"/>
                  <a:gd name="connsiteX5" fmla="*/ 36385 w 45410"/>
                  <a:gd name="connsiteY5" fmla="*/ 40699 h 57657"/>
                  <a:gd name="connsiteX6" fmla="*/ 33846 w 45410"/>
                  <a:gd name="connsiteY6" fmla="*/ 34199 h 57657"/>
                  <a:gd name="connsiteX7" fmla="*/ 26231 w 45410"/>
                  <a:gd name="connsiteY7" fmla="*/ 32220 h 57657"/>
                  <a:gd name="connsiteX8" fmla="*/ 24538 w 45410"/>
                  <a:gd name="connsiteY8" fmla="*/ 8196 h 57657"/>
                  <a:gd name="connsiteX9" fmla="*/ 9308 w 45410"/>
                  <a:gd name="connsiteY9" fmla="*/ 8196 h 57657"/>
                  <a:gd name="connsiteX10" fmla="*/ 9308 w 45410"/>
                  <a:gd name="connsiteY10" fmla="*/ 24307 h 57657"/>
                  <a:gd name="connsiteX11" fmla="*/ 25385 w 45410"/>
                  <a:gd name="connsiteY11" fmla="*/ 24307 h 57657"/>
                  <a:gd name="connsiteX12" fmla="*/ 32436 w 45410"/>
                  <a:gd name="connsiteY12" fmla="*/ 22328 h 57657"/>
                  <a:gd name="connsiteX13" fmla="*/ 34692 w 45410"/>
                  <a:gd name="connsiteY13" fmla="*/ 16110 h 57657"/>
                  <a:gd name="connsiteX14" fmla="*/ 32436 w 45410"/>
                  <a:gd name="connsiteY14" fmla="*/ 9892 h 57657"/>
                  <a:gd name="connsiteX15" fmla="*/ 24538 w 45410"/>
                  <a:gd name="connsiteY15" fmla="*/ 8196 h 57657"/>
                  <a:gd name="connsiteX16" fmla="*/ 0 w 45410"/>
                  <a:gd name="connsiteY16" fmla="*/ 57375 h 57657"/>
                  <a:gd name="connsiteX17" fmla="*/ 0 w 45410"/>
                  <a:gd name="connsiteY17" fmla="*/ 0 h 57657"/>
                  <a:gd name="connsiteX18" fmla="*/ 24538 w 45410"/>
                  <a:gd name="connsiteY18" fmla="*/ 0 h 57657"/>
                  <a:gd name="connsiteX19" fmla="*/ 38923 w 45410"/>
                  <a:gd name="connsiteY19" fmla="*/ 3957 h 57657"/>
                  <a:gd name="connsiteX20" fmla="*/ 44000 w 45410"/>
                  <a:gd name="connsiteY20" fmla="*/ 15545 h 57657"/>
                  <a:gd name="connsiteX21" fmla="*/ 42308 w 45410"/>
                  <a:gd name="connsiteY21" fmla="*/ 22328 h 57657"/>
                  <a:gd name="connsiteX22" fmla="*/ 35821 w 45410"/>
                  <a:gd name="connsiteY22" fmla="*/ 27698 h 57657"/>
                  <a:gd name="connsiteX23" fmla="*/ 43154 w 45410"/>
                  <a:gd name="connsiteY23" fmla="*/ 32786 h 57657"/>
                  <a:gd name="connsiteX24" fmla="*/ 45410 w 45410"/>
                  <a:gd name="connsiteY24" fmla="*/ 41265 h 57657"/>
                  <a:gd name="connsiteX25" fmla="*/ 40898 w 45410"/>
                  <a:gd name="connsiteY25" fmla="*/ 53135 h 57657"/>
                  <a:gd name="connsiteX26" fmla="*/ 26231 w 45410"/>
                  <a:gd name="connsiteY26" fmla="*/ 57657 h 57657"/>
                  <a:gd name="connsiteX27" fmla="*/ 0 w 45410"/>
                  <a:gd name="connsiteY27" fmla="*/ 57657 h 5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5410" h="57657">
                    <a:moveTo>
                      <a:pt x="26231" y="32220"/>
                    </a:moveTo>
                    <a:lnTo>
                      <a:pt x="9308" y="32220"/>
                    </a:lnTo>
                    <a:lnTo>
                      <a:pt x="9308" y="49178"/>
                    </a:lnTo>
                    <a:lnTo>
                      <a:pt x="26231" y="49178"/>
                    </a:lnTo>
                    <a:cubicBezTo>
                      <a:pt x="29897" y="49178"/>
                      <a:pt x="32436" y="48330"/>
                      <a:pt x="34128" y="46917"/>
                    </a:cubicBezTo>
                    <a:cubicBezTo>
                      <a:pt x="35538" y="45504"/>
                      <a:pt x="36385" y="43526"/>
                      <a:pt x="36385" y="40699"/>
                    </a:cubicBezTo>
                    <a:cubicBezTo>
                      <a:pt x="36385" y="37590"/>
                      <a:pt x="35538" y="35612"/>
                      <a:pt x="33846" y="34199"/>
                    </a:cubicBezTo>
                    <a:cubicBezTo>
                      <a:pt x="32436" y="33068"/>
                      <a:pt x="29897" y="32220"/>
                      <a:pt x="26231" y="32220"/>
                    </a:cubicBezTo>
                    <a:moveTo>
                      <a:pt x="24538" y="8196"/>
                    </a:moveTo>
                    <a:lnTo>
                      <a:pt x="9308" y="8196"/>
                    </a:lnTo>
                    <a:lnTo>
                      <a:pt x="9308" y="24307"/>
                    </a:lnTo>
                    <a:lnTo>
                      <a:pt x="25385" y="24307"/>
                    </a:lnTo>
                    <a:cubicBezTo>
                      <a:pt x="28487" y="24307"/>
                      <a:pt x="31026" y="23741"/>
                      <a:pt x="32436" y="22328"/>
                    </a:cubicBezTo>
                    <a:cubicBezTo>
                      <a:pt x="34128" y="20915"/>
                      <a:pt x="34692" y="18937"/>
                      <a:pt x="34692" y="16110"/>
                    </a:cubicBezTo>
                    <a:cubicBezTo>
                      <a:pt x="34692" y="13284"/>
                      <a:pt x="33846" y="11305"/>
                      <a:pt x="32436" y="9892"/>
                    </a:cubicBezTo>
                    <a:cubicBezTo>
                      <a:pt x="31308" y="9044"/>
                      <a:pt x="28487" y="8196"/>
                      <a:pt x="24538" y="8196"/>
                    </a:cubicBezTo>
                    <a:moveTo>
                      <a:pt x="0" y="57375"/>
                    </a:moveTo>
                    <a:lnTo>
                      <a:pt x="0" y="0"/>
                    </a:lnTo>
                    <a:lnTo>
                      <a:pt x="24538" y="0"/>
                    </a:lnTo>
                    <a:cubicBezTo>
                      <a:pt x="30744" y="0"/>
                      <a:pt x="35538" y="1413"/>
                      <a:pt x="38923" y="3957"/>
                    </a:cubicBezTo>
                    <a:cubicBezTo>
                      <a:pt x="42308" y="6501"/>
                      <a:pt x="44000" y="10457"/>
                      <a:pt x="44000" y="15545"/>
                    </a:cubicBezTo>
                    <a:cubicBezTo>
                      <a:pt x="44000" y="17806"/>
                      <a:pt x="43436" y="20067"/>
                      <a:pt x="42308" y="22328"/>
                    </a:cubicBezTo>
                    <a:cubicBezTo>
                      <a:pt x="41179" y="24589"/>
                      <a:pt x="39205" y="26568"/>
                      <a:pt x="35821" y="27698"/>
                    </a:cubicBezTo>
                    <a:cubicBezTo>
                      <a:pt x="39205" y="28829"/>
                      <a:pt x="41744" y="30524"/>
                      <a:pt x="43154" y="32786"/>
                    </a:cubicBezTo>
                    <a:cubicBezTo>
                      <a:pt x="44564" y="35047"/>
                      <a:pt x="45410" y="37873"/>
                      <a:pt x="45410" y="41265"/>
                    </a:cubicBezTo>
                    <a:cubicBezTo>
                      <a:pt x="45410" y="46069"/>
                      <a:pt x="44000" y="50026"/>
                      <a:pt x="40898" y="53135"/>
                    </a:cubicBezTo>
                    <a:cubicBezTo>
                      <a:pt x="37795" y="55962"/>
                      <a:pt x="33000" y="57657"/>
                      <a:pt x="26231" y="57657"/>
                    </a:cubicBezTo>
                    <a:lnTo>
                      <a:pt x="0" y="57657"/>
                    </a:lnTo>
                    <a:close/>
                  </a:path>
                </a:pathLst>
              </a:custGeom>
              <a:solidFill>
                <a:srgbClr val="7F8183"/>
              </a:solidFill>
              <a:ln w="2790" cap="flat">
                <a:noFill/>
                <a:prstDash val="solid"/>
                <a:miter/>
              </a:ln>
            </p:spPr>
            <p:txBody>
              <a:bodyPr rtlCol="0" anchor="ctr"/>
              <a:lstStyle/>
              <a:p>
                <a:endParaRPr lang="x-none" sz="1905"/>
              </a:p>
            </p:txBody>
          </p:sp>
          <p:sp>
            <p:nvSpPr>
              <p:cNvPr id="54" name="Freeform 53">
                <a:extLst>
                  <a:ext uri="{FF2B5EF4-FFF2-40B4-BE49-F238E27FC236}">
                    <a16:creationId xmlns:a16="http://schemas.microsoft.com/office/drawing/2014/main" id="{AEDA4857-1DEE-9942-8A97-47957F90C298}"/>
                  </a:ext>
                </a:extLst>
              </p:cNvPr>
              <p:cNvSpPr/>
              <p:nvPr/>
            </p:nvSpPr>
            <p:spPr>
              <a:xfrm>
                <a:off x="2002465" y="5811024"/>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487" y="49461"/>
                      <a:pt x="21718"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764"/>
                      <a:pt x="0" y="29959"/>
                    </a:cubicBezTo>
                    <a:cubicBezTo>
                      <a:pt x="0" y="20350"/>
                      <a:pt x="2538" y="13001"/>
                      <a:pt x="7615" y="7914"/>
                    </a:cubicBezTo>
                    <a:cubicBezTo>
                      <a:pt x="12692" y="2826"/>
                      <a:pt x="19179" y="0"/>
                      <a:pt x="27359" y="0"/>
                    </a:cubicBezTo>
                    <a:cubicBezTo>
                      <a:pt x="35256" y="0"/>
                      <a:pt x="41744" y="2544"/>
                      <a:pt x="46539" y="7914"/>
                    </a:cubicBezTo>
                    <a:cubicBezTo>
                      <a:pt x="51333" y="13001"/>
                      <a:pt x="53872" y="20350"/>
                      <a:pt x="53872" y="29959"/>
                    </a:cubicBezTo>
                    <a:cubicBezTo>
                      <a:pt x="53872" y="39286"/>
                      <a:pt x="51333" y="46635"/>
                      <a:pt x="46539" y="52005"/>
                    </a:cubicBezTo>
                    <a:cubicBezTo>
                      <a:pt x="41462" y="57092"/>
                      <a:pt x="35256" y="59919"/>
                      <a:pt x="27359" y="59919"/>
                    </a:cubicBezTo>
                  </a:path>
                </a:pathLst>
              </a:custGeom>
              <a:solidFill>
                <a:srgbClr val="7F8183"/>
              </a:solidFill>
              <a:ln w="2790" cap="flat">
                <a:noFill/>
                <a:prstDash val="solid"/>
                <a:miter/>
              </a:ln>
            </p:spPr>
            <p:txBody>
              <a:bodyPr rtlCol="0" anchor="ctr"/>
              <a:lstStyle/>
              <a:p>
                <a:endParaRPr lang="x-none" sz="1905"/>
              </a:p>
            </p:txBody>
          </p:sp>
        </p:grpSp>
        <p:sp>
          <p:nvSpPr>
            <p:cNvPr id="32" name="Freeform 31">
              <a:extLst>
                <a:ext uri="{FF2B5EF4-FFF2-40B4-BE49-F238E27FC236}">
                  <a16:creationId xmlns:a16="http://schemas.microsoft.com/office/drawing/2014/main" id="{E0F4E977-DC47-CD42-90E3-8E69C5C4F26F}"/>
                </a:ext>
              </a:extLst>
            </p:cNvPr>
            <p:cNvSpPr/>
            <p:nvPr/>
          </p:nvSpPr>
          <p:spPr>
            <a:xfrm>
              <a:off x="1266593" y="5935383"/>
              <a:ext cx="48230" cy="57374"/>
            </a:xfrm>
            <a:custGeom>
              <a:avLst/>
              <a:gdLst>
                <a:gd name="connsiteX0" fmla="*/ 0 w 48230"/>
                <a:gd name="connsiteY0" fmla="*/ 57375 h 57374"/>
                <a:gd name="connsiteX1" fmla="*/ 0 w 48230"/>
                <a:gd name="connsiteY1" fmla="*/ 0 h 57374"/>
                <a:gd name="connsiteX2" fmla="*/ 48231 w 48230"/>
                <a:gd name="connsiteY2" fmla="*/ 0 h 57374"/>
                <a:gd name="connsiteX3" fmla="*/ 48231 w 48230"/>
                <a:gd name="connsiteY3" fmla="*/ 57375 h 57374"/>
                <a:gd name="connsiteX4" fmla="*/ 38641 w 48230"/>
                <a:gd name="connsiteY4" fmla="*/ 57375 h 57374"/>
                <a:gd name="connsiteX5" fmla="*/ 38641 w 48230"/>
                <a:gd name="connsiteY5" fmla="*/ 9044 h 57374"/>
                <a:gd name="connsiteX6" fmla="*/ 9308 w 48230"/>
                <a:gd name="connsiteY6" fmla="*/ 9044 h 57374"/>
                <a:gd name="connsiteX7" fmla="*/ 9308 w 48230"/>
                <a:gd name="connsiteY7"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30" h="57374">
                  <a:moveTo>
                    <a:pt x="0" y="57375"/>
                  </a:moveTo>
                  <a:lnTo>
                    <a:pt x="0" y="0"/>
                  </a:lnTo>
                  <a:lnTo>
                    <a:pt x="48231" y="0"/>
                  </a:lnTo>
                  <a:lnTo>
                    <a:pt x="48231" y="57375"/>
                  </a:lnTo>
                  <a:lnTo>
                    <a:pt x="38641" y="57375"/>
                  </a:lnTo>
                  <a:lnTo>
                    <a:pt x="38641" y="9044"/>
                  </a:lnTo>
                  <a:lnTo>
                    <a:pt x="9308" y="9044"/>
                  </a:lnTo>
                  <a:lnTo>
                    <a:pt x="9308" y="57375"/>
                  </a:lnTo>
                  <a:close/>
                </a:path>
              </a:pathLst>
            </a:custGeom>
            <a:solidFill>
              <a:srgbClr val="7F8183"/>
            </a:solidFill>
            <a:ln w="2790" cap="flat">
              <a:noFill/>
              <a:prstDash val="solid"/>
              <a:miter/>
            </a:ln>
          </p:spPr>
          <p:txBody>
            <a:bodyPr rtlCol="0" anchor="ctr"/>
            <a:lstStyle/>
            <a:p>
              <a:endParaRPr lang="x-none" sz="1905"/>
            </a:p>
          </p:txBody>
        </p:sp>
        <p:grpSp>
          <p:nvGrpSpPr>
            <p:cNvPr id="33" name="Graphic 13">
              <a:extLst>
                <a:ext uri="{FF2B5EF4-FFF2-40B4-BE49-F238E27FC236}">
                  <a16:creationId xmlns:a16="http://schemas.microsoft.com/office/drawing/2014/main" id="{AFB85BBB-793A-B74B-8260-45E6030D7FD9}"/>
                </a:ext>
              </a:extLst>
            </p:cNvPr>
            <p:cNvGrpSpPr/>
            <p:nvPr/>
          </p:nvGrpSpPr>
          <p:grpSpPr>
            <a:xfrm>
              <a:off x="1332593" y="5933970"/>
              <a:ext cx="245948" cy="82246"/>
              <a:chOff x="1332593" y="5933970"/>
              <a:chExt cx="245948" cy="82246"/>
            </a:xfrm>
            <a:solidFill>
              <a:srgbClr val="CFD4D9"/>
            </a:solidFill>
          </p:grpSpPr>
          <p:sp>
            <p:nvSpPr>
              <p:cNvPr id="49" name="Freeform 48">
                <a:extLst>
                  <a:ext uri="{FF2B5EF4-FFF2-40B4-BE49-F238E27FC236}">
                    <a16:creationId xmlns:a16="http://schemas.microsoft.com/office/drawing/2014/main" id="{45005C72-3836-864B-AF7B-93A10AAB71EC}"/>
                  </a:ext>
                </a:extLst>
              </p:cNvPr>
              <p:cNvSpPr/>
              <p:nvPr/>
            </p:nvSpPr>
            <p:spPr>
              <a:xfrm>
                <a:off x="1332593" y="5933970"/>
                <a:ext cx="54153" cy="82246"/>
              </a:xfrm>
              <a:custGeom>
                <a:avLst/>
                <a:gdLst>
                  <a:gd name="connsiteX0" fmla="*/ 9590 w 54153"/>
                  <a:gd name="connsiteY0" fmla="*/ 34764 h 82246"/>
                  <a:gd name="connsiteX1" fmla="*/ 14949 w 54153"/>
                  <a:gd name="connsiteY1" fmla="*/ 46917 h 82246"/>
                  <a:gd name="connsiteX2" fmla="*/ 27641 w 54153"/>
                  <a:gd name="connsiteY2" fmla="*/ 51439 h 82246"/>
                  <a:gd name="connsiteX3" fmla="*/ 40051 w 54153"/>
                  <a:gd name="connsiteY3" fmla="*/ 45504 h 82246"/>
                  <a:gd name="connsiteX4" fmla="*/ 44564 w 54153"/>
                  <a:gd name="connsiteY4" fmla="*/ 29677 h 82246"/>
                  <a:gd name="connsiteX5" fmla="*/ 40051 w 54153"/>
                  <a:gd name="connsiteY5" fmla="*/ 14414 h 82246"/>
                  <a:gd name="connsiteX6" fmla="*/ 27359 w 54153"/>
                  <a:gd name="connsiteY6" fmla="*/ 8479 h 82246"/>
                  <a:gd name="connsiteX7" fmla="*/ 20872 w 54153"/>
                  <a:gd name="connsiteY7" fmla="*/ 9610 h 82246"/>
                  <a:gd name="connsiteX8" fmla="*/ 15231 w 54153"/>
                  <a:gd name="connsiteY8" fmla="*/ 13284 h 82246"/>
                  <a:gd name="connsiteX9" fmla="*/ 11282 w 54153"/>
                  <a:gd name="connsiteY9" fmla="*/ 19219 h 82246"/>
                  <a:gd name="connsiteX10" fmla="*/ 9872 w 54153"/>
                  <a:gd name="connsiteY10" fmla="*/ 27416 h 82246"/>
                  <a:gd name="connsiteX11" fmla="*/ 9872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590" y="34764"/>
                    </a:moveTo>
                    <a:cubicBezTo>
                      <a:pt x="9590" y="40134"/>
                      <a:pt x="11282" y="44091"/>
                      <a:pt x="14949" y="46917"/>
                    </a:cubicBezTo>
                    <a:cubicBezTo>
                      <a:pt x="18615" y="49744"/>
                      <a:pt x="22846" y="51439"/>
                      <a:pt x="27641" y="51439"/>
                    </a:cubicBezTo>
                    <a:cubicBezTo>
                      <a:pt x="33000" y="51439"/>
                      <a:pt x="36949" y="49461"/>
                      <a:pt x="40051" y="45504"/>
                    </a:cubicBezTo>
                    <a:cubicBezTo>
                      <a:pt x="43154" y="41547"/>
                      <a:pt x="44564" y="36460"/>
                      <a:pt x="44564" y="29677"/>
                    </a:cubicBezTo>
                    <a:cubicBezTo>
                      <a:pt x="44564" y="23459"/>
                      <a:pt x="43154" y="18371"/>
                      <a:pt x="40051" y="14414"/>
                    </a:cubicBezTo>
                    <a:cubicBezTo>
                      <a:pt x="36949" y="10457"/>
                      <a:pt x="32718" y="8479"/>
                      <a:pt x="27359" y="8479"/>
                    </a:cubicBezTo>
                    <a:cubicBezTo>
                      <a:pt x="25103" y="8479"/>
                      <a:pt x="22846" y="8762"/>
                      <a:pt x="20872" y="9610"/>
                    </a:cubicBezTo>
                    <a:cubicBezTo>
                      <a:pt x="18897" y="10457"/>
                      <a:pt x="16923" y="11588"/>
                      <a:pt x="15231" y="13284"/>
                    </a:cubicBezTo>
                    <a:cubicBezTo>
                      <a:pt x="13538" y="14980"/>
                      <a:pt x="12128" y="16958"/>
                      <a:pt x="11282" y="19219"/>
                    </a:cubicBezTo>
                    <a:cubicBezTo>
                      <a:pt x="10154" y="21763"/>
                      <a:pt x="9872" y="24307"/>
                      <a:pt x="9872" y="27416"/>
                    </a:cubicBezTo>
                    <a:lnTo>
                      <a:pt x="9872" y="34764"/>
                    </a:lnTo>
                    <a:close/>
                    <a:moveTo>
                      <a:pt x="0" y="82247"/>
                    </a:moveTo>
                    <a:lnTo>
                      <a:pt x="0" y="1413"/>
                    </a:lnTo>
                    <a:lnTo>
                      <a:pt x="9590" y="1413"/>
                    </a:lnTo>
                    <a:lnTo>
                      <a:pt x="9590" y="9044"/>
                    </a:lnTo>
                    <a:cubicBezTo>
                      <a:pt x="11564" y="5935"/>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sp>
            <p:nvSpPr>
              <p:cNvPr id="50" name="Freeform 49">
                <a:extLst>
                  <a:ext uri="{FF2B5EF4-FFF2-40B4-BE49-F238E27FC236}">
                    <a16:creationId xmlns:a16="http://schemas.microsoft.com/office/drawing/2014/main" id="{A2D3332B-B7D8-9C48-9592-EC48FF7DA69E}"/>
                  </a:ext>
                </a:extLst>
              </p:cNvPr>
              <p:cNvSpPr/>
              <p:nvPr/>
            </p:nvSpPr>
            <p:spPr>
              <a:xfrm>
                <a:off x="1397747" y="5934253"/>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487" y="49461"/>
                      <a:pt x="22000"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481"/>
                      <a:pt x="0" y="29959"/>
                    </a:cubicBezTo>
                    <a:cubicBezTo>
                      <a:pt x="0" y="20350"/>
                      <a:pt x="2538" y="13001"/>
                      <a:pt x="7615" y="7914"/>
                    </a:cubicBezTo>
                    <a:cubicBezTo>
                      <a:pt x="12692" y="2826"/>
                      <a:pt x="19180" y="0"/>
                      <a:pt x="27359" y="0"/>
                    </a:cubicBezTo>
                    <a:cubicBezTo>
                      <a:pt x="35256" y="0"/>
                      <a:pt x="41744" y="2544"/>
                      <a:pt x="46539" y="7914"/>
                    </a:cubicBezTo>
                    <a:cubicBezTo>
                      <a:pt x="51333" y="13001"/>
                      <a:pt x="53872" y="20350"/>
                      <a:pt x="53872" y="29959"/>
                    </a:cubicBezTo>
                    <a:cubicBezTo>
                      <a:pt x="53872" y="39286"/>
                      <a:pt x="51333" y="46635"/>
                      <a:pt x="46539" y="52005"/>
                    </a:cubicBezTo>
                    <a:cubicBezTo>
                      <a:pt x="41744" y="57092"/>
                      <a:pt x="35256" y="59919"/>
                      <a:pt x="27359" y="59919"/>
                    </a:cubicBezTo>
                  </a:path>
                </a:pathLst>
              </a:custGeom>
              <a:solidFill>
                <a:srgbClr val="7F8183"/>
              </a:solidFill>
              <a:ln w="2790" cap="flat">
                <a:noFill/>
                <a:prstDash val="solid"/>
                <a:miter/>
              </a:ln>
            </p:spPr>
            <p:txBody>
              <a:bodyPr rtlCol="0" anchor="ctr"/>
              <a:lstStyle/>
              <a:p>
                <a:endParaRPr lang="x-none" sz="1905"/>
              </a:p>
            </p:txBody>
          </p:sp>
          <p:sp>
            <p:nvSpPr>
              <p:cNvPr id="51" name="Freeform 50">
                <a:extLst>
                  <a:ext uri="{FF2B5EF4-FFF2-40B4-BE49-F238E27FC236}">
                    <a16:creationId xmlns:a16="http://schemas.microsoft.com/office/drawing/2014/main" id="{210E65D4-A347-5048-AABF-494A7E316FDF}"/>
                  </a:ext>
                </a:extLst>
              </p:cNvPr>
              <p:cNvSpPr/>
              <p:nvPr/>
            </p:nvSpPr>
            <p:spPr>
              <a:xfrm>
                <a:off x="1456696" y="5935383"/>
                <a:ext cx="63461" cy="73767"/>
              </a:xfrm>
              <a:custGeom>
                <a:avLst/>
                <a:gdLst>
                  <a:gd name="connsiteX0" fmla="*/ 22282 w 63461"/>
                  <a:gd name="connsiteY0" fmla="*/ 33068 h 73767"/>
                  <a:gd name="connsiteX1" fmla="*/ 20308 w 63461"/>
                  <a:gd name="connsiteY1" fmla="*/ 41830 h 73767"/>
                  <a:gd name="connsiteX2" fmla="*/ 16923 w 63461"/>
                  <a:gd name="connsiteY2" fmla="*/ 48331 h 73767"/>
                  <a:gd name="connsiteX3" fmla="*/ 44846 w 63461"/>
                  <a:gd name="connsiteY3" fmla="*/ 48331 h 73767"/>
                  <a:gd name="connsiteX4" fmla="*/ 44846 w 63461"/>
                  <a:gd name="connsiteY4" fmla="*/ 8762 h 73767"/>
                  <a:gd name="connsiteX5" fmla="*/ 23128 w 63461"/>
                  <a:gd name="connsiteY5" fmla="*/ 8762 h 73767"/>
                  <a:gd name="connsiteX6" fmla="*/ 23128 w 63461"/>
                  <a:gd name="connsiteY6" fmla="*/ 23176 h 73767"/>
                  <a:gd name="connsiteX7" fmla="*/ 22282 w 63461"/>
                  <a:gd name="connsiteY7" fmla="*/ 33068 h 73767"/>
                  <a:gd name="connsiteX8" fmla="*/ 0 w 63461"/>
                  <a:gd name="connsiteY8" fmla="*/ 48613 h 73767"/>
                  <a:gd name="connsiteX9" fmla="*/ 5923 w 63461"/>
                  <a:gd name="connsiteY9" fmla="*/ 48613 h 73767"/>
                  <a:gd name="connsiteX10" fmla="*/ 11000 w 63461"/>
                  <a:gd name="connsiteY10" fmla="*/ 41547 h 73767"/>
                  <a:gd name="connsiteX11" fmla="*/ 13256 w 63461"/>
                  <a:gd name="connsiteY11" fmla="*/ 31938 h 73767"/>
                  <a:gd name="connsiteX12" fmla="*/ 13538 w 63461"/>
                  <a:gd name="connsiteY12" fmla="*/ 27416 h 73767"/>
                  <a:gd name="connsiteX13" fmla="*/ 13821 w 63461"/>
                  <a:gd name="connsiteY13" fmla="*/ 21198 h 73767"/>
                  <a:gd name="connsiteX14" fmla="*/ 13821 w 63461"/>
                  <a:gd name="connsiteY14" fmla="*/ 12436 h 73767"/>
                  <a:gd name="connsiteX15" fmla="*/ 13821 w 63461"/>
                  <a:gd name="connsiteY15" fmla="*/ 0 h 73767"/>
                  <a:gd name="connsiteX16" fmla="*/ 54154 w 63461"/>
                  <a:gd name="connsiteY16" fmla="*/ 0 h 73767"/>
                  <a:gd name="connsiteX17" fmla="*/ 54154 w 63461"/>
                  <a:gd name="connsiteY17" fmla="*/ 48613 h 73767"/>
                  <a:gd name="connsiteX18" fmla="*/ 63462 w 63461"/>
                  <a:gd name="connsiteY18" fmla="*/ 48613 h 73767"/>
                  <a:gd name="connsiteX19" fmla="*/ 63462 w 63461"/>
                  <a:gd name="connsiteY19" fmla="*/ 73768 h 73767"/>
                  <a:gd name="connsiteX20" fmla="*/ 54154 w 63461"/>
                  <a:gd name="connsiteY20" fmla="*/ 73768 h 73767"/>
                  <a:gd name="connsiteX21" fmla="*/ 54154 w 63461"/>
                  <a:gd name="connsiteY21" fmla="*/ 57657 h 73767"/>
                  <a:gd name="connsiteX22" fmla="*/ 9308 w 63461"/>
                  <a:gd name="connsiteY22" fmla="*/ 57657 h 73767"/>
                  <a:gd name="connsiteX23" fmla="*/ 9308 w 63461"/>
                  <a:gd name="connsiteY23" fmla="*/ 73768 h 73767"/>
                  <a:gd name="connsiteX24" fmla="*/ 0 w 63461"/>
                  <a:gd name="connsiteY24" fmla="*/ 73768 h 73767"/>
                  <a:gd name="connsiteX25" fmla="*/ 0 w 63461"/>
                  <a:gd name="connsiteY25" fmla="*/ 48613 h 7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3461" h="73767">
                    <a:moveTo>
                      <a:pt x="22282" y="33068"/>
                    </a:moveTo>
                    <a:cubicBezTo>
                      <a:pt x="22000" y="36460"/>
                      <a:pt x="21154" y="39286"/>
                      <a:pt x="20308" y="41830"/>
                    </a:cubicBezTo>
                    <a:cubicBezTo>
                      <a:pt x="19180" y="44374"/>
                      <a:pt x="18051" y="46635"/>
                      <a:pt x="16923" y="48331"/>
                    </a:cubicBezTo>
                    <a:lnTo>
                      <a:pt x="44846" y="48331"/>
                    </a:lnTo>
                    <a:lnTo>
                      <a:pt x="44846" y="8762"/>
                    </a:lnTo>
                    <a:lnTo>
                      <a:pt x="23128" y="8762"/>
                    </a:lnTo>
                    <a:cubicBezTo>
                      <a:pt x="23128" y="14414"/>
                      <a:pt x="23128" y="19219"/>
                      <a:pt x="23128" y="23176"/>
                    </a:cubicBezTo>
                    <a:cubicBezTo>
                      <a:pt x="22564" y="27698"/>
                      <a:pt x="22564" y="30807"/>
                      <a:pt x="22282" y="33068"/>
                    </a:cubicBezTo>
                    <a:moveTo>
                      <a:pt x="0" y="48613"/>
                    </a:moveTo>
                    <a:lnTo>
                      <a:pt x="5923" y="48613"/>
                    </a:lnTo>
                    <a:cubicBezTo>
                      <a:pt x="7897" y="46917"/>
                      <a:pt x="9590" y="44656"/>
                      <a:pt x="11000" y="41547"/>
                    </a:cubicBezTo>
                    <a:cubicBezTo>
                      <a:pt x="12410" y="38438"/>
                      <a:pt x="13256" y="35329"/>
                      <a:pt x="13256" y="31938"/>
                    </a:cubicBezTo>
                    <a:cubicBezTo>
                      <a:pt x="13256" y="30525"/>
                      <a:pt x="13538" y="29111"/>
                      <a:pt x="13538" y="27416"/>
                    </a:cubicBezTo>
                    <a:cubicBezTo>
                      <a:pt x="13538" y="25720"/>
                      <a:pt x="13538" y="23741"/>
                      <a:pt x="13821" y="21198"/>
                    </a:cubicBezTo>
                    <a:cubicBezTo>
                      <a:pt x="13821" y="18654"/>
                      <a:pt x="13821" y="15828"/>
                      <a:pt x="13821" y="12436"/>
                    </a:cubicBezTo>
                    <a:cubicBezTo>
                      <a:pt x="13821" y="9044"/>
                      <a:pt x="13821" y="4805"/>
                      <a:pt x="13821" y="0"/>
                    </a:cubicBezTo>
                    <a:lnTo>
                      <a:pt x="54154" y="0"/>
                    </a:lnTo>
                    <a:lnTo>
                      <a:pt x="54154" y="48613"/>
                    </a:lnTo>
                    <a:lnTo>
                      <a:pt x="63462" y="48613"/>
                    </a:lnTo>
                    <a:lnTo>
                      <a:pt x="63462" y="73768"/>
                    </a:lnTo>
                    <a:lnTo>
                      <a:pt x="54154" y="73768"/>
                    </a:lnTo>
                    <a:lnTo>
                      <a:pt x="54154" y="57657"/>
                    </a:lnTo>
                    <a:lnTo>
                      <a:pt x="9308" y="57657"/>
                    </a:lnTo>
                    <a:lnTo>
                      <a:pt x="9308" y="73768"/>
                    </a:lnTo>
                    <a:lnTo>
                      <a:pt x="0" y="73768"/>
                    </a:lnTo>
                    <a:lnTo>
                      <a:pt x="0" y="48613"/>
                    </a:lnTo>
                    <a:close/>
                  </a:path>
                </a:pathLst>
              </a:custGeom>
              <a:solidFill>
                <a:srgbClr val="7F8183"/>
              </a:solidFill>
              <a:ln w="2790" cap="flat">
                <a:noFill/>
                <a:prstDash val="solid"/>
                <a:miter/>
              </a:ln>
            </p:spPr>
            <p:txBody>
              <a:bodyPr rtlCol="0" anchor="ctr"/>
              <a:lstStyle/>
              <a:p>
                <a:endParaRPr lang="x-none" sz="1905"/>
              </a:p>
            </p:txBody>
          </p:sp>
          <p:sp>
            <p:nvSpPr>
              <p:cNvPr id="52" name="Freeform 51">
                <a:extLst>
                  <a:ext uri="{FF2B5EF4-FFF2-40B4-BE49-F238E27FC236}">
                    <a16:creationId xmlns:a16="http://schemas.microsoft.com/office/drawing/2014/main" id="{85F68474-1C77-FC4A-A55B-D80FB770F4C3}"/>
                  </a:ext>
                </a:extLst>
              </p:cNvPr>
              <p:cNvSpPr/>
              <p:nvPr/>
            </p:nvSpPr>
            <p:spPr>
              <a:xfrm>
                <a:off x="1522978" y="5935383"/>
                <a:ext cx="55564" cy="80833"/>
              </a:xfrm>
              <a:custGeom>
                <a:avLst/>
                <a:gdLst>
                  <a:gd name="connsiteX0" fmla="*/ 29615 w 55564"/>
                  <a:gd name="connsiteY0" fmla="*/ 66419 h 80833"/>
                  <a:gd name="connsiteX1" fmla="*/ 22000 w 55564"/>
                  <a:gd name="connsiteY1" fmla="*/ 77724 h 80833"/>
                  <a:gd name="connsiteX2" fmla="*/ 11282 w 55564"/>
                  <a:gd name="connsiteY2" fmla="*/ 80833 h 80833"/>
                  <a:gd name="connsiteX3" fmla="*/ 5923 w 55564"/>
                  <a:gd name="connsiteY3" fmla="*/ 80833 h 80833"/>
                  <a:gd name="connsiteX4" fmla="*/ 5923 w 55564"/>
                  <a:gd name="connsiteY4" fmla="*/ 71789 h 80833"/>
                  <a:gd name="connsiteX5" fmla="*/ 9590 w 55564"/>
                  <a:gd name="connsiteY5" fmla="*/ 71789 h 80833"/>
                  <a:gd name="connsiteX6" fmla="*/ 16641 w 55564"/>
                  <a:gd name="connsiteY6" fmla="*/ 70093 h 80833"/>
                  <a:gd name="connsiteX7" fmla="*/ 21436 w 55564"/>
                  <a:gd name="connsiteY7" fmla="*/ 63310 h 80833"/>
                  <a:gd name="connsiteX8" fmla="*/ 23974 w 55564"/>
                  <a:gd name="connsiteY8" fmla="*/ 57092 h 80833"/>
                  <a:gd name="connsiteX9" fmla="*/ 0 w 55564"/>
                  <a:gd name="connsiteY9" fmla="*/ 0 h 80833"/>
                  <a:gd name="connsiteX10" fmla="*/ 10436 w 55564"/>
                  <a:gd name="connsiteY10" fmla="*/ 0 h 80833"/>
                  <a:gd name="connsiteX11" fmla="*/ 29051 w 55564"/>
                  <a:gd name="connsiteY11" fmla="*/ 45504 h 80833"/>
                  <a:gd name="connsiteX12" fmla="*/ 45692 w 55564"/>
                  <a:gd name="connsiteY12" fmla="*/ 0 h 80833"/>
                  <a:gd name="connsiteX13" fmla="*/ 55564 w 55564"/>
                  <a:gd name="connsiteY13" fmla="*/ 0 h 80833"/>
                  <a:gd name="connsiteX14" fmla="*/ 29615 w 55564"/>
                  <a:gd name="connsiteY14" fmla="*/ 66419 h 8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564" h="80833">
                    <a:moveTo>
                      <a:pt x="29615" y="66419"/>
                    </a:moveTo>
                    <a:cubicBezTo>
                      <a:pt x="27359" y="71789"/>
                      <a:pt x="25103" y="75746"/>
                      <a:pt x="22000" y="77724"/>
                    </a:cubicBezTo>
                    <a:cubicBezTo>
                      <a:pt x="19180" y="79986"/>
                      <a:pt x="15513" y="80833"/>
                      <a:pt x="11282" y="80833"/>
                    </a:cubicBezTo>
                    <a:lnTo>
                      <a:pt x="5923" y="80833"/>
                    </a:lnTo>
                    <a:lnTo>
                      <a:pt x="5923" y="71789"/>
                    </a:lnTo>
                    <a:lnTo>
                      <a:pt x="9590" y="71789"/>
                    </a:lnTo>
                    <a:cubicBezTo>
                      <a:pt x="12410" y="71789"/>
                      <a:pt x="14667" y="71224"/>
                      <a:pt x="16641" y="70093"/>
                    </a:cubicBezTo>
                    <a:cubicBezTo>
                      <a:pt x="18615" y="68963"/>
                      <a:pt x="20308" y="66702"/>
                      <a:pt x="21436" y="63310"/>
                    </a:cubicBezTo>
                    <a:lnTo>
                      <a:pt x="23974" y="57092"/>
                    </a:lnTo>
                    <a:lnTo>
                      <a:pt x="0" y="0"/>
                    </a:lnTo>
                    <a:lnTo>
                      <a:pt x="10436" y="0"/>
                    </a:lnTo>
                    <a:lnTo>
                      <a:pt x="29051" y="45504"/>
                    </a:lnTo>
                    <a:lnTo>
                      <a:pt x="45692" y="0"/>
                    </a:lnTo>
                    <a:lnTo>
                      <a:pt x="55564" y="0"/>
                    </a:lnTo>
                    <a:lnTo>
                      <a:pt x="29615" y="66419"/>
                    </a:lnTo>
                    <a:close/>
                  </a:path>
                </a:pathLst>
              </a:custGeom>
              <a:solidFill>
                <a:srgbClr val="7F8183"/>
              </a:solidFill>
              <a:ln w="2790" cap="flat">
                <a:noFill/>
                <a:prstDash val="solid"/>
                <a:miter/>
              </a:ln>
            </p:spPr>
            <p:txBody>
              <a:bodyPr rtlCol="0" anchor="ctr"/>
              <a:lstStyle/>
              <a:p>
                <a:endParaRPr lang="x-none" sz="1905"/>
              </a:p>
            </p:txBody>
          </p:sp>
        </p:grpSp>
        <p:sp>
          <p:nvSpPr>
            <p:cNvPr id="34" name="Freeform 33">
              <a:extLst>
                <a:ext uri="{FF2B5EF4-FFF2-40B4-BE49-F238E27FC236}">
                  <a16:creationId xmlns:a16="http://schemas.microsoft.com/office/drawing/2014/main" id="{A397C7BE-F388-7D4A-9EC7-D85F3562CAB6}"/>
                </a:ext>
              </a:extLst>
            </p:cNvPr>
            <p:cNvSpPr/>
            <p:nvPr/>
          </p:nvSpPr>
          <p:spPr>
            <a:xfrm>
              <a:off x="1588414" y="5935383"/>
              <a:ext cx="66282" cy="57374"/>
            </a:xfrm>
            <a:custGeom>
              <a:avLst/>
              <a:gdLst>
                <a:gd name="connsiteX0" fmla="*/ 0 w 66282"/>
                <a:gd name="connsiteY0" fmla="*/ 57375 h 57374"/>
                <a:gd name="connsiteX1" fmla="*/ 0 w 66282"/>
                <a:gd name="connsiteY1" fmla="*/ 0 h 57374"/>
                <a:gd name="connsiteX2" fmla="*/ 14103 w 66282"/>
                <a:gd name="connsiteY2" fmla="*/ 0 h 57374"/>
                <a:gd name="connsiteX3" fmla="*/ 33282 w 66282"/>
                <a:gd name="connsiteY3" fmla="*/ 48048 h 57374"/>
                <a:gd name="connsiteX4" fmla="*/ 52744 w 66282"/>
                <a:gd name="connsiteY4" fmla="*/ 0 h 57374"/>
                <a:gd name="connsiteX5" fmla="*/ 66282 w 66282"/>
                <a:gd name="connsiteY5" fmla="*/ 0 h 57374"/>
                <a:gd name="connsiteX6" fmla="*/ 66282 w 66282"/>
                <a:gd name="connsiteY6" fmla="*/ 57375 h 57374"/>
                <a:gd name="connsiteX7" fmla="*/ 56974 w 66282"/>
                <a:gd name="connsiteY7" fmla="*/ 57375 h 57374"/>
                <a:gd name="connsiteX8" fmla="*/ 56974 w 66282"/>
                <a:gd name="connsiteY8" fmla="*/ 10457 h 57374"/>
                <a:gd name="connsiteX9" fmla="*/ 37795 w 66282"/>
                <a:gd name="connsiteY9" fmla="*/ 57375 h 57374"/>
                <a:gd name="connsiteX10" fmla="*/ 27923 w 66282"/>
                <a:gd name="connsiteY10" fmla="*/ 57375 h 57374"/>
                <a:gd name="connsiteX11" fmla="*/ 8744 w 66282"/>
                <a:gd name="connsiteY11" fmla="*/ 10457 h 57374"/>
                <a:gd name="connsiteX12" fmla="*/ 8744 w 66282"/>
                <a:gd name="connsiteY12"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282" h="57374">
                  <a:moveTo>
                    <a:pt x="0" y="57375"/>
                  </a:moveTo>
                  <a:lnTo>
                    <a:pt x="0" y="0"/>
                  </a:lnTo>
                  <a:lnTo>
                    <a:pt x="14103" y="0"/>
                  </a:lnTo>
                  <a:lnTo>
                    <a:pt x="33282" y="48048"/>
                  </a:lnTo>
                  <a:lnTo>
                    <a:pt x="52744" y="0"/>
                  </a:lnTo>
                  <a:lnTo>
                    <a:pt x="66282" y="0"/>
                  </a:lnTo>
                  <a:lnTo>
                    <a:pt x="66282" y="57375"/>
                  </a:lnTo>
                  <a:lnTo>
                    <a:pt x="56974" y="57375"/>
                  </a:lnTo>
                  <a:lnTo>
                    <a:pt x="56974" y="10457"/>
                  </a:lnTo>
                  <a:lnTo>
                    <a:pt x="37795" y="57375"/>
                  </a:lnTo>
                  <a:lnTo>
                    <a:pt x="27923" y="57375"/>
                  </a:lnTo>
                  <a:lnTo>
                    <a:pt x="8744" y="10457"/>
                  </a:lnTo>
                  <a:lnTo>
                    <a:pt x="8744" y="57375"/>
                  </a:lnTo>
                  <a:close/>
                </a:path>
              </a:pathLst>
            </a:custGeom>
            <a:solidFill>
              <a:srgbClr val="7F8183"/>
            </a:solidFill>
            <a:ln w="2790" cap="flat">
              <a:noFill/>
              <a:prstDash val="solid"/>
              <a:miter/>
            </a:ln>
          </p:spPr>
          <p:txBody>
            <a:bodyPr rtlCol="0" anchor="ctr"/>
            <a:lstStyle/>
            <a:p>
              <a:endParaRPr lang="x-none" sz="1905"/>
            </a:p>
          </p:txBody>
        </p:sp>
        <p:sp>
          <p:nvSpPr>
            <p:cNvPr id="35" name="Freeform 34">
              <a:extLst>
                <a:ext uri="{FF2B5EF4-FFF2-40B4-BE49-F238E27FC236}">
                  <a16:creationId xmlns:a16="http://schemas.microsoft.com/office/drawing/2014/main" id="{C5DAA932-1209-AA4C-BCA7-A81CC2B627CA}"/>
                </a:ext>
              </a:extLst>
            </p:cNvPr>
            <p:cNvSpPr/>
            <p:nvPr/>
          </p:nvSpPr>
          <p:spPr>
            <a:xfrm>
              <a:off x="1669926" y="5934253"/>
              <a:ext cx="46820" cy="59635"/>
            </a:xfrm>
            <a:custGeom>
              <a:avLst/>
              <a:gdLst>
                <a:gd name="connsiteX0" fmla="*/ 37513 w 46820"/>
                <a:gd name="connsiteY0" fmla="*/ 33068 h 59635"/>
                <a:gd name="connsiteX1" fmla="*/ 29897 w 46820"/>
                <a:gd name="connsiteY1" fmla="*/ 33068 h 59635"/>
                <a:gd name="connsiteX2" fmla="*/ 21718 w 46820"/>
                <a:gd name="connsiteY2" fmla="*/ 33068 h 59635"/>
                <a:gd name="connsiteX3" fmla="*/ 12692 w 46820"/>
                <a:gd name="connsiteY3" fmla="*/ 35612 h 59635"/>
                <a:gd name="connsiteX4" fmla="*/ 9590 w 46820"/>
                <a:gd name="connsiteY4" fmla="*/ 42395 h 59635"/>
                <a:gd name="connsiteX5" fmla="*/ 12410 w 46820"/>
                <a:gd name="connsiteY5" fmla="*/ 48896 h 59635"/>
                <a:gd name="connsiteX6" fmla="*/ 20308 w 46820"/>
                <a:gd name="connsiteY6" fmla="*/ 51439 h 59635"/>
                <a:gd name="connsiteX7" fmla="*/ 32436 w 46820"/>
                <a:gd name="connsiteY7" fmla="*/ 47765 h 59635"/>
                <a:gd name="connsiteX8" fmla="*/ 37513 w 46820"/>
                <a:gd name="connsiteY8" fmla="*/ 38438 h 59635"/>
                <a:gd name="connsiteX9" fmla="*/ 37513 w 46820"/>
                <a:gd name="connsiteY9" fmla="*/ 33068 h 59635"/>
                <a:gd name="connsiteX10" fmla="*/ 38077 w 46820"/>
                <a:gd name="connsiteY10" fmla="*/ 58505 h 59635"/>
                <a:gd name="connsiteX11" fmla="*/ 38077 w 46820"/>
                <a:gd name="connsiteY11" fmla="*/ 51722 h 59635"/>
                <a:gd name="connsiteX12" fmla="*/ 30744 w 46820"/>
                <a:gd name="connsiteY12" fmla="*/ 57375 h 59635"/>
                <a:gd name="connsiteX13" fmla="*/ 20026 w 46820"/>
                <a:gd name="connsiteY13" fmla="*/ 59636 h 59635"/>
                <a:gd name="connsiteX14" fmla="*/ 5359 w 46820"/>
                <a:gd name="connsiteY14" fmla="*/ 55114 h 59635"/>
                <a:gd name="connsiteX15" fmla="*/ 0 w 46820"/>
                <a:gd name="connsiteY15" fmla="*/ 42678 h 59635"/>
                <a:gd name="connsiteX16" fmla="*/ 5923 w 46820"/>
                <a:gd name="connsiteY16" fmla="*/ 29677 h 59635"/>
                <a:gd name="connsiteX17" fmla="*/ 21718 w 46820"/>
                <a:gd name="connsiteY17" fmla="*/ 25437 h 59635"/>
                <a:gd name="connsiteX18" fmla="*/ 29897 w 46820"/>
                <a:gd name="connsiteY18" fmla="*/ 25437 h 59635"/>
                <a:gd name="connsiteX19" fmla="*/ 37513 w 46820"/>
                <a:gd name="connsiteY19" fmla="*/ 25720 h 59635"/>
                <a:gd name="connsiteX20" fmla="*/ 37513 w 46820"/>
                <a:gd name="connsiteY20" fmla="*/ 20632 h 59635"/>
                <a:gd name="connsiteX21" fmla="*/ 33846 w 46820"/>
                <a:gd name="connsiteY21" fmla="*/ 11588 h 59635"/>
                <a:gd name="connsiteX22" fmla="*/ 24821 w 46820"/>
                <a:gd name="connsiteY22" fmla="*/ 8762 h 59635"/>
                <a:gd name="connsiteX23" fmla="*/ 15513 w 46820"/>
                <a:gd name="connsiteY23" fmla="*/ 11871 h 59635"/>
                <a:gd name="connsiteX24" fmla="*/ 11000 w 46820"/>
                <a:gd name="connsiteY24" fmla="*/ 19219 h 59635"/>
                <a:gd name="connsiteX25" fmla="*/ 1974 w 46820"/>
                <a:gd name="connsiteY25" fmla="*/ 17241 h 59635"/>
                <a:gd name="connsiteX26" fmla="*/ 9590 w 46820"/>
                <a:gd name="connsiteY26" fmla="*/ 4805 h 59635"/>
                <a:gd name="connsiteX27" fmla="*/ 24821 w 46820"/>
                <a:gd name="connsiteY27" fmla="*/ 0 h 59635"/>
                <a:gd name="connsiteX28" fmla="*/ 40615 w 46820"/>
                <a:gd name="connsiteY28" fmla="*/ 4805 h 59635"/>
                <a:gd name="connsiteX29" fmla="*/ 46821 w 46820"/>
                <a:gd name="connsiteY29" fmla="*/ 20067 h 59635"/>
                <a:gd name="connsiteX30" fmla="*/ 46821 w 46820"/>
                <a:gd name="connsiteY30" fmla="*/ 58505 h 59635"/>
                <a:gd name="connsiteX31" fmla="*/ 38077 w 46820"/>
                <a:gd name="connsiteY31" fmla="*/ 58505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820" h="59635">
                  <a:moveTo>
                    <a:pt x="37513" y="33068"/>
                  </a:moveTo>
                  <a:cubicBezTo>
                    <a:pt x="35256" y="33068"/>
                    <a:pt x="32718" y="33068"/>
                    <a:pt x="29897" y="33068"/>
                  </a:cubicBezTo>
                  <a:cubicBezTo>
                    <a:pt x="27359" y="33068"/>
                    <a:pt x="24538" y="33068"/>
                    <a:pt x="21718" y="33068"/>
                  </a:cubicBezTo>
                  <a:cubicBezTo>
                    <a:pt x="17769" y="33351"/>
                    <a:pt x="14667" y="34199"/>
                    <a:pt x="12692" y="35612"/>
                  </a:cubicBezTo>
                  <a:cubicBezTo>
                    <a:pt x="10718" y="37308"/>
                    <a:pt x="9590" y="39569"/>
                    <a:pt x="9590" y="42395"/>
                  </a:cubicBezTo>
                  <a:cubicBezTo>
                    <a:pt x="9590" y="45222"/>
                    <a:pt x="10436" y="47200"/>
                    <a:pt x="12410" y="48896"/>
                  </a:cubicBezTo>
                  <a:cubicBezTo>
                    <a:pt x="14385" y="50592"/>
                    <a:pt x="16923" y="51439"/>
                    <a:pt x="20308" y="51439"/>
                  </a:cubicBezTo>
                  <a:cubicBezTo>
                    <a:pt x="25103" y="51439"/>
                    <a:pt x="29051" y="50309"/>
                    <a:pt x="32436" y="47765"/>
                  </a:cubicBezTo>
                  <a:cubicBezTo>
                    <a:pt x="35821" y="45504"/>
                    <a:pt x="37513" y="42395"/>
                    <a:pt x="37513" y="38438"/>
                  </a:cubicBezTo>
                  <a:lnTo>
                    <a:pt x="37513" y="33068"/>
                  </a:lnTo>
                  <a:close/>
                  <a:moveTo>
                    <a:pt x="38077" y="58505"/>
                  </a:moveTo>
                  <a:lnTo>
                    <a:pt x="38077" y="51722"/>
                  </a:lnTo>
                  <a:cubicBezTo>
                    <a:pt x="36385" y="53983"/>
                    <a:pt x="33846" y="55962"/>
                    <a:pt x="30744" y="57375"/>
                  </a:cubicBezTo>
                  <a:cubicBezTo>
                    <a:pt x="27641" y="58788"/>
                    <a:pt x="24256" y="59636"/>
                    <a:pt x="20026" y="59636"/>
                  </a:cubicBezTo>
                  <a:cubicBezTo>
                    <a:pt x="13821" y="59636"/>
                    <a:pt x="9026" y="58223"/>
                    <a:pt x="5359" y="55114"/>
                  </a:cubicBezTo>
                  <a:cubicBezTo>
                    <a:pt x="1692" y="52005"/>
                    <a:pt x="0" y="47765"/>
                    <a:pt x="0" y="42678"/>
                  </a:cubicBezTo>
                  <a:cubicBezTo>
                    <a:pt x="0" y="36742"/>
                    <a:pt x="1974" y="32503"/>
                    <a:pt x="5923" y="29677"/>
                  </a:cubicBezTo>
                  <a:cubicBezTo>
                    <a:pt x="9872" y="27133"/>
                    <a:pt x="14949" y="25437"/>
                    <a:pt x="21718" y="25437"/>
                  </a:cubicBezTo>
                  <a:cubicBezTo>
                    <a:pt x="24538" y="25437"/>
                    <a:pt x="27359" y="25437"/>
                    <a:pt x="29897" y="25437"/>
                  </a:cubicBezTo>
                  <a:cubicBezTo>
                    <a:pt x="32436" y="25437"/>
                    <a:pt x="34974" y="25437"/>
                    <a:pt x="37513" y="25720"/>
                  </a:cubicBezTo>
                  <a:lnTo>
                    <a:pt x="37513" y="20632"/>
                  </a:lnTo>
                  <a:cubicBezTo>
                    <a:pt x="37513" y="16393"/>
                    <a:pt x="36385" y="13284"/>
                    <a:pt x="33846" y="11588"/>
                  </a:cubicBezTo>
                  <a:cubicBezTo>
                    <a:pt x="31590" y="9610"/>
                    <a:pt x="28487" y="8762"/>
                    <a:pt x="24821" y="8762"/>
                  </a:cubicBezTo>
                  <a:cubicBezTo>
                    <a:pt x="20872" y="8762"/>
                    <a:pt x="17769" y="9892"/>
                    <a:pt x="15513" y="11871"/>
                  </a:cubicBezTo>
                  <a:cubicBezTo>
                    <a:pt x="13538" y="13849"/>
                    <a:pt x="11846" y="16393"/>
                    <a:pt x="11000" y="19219"/>
                  </a:cubicBezTo>
                  <a:lnTo>
                    <a:pt x="1974" y="17241"/>
                  </a:lnTo>
                  <a:cubicBezTo>
                    <a:pt x="3103" y="12153"/>
                    <a:pt x="5641" y="8196"/>
                    <a:pt x="9590" y="4805"/>
                  </a:cubicBezTo>
                  <a:cubicBezTo>
                    <a:pt x="13538" y="1696"/>
                    <a:pt x="18615" y="0"/>
                    <a:pt x="24821" y="0"/>
                  </a:cubicBezTo>
                  <a:cubicBezTo>
                    <a:pt x="31308" y="0"/>
                    <a:pt x="36667" y="1696"/>
                    <a:pt x="40615" y="4805"/>
                  </a:cubicBezTo>
                  <a:cubicBezTo>
                    <a:pt x="44846" y="8196"/>
                    <a:pt x="46821" y="13284"/>
                    <a:pt x="46821" y="20067"/>
                  </a:cubicBezTo>
                  <a:lnTo>
                    <a:pt x="46821" y="58505"/>
                  </a:lnTo>
                  <a:lnTo>
                    <a:pt x="38077" y="58505"/>
                  </a:lnTo>
                  <a:close/>
                </a:path>
              </a:pathLst>
            </a:custGeom>
            <a:solidFill>
              <a:srgbClr val="7F8183"/>
            </a:solidFill>
            <a:ln w="2790" cap="flat">
              <a:noFill/>
              <a:prstDash val="solid"/>
              <a:miter/>
            </a:ln>
          </p:spPr>
          <p:txBody>
            <a:bodyPr rtlCol="0" anchor="ctr"/>
            <a:lstStyle/>
            <a:p>
              <a:endParaRPr lang="x-none" sz="1905"/>
            </a:p>
          </p:txBody>
        </p:sp>
        <p:sp>
          <p:nvSpPr>
            <p:cNvPr id="36" name="Freeform 35">
              <a:extLst>
                <a:ext uri="{FF2B5EF4-FFF2-40B4-BE49-F238E27FC236}">
                  <a16:creationId xmlns:a16="http://schemas.microsoft.com/office/drawing/2014/main" id="{33B05C48-04C5-AB40-8AA6-D709FA4E3EBE}"/>
                </a:ext>
              </a:extLst>
            </p:cNvPr>
            <p:cNvSpPr/>
            <p:nvPr/>
          </p:nvSpPr>
          <p:spPr>
            <a:xfrm>
              <a:off x="1734234" y="5935383"/>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37" name="Freeform 36">
              <a:extLst>
                <a:ext uri="{FF2B5EF4-FFF2-40B4-BE49-F238E27FC236}">
                  <a16:creationId xmlns:a16="http://schemas.microsoft.com/office/drawing/2014/main" id="{9F6D605A-1F55-E447-831C-1BDAD4AA188C}"/>
                </a:ext>
              </a:extLst>
            </p:cNvPr>
            <p:cNvSpPr/>
            <p:nvPr/>
          </p:nvSpPr>
          <p:spPr>
            <a:xfrm>
              <a:off x="1801362" y="5935383"/>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38" name="Freeform 37">
              <a:extLst>
                <a:ext uri="{FF2B5EF4-FFF2-40B4-BE49-F238E27FC236}">
                  <a16:creationId xmlns:a16="http://schemas.microsoft.com/office/drawing/2014/main" id="{91FC9B31-E37F-BE4B-A0BF-EE73657BE81F}"/>
                </a:ext>
              </a:extLst>
            </p:cNvPr>
            <p:cNvSpPr/>
            <p:nvPr/>
          </p:nvSpPr>
          <p:spPr>
            <a:xfrm>
              <a:off x="1868491" y="5935383"/>
              <a:ext cx="62333" cy="57374"/>
            </a:xfrm>
            <a:custGeom>
              <a:avLst/>
              <a:gdLst>
                <a:gd name="connsiteX0" fmla="*/ 52744 w 62333"/>
                <a:gd name="connsiteY0" fmla="*/ 0 h 57374"/>
                <a:gd name="connsiteX1" fmla="*/ 62333 w 62333"/>
                <a:gd name="connsiteY1" fmla="*/ 0 h 57374"/>
                <a:gd name="connsiteX2" fmla="*/ 62333 w 62333"/>
                <a:gd name="connsiteY2" fmla="*/ 57375 h 57374"/>
                <a:gd name="connsiteX3" fmla="*/ 52744 w 62333"/>
                <a:gd name="connsiteY3" fmla="*/ 57375 h 57374"/>
                <a:gd name="connsiteX4" fmla="*/ 52744 w 62333"/>
                <a:gd name="connsiteY4" fmla="*/ 0 h 57374"/>
                <a:gd name="connsiteX5" fmla="*/ 24256 w 62333"/>
                <a:gd name="connsiteY5" fmla="*/ 28546 h 57374"/>
                <a:gd name="connsiteX6" fmla="*/ 9590 w 62333"/>
                <a:gd name="connsiteY6" fmla="*/ 28546 h 57374"/>
                <a:gd name="connsiteX7" fmla="*/ 9590 w 62333"/>
                <a:gd name="connsiteY7" fmla="*/ 48896 h 57374"/>
                <a:gd name="connsiteX8" fmla="*/ 24256 w 62333"/>
                <a:gd name="connsiteY8" fmla="*/ 48896 h 57374"/>
                <a:gd name="connsiteX9" fmla="*/ 33000 w 62333"/>
                <a:gd name="connsiteY9" fmla="*/ 46069 h 57374"/>
                <a:gd name="connsiteX10" fmla="*/ 35256 w 62333"/>
                <a:gd name="connsiteY10" fmla="*/ 38438 h 57374"/>
                <a:gd name="connsiteX11" fmla="*/ 33000 w 62333"/>
                <a:gd name="connsiteY11" fmla="*/ 31090 h 57374"/>
                <a:gd name="connsiteX12" fmla="*/ 24256 w 62333"/>
                <a:gd name="connsiteY12" fmla="*/ 28546 h 57374"/>
                <a:gd name="connsiteX13" fmla="*/ 0 w 62333"/>
                <a:gd name="connsiteY13" fmla="*/ 57375 h 57374"/>
                <a:gd name="connsiteX14" fmla="*/ 0 w 62333"/>
                <a:gd name="connsiteY14" fmla="*/ 0 h 57374"/>
                <a:gd name="connsiteX15" fmla="*/ 9590 w 62333"/>
                <a:gd name="connsiteY15" fmla="*/ 0 h 57374"/>
                <a:gd name="connsiteX16" fmla="*/ 9590 w 62333"/>
                <a:gd name="connsiteY16" fmla="*/ 19784 h 57374"/>
                <a:gd name="connsiteX17" fmla="*/ 24256 w 62333"/>
                <a:gd name="connsiteY17" fmla="*/ 19784 h 57374"/>
                <a:gd name="connsiteX18" fmla="*/ 39205 w 62333"/>
                <a:gd name="connsiteY18" fmla="*/ 24589 h 57374"/>
                <a:gd name="connsiteX19" fmla="*/ 44282 w 62333"/>
                <a:gd name="connsiteY19" fmla="*/ 38156 h 57374"/>
                <a:gd name="connsiteX20" fmla="*/ 39205 w 62333"/>
                <a:gd name="connsiteY20" fmla="*/ 52287 h 57374"/>
                <a:gd name="connsiteX21" fmla="*/ 23974 w 62333"/>
                <a:gd name="connsiteY21" fmla="*/ 57375 h 57374"/>
                <a:gd name="connsiteX22" fmla="*/ 0 w 62333"/>
                <a:gd name="connsiteY22"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333" h="57374">
                  <a:moveTo>
                    <a:pt x="52744" y="0"/>
                  </a:moveTo>
                  <a:lnTo>
                    <a:pt x="62333" y="0"/>
                  </a:lnTo>
                  <a:lnTo>
                    <a:pt x="62333" y="57375"/>
                  </a:lnTo>
                  <a:lnTo>
                    <a:pt x="52744" y="57375"/>
                  </a:lnTo>
                  <a:lnTo>
                    <a:pt x="52744" y="0"/>
                  </a:lnTo>
                  <a:close/>
                  <a:moveTo>
                    <a:pt x="24256" y="28546"/>
                  </a:moveTo>
                  <a:lnTo>
                    <a:pt x="9590" y="28546"/>
                  </a:lnTo>
                  <a:lnTo>
                    <a:pt x="9590" y="48896"/>
                  </a:lnTo>
                  <a:lnTo>
                    <a:pt x="24256" y="48896"/>
                  </a:lnTo>
                  <a:cubicBezTo>
                    <a:pt x="28487" y="48896"/>
                    <a:pt x="31590" y="47765"/>
                    <a:pt x="33000" y="46069"/>
                  </a:cubicBezTo>
                  <a:cubicBezTo>
                    <a:pt x="34692" y="44091"/>
                    <a:pt x="35256" y="41547"/>
                    <a:pt x="35256" y="38438"/>
                  </a:cubicBezTo>
                  <a:cubicBezTo>
                    <a:pt x="35256" y="35329"/>
                    <a:pt x="34410" y="32786"/>
                    <a:pt x="33000" y="31090"/>
                  </a:cubicBezTo>
                  <a:cubicBezTo>
                    <a:pt x="31590" y="29394"/>
                    <a:pt x="28769" y="28546"/>
                    <a:pt x="24256" y="28546"/>
                  </a:cubicBezTo>
                  <a:moveTo>
                    <a:pt x="0" y="57375"/>
                  </a:moveTo>
                  <a:lnTo>
                    <a:pt x="0" y="0"/>
                  </a:lnTo>
                  <a:lnTo>
                    <a:pt x="9590" y="0"/>
                  </a:lnTo>
                  <a:lnTo>
                    <a:pt x="9590" y="19784"/>
                  </a:lnTo>
                  <a:lnTo>
                    <a:pt x="24256" y="19784"/>
                  </a:lnTo>
                  <a:cubicBezTo>
                    <a:pt x="30744" y="19784"/>
                    <a:pt x="35821" y="21480"/>
                    <a:pt x="39205" y="24589"/>
                  </a:cubicBezTo>
                  <a:cubicBezTo>
                    <a:pt x="42590" y="27698"/>
                    <a:pt x="44282" y="32220"/>
                    <a:pt x="44282" y="38156"/>
                  </a:cubicBezTo>
                  <a:cubicBezTo>
                    <a:pt x="44282" y="44091"/>
                    <a:pt x="42590" y="48896"/>
                    <a:pt x="39205" y="52287"/>
                  </a:cubicBezTo>
                  <a:cubicBezTo>
                    <a:pt x="35821" y="55679"/>
                    <a:pt x="30744" y="57375"/>
                    <a:pt x="23974" y="57375"/>
                  </a:cubicBezTo>
                  <a:lnTo>
                    <a:pt x="0" y="57375"/>
                  </a:lnTo>
                  <a:close/>
                </a:path>
              </a:pathLst>
            </a:custGeom>
            <a:solidFill>
              <a:srgbClr val="7F8183"/>
            </a:solidFill>
            <a:ln w="2790" cap="flat">
              <a:noFill/>
              <a:prstDash val="solid"/>
              <a:miter/>
            </a:ln>
          </p:spPr>
          <p:txBody>
            <a:bodyPr rtlCol="0" anchor="ctr"/>
            <a:lstStyle/>
            <a:p>
              <a:endParaRPr lang="x-none" sz="1905"/>
            </a:p>
          </p:txBody>
        </p:sp>
        <p:sp>
          <p:nvSpPr>
            <p:cNvPr id="39" name="Freeform 38">
              <a:extLst>
                <a:ext uri="{FF2B5EF4-FFF2-40B4-BE49-F238E27FC236}">
                  <a16:creationId xmlns:a16="http://schemas.microsoft.com/office/drawing/2014/main" id="{BD78A59F-65ED-154F-9BB0-F3D1A7A2D934}"/>
                </a:ext>
              </a:extLst>
            </p:cNvPr>
            <p:cNvSpPr/>
            <p:nvPr/>
          </p:nvSpPr>
          <p:spPr>
            <a:xfrm>
              <a:off x="1941542" y="5935383"/>
              <a:ext cx="54435" cy="57374"/>
            </a:xfrm>
            <a:custGeom>
              <a:avLst/>
              <a:gdLst>
                <a:gd name="connsiteX0" fmla="*/ 42872 w 54435"/>
                <a:gd name="connsiteY0" fmla="*/ 57375 h 57374"/>
                <a:gd name="connsiteX1" fmla="*/ 26795 w 54435"/>
                <a:gd name="connsiteY1" fmla="*/ 34481 h 57374"/>
                <a:gd name="connsiteX2" fmla="*/ 11282 w 54435"/>
                <a:gd name="connsiteY2" fmla="*/ 57375 h 57374"/>
                <a:gd name="connsiteX3" fmla="*/ 0 w 54435"/>
                <a:gd name="connsiteY3" fmla="*/ 57375 h 57374"/>
                <a:gd name="connsiteX4" fmla="*/ 21154 w 54435"/>
                <a:gd name="connsiteY4" fmla="*/ 27981 h 57374"/>
                <a:gd name="connsiteX5" fmla="*/ 1410 w 54435"/>
                <a:gd name="connsiteY5" fmla="*/ 0 h 57374"/>
                <a:gd name="connsiteX6" fmla="*/ 12410 w 54435"/>
                <a:gd name="connsiteY6" fmla="*/ 0 h 57374"/>
                <a:gd name="connsiteX7" fmla="*/ 26795 w 54435"/>
                <a:gd name="connsiteY7" fmla="*/ 21198 h 57374"/>
                <a:gd name="connsiteX8" fmla="*/ 41462 w 54435"/>
                <a:gd name="connsiteY8" fmla="*/ 0 h 57374"/>
                <a:gd name="connsiteX9" fmla="*/ 52462 w 54435"/>
                <a:gd name="connsiteY9" fmla="*/ 0 h 57374"/>
                <a:gd name="connsiteX10" fmla="*/ 32436 w 54435"/>
                <a:gd name="connsiteY10" fmla="*/ 27416 h 57374"/>
                <a:gd name="connsiteX11" fmla="*/ 54436 w 54435"/>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35" h="57374">
                  <a:moveTo>
                    <a:pt x="42872" y="57375"/>
                  </a:moveTo>
                  <a:lnTo>
                    <a:pt x="26795" y="34481"/>
                  </a:lnTo>
                  <a:lnTo>
                    <a:pt x="11282" y="57375"/>
                  </a:lnTo>
                  <a:lnTo>
                    <a:pt x="0" y="57375"/>
                  </a:lnTo>
                  <a:lnTo>
                    <a:pt x="21154" y="27981"/>
                  </a:lnTo>
                  <a:lnTo>
                    <a:pt x="1410" y="0"/>
                  </a:lnTo>
                  <a:lnTo>
                    <a:pt x="12410" y="0"/>
                  </a:lnTo>
                  <a:lnTo>
                    <a:pt x="26795" y="21198"/>
                  </a:lnTo>
                  <a:lnTo>
                    <a:pt x="41462" y="0"/>
                  </a:lnTo>
                  <a:lnTo>
                    <a:pt x="52462" y="0"/>
                  </a:lnTo>
                  <a:lnTo>
                    <a:pt x="32436" y="27416"/>
                  </a:lnTo>
                  <a:lnTo>
                    <a:pt x="54436" y="57375"/>
                  </a:lnTo>
                  <a:close/>
                </a:path>
              </a:pathLst>
            </a:custGeom>
            <a:solidFill>
              <a:srgbClr val="7F8183"/>
            </a:solidFill>
            <a:ln w="2790" cap="flat">
              <a:noFill/>
              <a:prstDash val="solid"/>
              <a:miter/>
            </a:ln>
          </p:spPr>
          <p:txBody>
            <a:bodyPr rtlCol="0" anchor="ctr"/>
            <a:lstStyle/>
            <a:p>
              <a:endParaRPr lang="x-none" sz="1905"/>
            </a:p>
          </p:txBody>
        </p:sp>
        <p:grpSp>
          <p:nvGrpSpPr>
            <p:cNvPr id="40" name="Graphic 13">
              <a:extLst>
                <a:ext uri="{FF2B5EF4-FFF2-40B4-BE49-F238E27FC236}">
                  <a16:creationId xmlns:a16="http://schemas.microsoft.com/office/drawing/2014/main" id="{A3412EFB-25E5-F24C-9AA5-A8B3CDCDE57F}"/>
                </a:ext>
              </a:extLst>
            </p:cNvPr>
            <p:cNvGrpSpPr/>
            <p:nvPr/>
          </p:nvGrpSpPr>
          <p:grpSpPr>
            <a:xfrm>
              <a:off x="1266593" y="6057199"/>
              <a:ext cx="116205" cy="82246"/>
              <a:chOff x="1266593" y="6057199"/>
              <a:chExt cx="116205" cy="82246"/>
            </a:xfrm>
            <a:solidFill>
              <a:srgbClr val="CFD4D9"/>
            </a:solidFill>
          </p:grpSpPr>
          <p:sp>
            <p:nvSpPr>
              <p:cNvPr id="47" name="Freeform 46">
                <a:extLst>
                  <a:ext uri="{FF2B5EF4-FFF2-40B4-BE49-F238E27FC236}">
                    <a16:creationId xmlns:a16="http://schemas.microsoft.com/office/drawing/2014/main" id="{A54C67D7-4E2A-194D-8C27-C5B336C4882D}"/>
                  </a:ext>
                </a:extLst>
              </p:cNvPr>
              <p:cNvSpPr/>
              <p:nvPr/>
            </p:nvSpPr>
            <p:spPr>
              <a:xfrm>
                <a:off x="1266593" y="6057199"/>
                <a:ext cx="54153" cy="82246"/>
              </a:xfrm>
              <a:custGeom>
                <a:avLst/>
                <a:gdLst>
                  <a:gd name="connsiteX0" fmla="*/ 9308 w 54153"/>
                  <a:gd name="connsiteY0" fmla="*/ 34764 h 82246"/>
                  <a:gd name="connsiteX1" fmla="*/ 14667 w 54153"/>
                  <a:gd name="connsiteY1" fmla="*/ 46917 h 82246"/>
                  <a:gd name="connsiteX2" fmla="*/ 27359 w 54153"/>
                  <a:gd name="connsiteY2" fmla="*/ 51439 h 82246"/>
                  <a:gd name="connsiteX3" fmla="*/ 39769 w 54153"/>
                  <a:gd name="connsiteY3" fmla="*/ 45504 h 82246"/>
                  <a:gd name="connsiteX4" fmla="*/ 44282 w 54153"/>
                  <a:gd name="connsiteY4" fmla="*/ 29677 h 82246"/>
                  <a:gd name="connsiteX5" fmla="*/ 39769 w 54153"/>
                  <a:gd name="connsiteY5" fmla="*/ 14414 h 82246"/>
                  <a:gd name="connsiteX6" fmla="*/ 27077 w 54153"/>
                  <a:gd name="connsiteY6" fmla="*/ 8479 h 82246"/>
                  <a:gd name="connsiteX7" fmla="*/ 20590 w 54153"/>
                  <a:gd name="connsiteY7" fmla="*/ 9610 h 82246"/>
                  <a:gd name="connsiteX8" fmla="*/ 14949 w 54153"/>
                  <a:gd name="connsiteY8" fmla="*/ 13284 h 82246"/>
                  <a:gd name="connsiteX9" fmla="*/ 11000 w 54153"/>
                  <a:gd name="connsiteY9" fmla="*/ 19219 h 82246"/>
                  <a:gd name="connsiteX10" fmla="*/ 9590 w 54153"/>
                  <a:gd name="connsiteY10" fmla="*/ 27416 h 82246"/>
                  <a:gd name="connsiteX11" fmla="*/ 9590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308" y="34764"/>
                    </a:moveTo>
                    <a:cubicBezTo>
                      <a:pt x="9308" y="40134"/>
                      <a:pt x="11000" y="44091"/>
                      <a:pt x="14667" y="46917"/>
                    </a:cubicBezTo>
                    <a:cubicBezTo>
                      <a:pt x="18333" y="49744"/>
                      <a:pt x="22564" y="51439"/>
                      <a:pt x="27359" y="51439"/>
                    </a:cubicBezTo>
                    <a:cubicBezTo>
                      <a:pt x="32718" y="51439"/>
                      <a:pt x="36667" y="49461"/>
                      <a:pt x="39769" y="45504"/>
                    </a:cubicBezTo>
                    <a:cubicBezTo>
                      <a:pt x="42872" y="41547"/>
                      <a:pt x="44282" y="36460"/>
                      <a:pt x="44282" y="29677"/>
                    </a:cubicBezTo>
                    <a:cubicBezTo>
                      <a:pt x="44282" y="23459"/>
                      <a:pt x="42872" y="18371"/>
                      <a:pt x="39769" y="14414"/>
                    </a:cubicBezTo>
                    <a:cubicBezTo>
                      <a:pt x="36667" y="10457"/>
                      <a:pt x="32436" y="8479"/>
                      <a:pt x="27077" y="8479"/>
                    </a:cubicBezTo>
                    <a:cubicBezTo>
                      <a:pt x="24821" y="8479"/>
                      <a:pt x="22564" y="8762"/>
                      <a:pt x="20590" y="9610"/>
                    </a:cubicBezTo>
                    <a:cubicBezTo>
                      <a:pt x="18615" y="10457"/>
                      <a:pt x="16641" y="11588"/>
                      <a:pt x="14949" y="13284"/>
                    </a:cubicBezTo>
                    <a:cubicBezTo>
                      <a:pt x="13256" y="14980"/>
                      <a:pt x="11846" y="16958"/>
                      <a:pt x="11000" y="19219"/>
                    </a:cubicBezTo>
                    <a:cubicBezTo>
                      <a:pt x="9872" y="21763"/>
                      <a:pt x="9590" y="24307"/>
                      <a:pt x="9590" y="27416"/>
                    </a:cubicBezTo>
                    <a:lnTo>
                      <a:pt x="9590" y="34764"/>
                    </a:lnTo>
                    <a:close/>
                    <a:moveTo>
                      <a:pt x="0" y="82247"/>
                    </a:moveTo>
                    <a:lnTo>
                      <a:pt x="0" y="1413"/>
                    </a:lnTo>
                    <a:lnTo>
                      <a:pt x="9590" y="1413"/>
                    </a:lnTo>
                    <a:lnTo>
                      <a:pt x="9590" y="9044"/>
                    </a:lnTo>
                    <a:cubicBezTo>
                      <a:pt x="11564" y="5935"/>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sp>
            <p:nvSpPr>
              <p:cNvPr id="48" name="Freeform 47">
                <a:extLst>
                  <a:ext uri="{FF2B5EF4-FFF2-40B4-BE49-F238E27FC236}">
                    <a16:creationId xmlns:a16="http://schemas.microsoft.com/office/drawing/2014/main" id="{E4D661F3-775B-484D-9B38-07EB41236708}"/>
                  </a:ext>
                </a:extLst>
              </p:cNvPr>
              <p:cNvSpPr/>
              <p:nvPr/>
            </p:nvSpPr>
            <p:spPr>
              <a:xfrm>
                <a:off x="1331465" y="6057764"/>
                <a:ext cx="51333" cy="59635"/>
              </a:xfrm>
              <a:custGeom>
                <a:avLst/>
                <a:gdLst>
                  <a:gd name="connsiteX0" fmla="*/ 26513 w 51333"/>
                  <a:gd name="connsiteY0" fmla="*/ 7914 h 59635"/>
                  <a:gd name="connsiteX1" fmla="*/ 15513 w 51333"/>
                  <a:gd name="connsiteY1" fmla="*/ 12153 h 59635"/>
                  <a:gd name="connsiteX2" fmla="*/ 9872 w 51333"/>
                  <a:gd name="connsiteY2" fmla="*/ 23176 h 59635"/>
                  <a:gd name="connsiteX3" fmla="*/ 42026 w 51333"/>
                  <a:gd name="connsiteY3" fmla="*/ 23176 h 59635"/>
                  <a:gd name="connsiteX4" fmla="*/ 38077 w 51333"/>
                  <a:gd name="connsiteY4" fmla="*/ 12153 h 59635"/>
                  <a:gd name="connsiteX5" fmla="*/ 26513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9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513" y="7914"/>
                    </a:moveTo>
                    <a:cubicBezTo>
                      <a:pt x="22000" y="7914"/>
                      <a:pt x="18333" y="9327"/>
                      <a:pt x="15513" y="12153"/>
                    </a:cubicBezTo>
                    <a:cubicBezTo>
                      <a:pt x="12410" y="14980"/>
                      <a:pt x="10718" y="18654"/>
                      <a:pt x="9872" y="23176"/>
                    </a:cubicBezTo>
                    <a:lnTo>
                      <a:pt x="42026" y="23176"/>
                    </a:lnTo>
                    <a:cubicBezTo>
                      <a:pt x="41744" y="18654"/>
                      <a:pt x="40333" y="14980"/>
                      <a:pt x="38077" y="12153"/>
                    </a:cubicBezTo>
                    <a:cubicBezTo>
                      <a:pt x="35256" y="9327"/>
                      <a:pt x="31590" y="7914"/>
                      <a:pt x="26513"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9"/>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grpSp>
        <p:sp>
          <p:nvSpPr>
            <p:cNvPr id="41" name="Freeform 40">
              <a:extLst>
                <a:ext uri="{FF2B5EF4-FFF2-40B4-BE49-F238E27FC236}">
                  <a16:creationId xmlns:a16="http://schemas.microsoft.com/office/drawing/2014/main" id="{662245DA-09BF-0D40-B5B8-6858F4AEEA37}"/>
                </a:ext>
              </a:extLst>
            </p:cNvPr>
            <p:cNvSpPr/>
            <p:nvPr/>
          </p:nvSpPr>
          <p:spPr>
            <a:xfrm>
              <a:off x="1396901" y="6058612"/>
              <a:ext cx="75307" cy="57374"/>
            </a:xfrm>
            <a:custGeom>
              <a:avLst/>
              <a:gdLst>
                <a:gd name="connsiteX0" fmla="*/ 75308 w 75307"/>
                <a:gd name="connsiteY0" fmla="*/ 0 h 57374"/>
                <a:gd name="connsiteX1" fmla="*/ 75308 w 75307"/>
                <a:gd name="connsiteY1" fmla="*/ 57375 h 57374"/>
                <a:gd name="connsiteX2" fmla="*/ 0 w 75307"/>
                <a:gd name="connsiteY2" fmla="*/ 57375 h 57374"/>
                <a:gd name="connsiteX3" fmla="*/ 0 w 75307"/>
                <a:gd name="connsiteY3" fmla="*/ 0 h 57374"/>
                <a:gd name="connsiteX4" fmla="*/ 9308 w 75307"/>
                <a:gd name="connsiteY4" fmla="*/ 0 h 57374"/>
                <a:gd name="connsiteX5" fmla="*/ 9308 w 75307"/>
                <a:gd name="connsiteY5" fmla="*/ 48613 h 57374"/>
                <a:gd name="connsiteX6" fmla="*/ 32718 w 75307"/>
                <a:gd name="connsiteY6" fmla="*/ 48613 h 57374"/>
                <a:gd name="connsiteX7" fmla="*/ 32718 w 75307"/>
                <a:gd name="connsiteY7" fmla="*/ 0 h 57374"/>
                <a:gd name="connsiteX8" fmla="*/ 42308 w 75307"/>
                <a:gd name="connsiteY8" fmla="*/ 0 h 57374"/>
                <a:gd name="connsiteX9" fmla="*/ 42308 w 75307"/>
                <a:gd name="connsiteY9" fmla="*/ 48613 h 57374"/>
                <a:gd name="connsiteX10" fmla="*/ 65718 w 75307"/>
                <a:gd name="connsiteY10" fmla="*/ 48613 h 57374"/>
                <a:gd name="connsiteX11" fmla="*/ 65718 w 75307"/>
                <a:gd name="connsiteY11" fmla="*/ 0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307" h="57374">
                  <a:moveTo>
                    <a:pt x="75308" y="0"/>
                  </a:moveTo>
                  <a:lnTo>
                    <a:pt x="75308" y="57375"/>
                  </a:lnTo>
                  <a:lnTo>
                    <a:pt x="0" y="57375"/>
                  </a:lnTo>
                  <a:lnTo>
                    <a:pt x="0" y="0"/>
                  </a:lnTo>
                  <a:lnTo>
                    <a:pt x="9308" y="0"/>
                  </a:lnTo>
                  <a:lnTo>
                    <a:pt x="9308" y="48613"/>
                  </a:lnTo>
                  <a:lnTo>
                    <a:pt x="32718" y="48613"/>
                  </a:lnTo>
                  <a:lnTo>
                    <a:pt x="32718" y="0"/>
                  </a:lnTo>
                  <a:lnTo>
                    <a:pt x="42308" y="0"/>
                  </a:lnTo>
                  <a:lnTo>
                    <a:pt x="42308" y="48613"/>
                  </a:lnTo>
                  <a:lnTo>
                    <a:pt x="65718" y="48613"/>
                  </a:lnTo>
                  <a:lnTo>
                    <a:pt x="65718" y="0"/>
                  </a:lnTo>
                  <a:close/>
                </a:path>
              </a:pathLst>
            </a:custGeom>
            <a:solidFill>
              <a:srgbClr val="7F8183"/>
            </a:solidFill>
            <a:ln w="2790" cap="flat">
              <a:noFill/>
              <a:prstDash val="solid"/>
              <a:miter/>
            </a:ln>
          </p:spPr>
          <p:txBody>
            <a:bodyPr rtlCol="0" anchor="ctr"/>
            <a:lstStyle/>
            <a:p>
              <a:endParaRPr lang="x-none" sz="1905"/>
            </a:p>
          </p:txBody>
        </p:sp>
        <p:sp>
          <p:nvSpPr>
            <p:cNvPr id="42" name="Freeform 41">
              <a:extLst>
                <a:ext uri="{FF2B5EF4-FFF2-40B4-BE49-F238E27FC236}">
                  <a16:creationId xmlns:a16="http://schemas.microsoft.com/office/drawing/2014/main" id="{8EE32939-128C-A04C-8F2B-03BD54544DBA}"/>
                </a:ext>
              </a:extLst>
            </p:cNvPr>
            <p:cNvSpPr/>
            <p:nvPr/>
          </p:nvSpPr>
          <p:spPr>
            <a:xfrm>
              <a:off x="1486311" y="6057764"/>
              <a:ext cx="51333" cy="59635"/>
            </a:xfrm>
            <a:custGeom>
              <a:avLst/>
              <a:gdLst>
                <a:gd name="connsiteX0" fmla="*/ 26513 w 51333"/>
                <a:gd name="connsiteY0" fmla="*/ 7914 h 59635"/>
                <a:gd name="connsiteX1" fmla="*/ 15513 w 51333"/>
                <a:gd name="connsiteY1" fmla="*/ 12153 h 59635"/>
                <a:gd name="connsiteX2" fmla="*/ 9872 w 51333"/>
                <a:gd name="connsiteY2" fmla="*/ 23176 h 59635"/>
                <a:gd name="connsiteX3" fmla="*/ 41744 w 51333"/>
                <a:gd name="connsiteY3" fmla="*/ 23176 h 59635"/>
                <a:gd name="connsiteX4" fmla="*/ 37795 w 51333"/>
                <a:gd name="connsiteY4" fmla="*/ 12153 h 59635"/>
                <a:gd name="connsiteX5" fmla="*/ 26513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9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513" y="7914"/>
                  </a:moveTo>
                  <a:cubicBezTo>
                    <a:pt x="22000" y="7914"/>
                    <a:pt x="18333" y="9327"/>
                    <a:pt x="15513" y="12153"/>
                  </a:cubicBezTo>
                  <a:cubicBezTo>
                    <a:pt x="12410" y="14980"/>
                    <a:pt x="10718" y="18654"/>
                    <a:pt x="9872" y="23176"/>
                  </a:cubicBezTo>
                  <a:lnTo>
                    <a:pt x="41744" y="23176"/>
                  </a:lnTo>
                  <a:cubicBezTo>
                    <a:pt x="41462" y="18654"/>
                    <a:pt x="40051" y="14980"/>
                    <a:pt x="37795" y="12153"/>
                  </a:cubicBezTo>
                  <a:cubicBezTo>
                    <a:pt x="35256" y="9327"/>
                    <a:pt x="31590" y="7914"/>
                    <a:pt x="26513"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9"/>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43" name="Freeform 42">
              <a:extLst>
                <a:ext uri="{FF2B5EF4-FFF2-40B4-BE49-F238E27FC236}">
                  <a16:creationId xmlns:a16="http://schemas.microsoft.com/office/drawing/2014/main" id="{96A39E2E-C03C-5343-AA11-E77BC8EC94E4}"/>
                </a:ext>
              </a:extLst>
            </p:cNvPr>
            <p:cNvSpPr/>
            <p:nvPr/>
          </p:nvSpPr>
          <p:spPr>
            <a:xfrm>
              <a:off x="1551747" y="6058612"/>
              <a:ext cx="49076" cy="57374"/>
            </a:xfrm>
            <a:custGeom>
              <a:avLst/>
              <a:gdLst>
                <a:gd name="connsiteX0" fmla="*/ 0 w 49076"/>
                <a:gd name="connsiteY0" fmla="*/ 57375 h 57374"/>
                <a:gd name="connsiteX1" fmla="*/ 0 w 49076"/>
                <a:gd name="connsiteY1" fmla="*/ 0 h 57374"/>
                <a:gd name="connsiteX2" fmla="*/ 9308 w 49076"/>
                <a:gd name="connsiteY2" fmla="*/ 0 h 57374"/>
                <a:gd name="connsiteX3" fmla="*/ 9308 w 49076"/>
                <a:gd name="connsiteY3" fmla="*/ 23459 h 57374"/>
                <a:gd name="connsiteX4" fmla="*/ 39769 w 49076"/>
                <a:gd name="connsiteY4" fmla="*/ 23459 h 57374"/>
                <a:gd name="connsiteX5" fmla="*/ 39769 w 49076"/>
                <a:gd name="connsiteY5" fmla="*/ 0 h 57374"/>
                <a:gd name="connsiteX6" fmla="*/ 49077 w 49076"/>
                <a:gd name="connsiteY6" fmla="*/ 0 h 57374"/>
                <a:gd name="connsiteX7" fmla="*/ 49077 w 49076"/>
                <a:gd name="connsiteY7" fmla="*/ 57375 h 57374"/>
                <a:gd name="connsiteX8" fmla="*/ 39769 w 49076"/>
                <a:gd name="connsiteY8" fmla="*/ 57375 h 57374"/>
                <a:gd name="connsiteX9" fmla="*/ 39769 w 49076"/>
                <a:gd name="connsiteY9" fmla="*/ 32503 h 57374"/>
                <a:gd name="connsiteX10" fmla="*/ 9308 w 49076"/>
                <a:gd name="connsiteY10" fmla="*/ 32503 h 57374"/>
                <a:gd name="connsiteX11" fmla="*/ 9308 w 49076"/>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076" h="57374">
                  <a:moveTo>
                    <a:pt x="0" y="57375"/>
                  </a:moveTo>
                  <a:lnTo>
                    <a:pt x="0" y="0"/>
                  </a:lnTo>
                  <a:lnTo>
                    <a:pt x="9308" y="0"/>
                  </a:lnTo>
                  <a:lnTo>
                    <a:pt x="9308" y="23459"/>
                  </a:lnTo>
                  <a:lnTo>
                    <a:pt x="39769" y="23459"/>
                  </a:lnTo>
                  <a:lnTo>
                    <a:pt x="39769" y="0"/>
                  </a:lnTo>
                  <a:lnTo>
                    <a:pt x="49077" y="0"/>
                  </a:lnTo>
                  <a:lnTo>
                    <a:pt x="49077" y="57375"/>
                  </a:lnTo>
                  <a:lnTo>
                    <a:pt x="39769" y="57375"/>
                  </a:lnTo>
                  <a:lnTo>
                    <a:pt x="39769" y="32503"/>
                  </a:lnTo>
                  <a:lnTo>
                    <a:pt x="9308" y="32503"/>
                  </a:lnTo>
                  <a:lnTo>
                    <a:pt x="9308" y="57375"/>
                  </a:lnTo>
                  <a:close/>
                </a:path>
              </a:pathLst>
            </a:custGeom>
            <a:solidFill>
              <a:srgbClr val="7F8183"/>
            </a:solidFill>
            <a:ln w="2790" cap="flat">
              <a:noFill/>
              <a:prstDash val="solid"/>
              <a:miter/>
            </a:ln>
          </p:spPr>
          <p:txBody>
            <a:bodyPr rtlCol="0" anchor="ctr"/>
            <a:lstStyle/>
            <a:p>
              <a:endParaRPr lang="x-none" sz="1905"/>
            </a:p>
          </p:txBody>
        </p:sp>
        <p:sp>
          <p:nvSpPr>
            <p:cNvPr id="44" name="Freeform 43">
              <a:extLst>
                <a:ext uri="{FF2B5EF4-FFF2-40B4-BE49-F238E27FC236}">
                  <a16:creationId xmlns:a16="http://schemas.microsoft.com/office/drawing/2014/main" id="{2FEF830E-047D-F44F-BD4C-7111A03A4967}"/>
                </a:ext>
              </a:extLst>
            </p:cNvPr>
            <p:cNvSpPr/>
            <p:nvPr/>
          </p:nvSpPr>
          <p:spPr>
            <a:xfrm>
              <a:off x="1618875" y="6058612"/>
              <a:ext cx="47948" cy="57374"/>
            </a:xfrm>
            <a:custGeom>
              <a:avLst/>
              <a:gdLst>
                <a:gd name="connsiteX0" fmla="*/ 10154 w 47948"/>
                <a:gd name="connsiteY0" fmla="*/ 57375 h 57374"/>
                <a:gd name="connsiteX1" fmla="*/ 0 w 47948"/>
                <a:gd name="connsiteY1" fmla="*/ 57375 h 57374"/>
                <a:gd name="connsiteX2" fmla="*/ 0 w 47948"/>
                <a:gd name="connsiteY2" fmla="*/ 0 h 57374"/>
                <a:gd name="connsiteX3" fmla="*/ 9026 w 47948"/>
                <a:gd name="connsiteY3" fmla="*/ 0 h 57374"/>
                <a:gd name="connsiteX4" fmla="*/ 9026 w 47948"/>
                <a:gd name="connsiteY4" fmla="*/ 44939 h 57374"/>
                <a:gd name="connsiteX5" fmla="*/ 37513 w 47948"/>
                <a:gd name="connsiteY5" fmla="*/ 0 h 57374"/>
                <a:gd name="connsiteX6" fmla="*/ 47949 w 47948"/>
                <a:gd name="connsiteY6" fmla="*/ 0 h 57374"/>
                <a:gd name="connsiteX7" fmla="*/ 47949 w 47948"/>
                <a:gd name="connsiteY7" fmla="*/ 57375 h 57374"/>
                <a:gd name="connsiteX8" fmla="*/ 38923 w 47948"/>
                <a:gd name="connsiteY8" fmla="*/ 57375 h 57374"/>
                <a:gd name="connsiteX9" fmla="*/ 38923 w 47948"/>
                <a:gd name="connsiteY9" fmla="*/ 12153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48" h="57374">
                  <a:moveTo>
                    <a:pt x="10154" y="57375"/>
                  </a:moveTo>
                  <a:lnTo>
                    <a:pt x="0" y="57375"/>
                  </a:lnTo>
                  <a:lnTo>
                    <a:pt x="0" y="0"/>
                  </a:lnTo>
                  <a:lnTo>
                    <a:pt x="9026" y="0"/>
                  </a:lnTo>
                  <a:lnTo>
                    <a:pt x="9026" y="44939"/>
                  </a:lnTo>
                  <a:lnTo>
                    <a:pt x="37513" y="0"/>
                  </a:lnTo>
                  <a:lnTo>
                    <a:pt x="47949" y="0"/>
                  </a:lnTo>
                  <a:lnTo>
                    <a:pt x="47949" y="57375"/>
                  </a:lnTo>
                  <a:lnTo>
                    <a:pt x="38923" y="57375"/>
                  </a:lnTo>
                  <a:lnTo>
                    <a:pt x="38923" y="12153"/>
                  </a:lnTo>
                  <a:close/>
                </a:path>
              </a:pathLst>
            </a:custGeom>
            <a:solidFill>
              <a:srgbClr val="7F8183"/>
            </a:solidFill>
            <a:ln w="2790" cap="flat">
              <a:noFill/>
              <a:prstDash val="solid"/>
              <a:miter/>
            </a:ln>
          </p:spPr>
          <p:txBody>
            <a:bodyPr rtlCol="0" anchor="ctr"/>
            <a:lstStyle/>
            <a:p>
              <a:endParaRPr lang="x-none" sz="1905"/>
            </a:p>
          </p:txBody>
        </p:sp>
        <p:sp>
          <p:nvSpPr>
            <p:cNvPr id="45" name="Freeform 44">
              <a:extLst>
                <a:ext uri="{FF2B5EF4-FFF2-40B4-BE49-F238E27FC236}">
                  <a16:creationId xmlns:a16="http://schemas.microsoft.com/office/drawing/2014/main" id="{C34DED5D-3D96-084B-84A2-FB271F0EB689}"/>
                </a:ext>
              </a:extLst>
            </p:cNvPr>
            <p:cNvSpPr/>
            <p:nvPr/>
          </p:nvSpPr>
          <p:spPr>
            <a:xfrm>
              <a:off x="1684875" y="6036849"/>
              <a:ext cx="48230" cy="79137"/>
            </a:xfrm>
            <a:custGeom>
              <a:avLst/>
              <a:gdLst>
                <a:gd name="connsiteX0" fmla="*/ 24256 w 48230"/>
                <a:gd name="connsiteY0" fmla="*/ 15545 h 79137"/>
                <a:gd name="connsiteX1" fmla="*/ 11282 w 48230"/>
                <a:gd name="connsiteY1" fmla="*/ 11305 h 79137"/>
                <a:gd name="connsiteX2" fmla="*/ 7051 w 48230"/>
                <a:gd name="connsiteY2" fmla="*/ 0 h 79137"/>
                <a:gd name="connsiteX3" fmla="*/ 14949 w 48230"/>
                <a:gd name="connsiteY3" fmla="*/ 0 h 79137"/>
                <a:gd name="connsiteX4" fmla="*/ 17487 w 48230"/>
                <a:gd name="connsiteY4" fmla="*/ 6218 h 79137"/>
                <a:gd name="connsiteX5" fmla="*/ 23974 w 48230"/>
                <a:gd name="connsiteY5" fmla="*/ 8479 h 79137"/>
                <a:gd name="connsiteX6" fmla="*/ 30462 w 48230"/>
                <a:gd name="connsiteY6" fmla="*/ 6218 h 79137"/>
                <a:gd name="connsiteX7" fmla="*/ 33000 w 48230"/>
                <a:gd name="connsiteY7" fmla="*/ 0 h 79137"/>
                <a:gd name="connsiteX8" fmla="*/ 40897 w 48230"/>
                <a:gd name="connsiteY8" fmla="*/ 0 h 79137"/>
                <a:gd name="connsiteX9" fmla="*/ 36667 w 48230"/>
                <a:gd name="connsiteY9" fmla="*/ 11305 h 79137"/>
                <a:gd name="connsiteX10" fmla="*/ 24256 w 48230"/>
                <a:gd name="connsiteY10" fmla="*/ 15545 h 79137"/>
                <a:gd name="connsiteX11" fmla="*/ 10154 w 48230"/>
                <a:gd name="connsiteY11" fmla="*/ 79138 h 79137"/>
                <a:gd name="connsiteX12" fmla="*/ 0 w 48230"/>
                <a:gd name="connsiteY12" fmla="*/ 79138 h 79137"/>
                <a:gd name="connsiteX13" fmla="*/ 0 w 48230"/>
                <a:gd name="connsiteY13" fmla="*/ 21763 h 79137"/>
                <a:gd name="connsiteX14" fmla="*/ 9308 w 48230"/>
                <a:gd name="connsiteY14" fmla="*/ 21763 h 79137"/>
                <a:gd name="connsiteX15" fmla="*/ 9308 w 48230"/>
                <a:gd name="connsiteY15" fmla="*/ 66702 h 79137"/>
                <a:gd name="connsiteX16" fmla="*/ 37795 w 48230"/>
                <a:gd name="connsiteY16" fmla="*/ 21763 h 79137"/>
                <a:gd name="connsiteX17" fmla="*/ 48231 w 48230"/>
                <a:gd name="connsiteY17" fmla="*/ 21763 h 79137"/>
                <a:gd name="connsiteX18" fmla="*/ 48231 w 48230"/>
                <a:gd name="connsiteY18" fmla="*/ 79138 h 79137"/>
                <a:gd name="connsiteX19" fmla="*/ 38923 w 48230"/>
                <a:gd name="connsiteY19" fmla="*/ 79138 h 79137"/>
                <a:gd name="connsiteX20" fmla="*/ 38923 w 48230"/>
                <a:gd name="connsiteY20" fmla="*/ 33916 h 79137"/>
                <a:gd name="connsiteX21" fmla="*/ 10154 w 48230"/>
                <a:gd name="connsiteY21" fmla="*/ 79138 h 7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230" h="79137">
                  <a:moveTo>
                    <a:pt x="24256" y="15545"/>
                  </a:moveTo>
                  <a:cubicBezTo>
                    <a:pt x="18333" y="15545"/>
                    <a:pt x="14103" y="14132"/>
                    <a:pt x="11282" y="11305"/>
                  </a:cubicBezTo>
                  <a:cubicBezTo>
                    <a:pt x="8462" y="8479"/>
                    <a:pt x="7051" y="4805"/>
                    <a:pt x="7051" y="0"/>
                  </a:cubicBezTo>
                  <a:lnTo>
                    <a:pt x="14949" y="0"/>
                  </a:lnTo>
                  <a:cubicBezTo>
                    <a:pt x="15231" y="2544"/>
                    <a:pt x="16077" y="4805"/>
                    <a:pt x="17487" y="6218"/>
                  </a:cubicBezTo>
                  <a:cubicBezTo>
                    <a:pt x="18897" y="7631"/>
                    <a:pt x="21154" y="8479"/>
                    <a:pt x="23974" y="8479"/>
                  </a:cubicBezTo>
                  <a:cubicBezTo>
                    <a:pt x="26795" y="8479"/>
                    <a:pt x="29051" y="7631"/>
                    <a:pt x="30462" y="6218"/>
                  </a:cubicBezTo>
                  <a:cubicBezTo>
                    <a:pt x="31872" y="4805"/>
                    <a:pt x="32718" y="2544"/>
                    <a:pt x="33000" y="0"/>
                  </a:cubicBezTo>
                  <a:lnTo>
                    <a:pt x="40897" y="0"/>
                  </a:lnTo>
                  <a:cubicBezTo>
                    <a:pt x="40615" y="4522"/>
                    <a:pt x="39205" y="8196"/>
                    <a:pt x="36667" y="11305"/>
                  </a:cubicBezTo>
                  <a:cubicBezTo>
                    <a:pt x="34128" y="14132"/>
                    <a:pt x="29897" y="15545"/>
                    <a:pt x="24256" y="15545"/>
                  </a:cubicBezTo>
                  <a:moveTo>
                    <a:pt x="10154" y="79138"/>
                  </a:moveTo>
                  <a:lnTo>
                    <a:pt x="0" y="79138"/>
                  </a:lnTo>
                  <a:lnTo>
                    <a:pt x="0" y="21763"/>
                  </a:lnTo>
                  <a:lnTo>
                    <a:pt x="9308" y="21763"/>
                  </a:lnTo>
                  <a:lnTo>
                    <a:pt x="9308" y="66702"/>
                  </a:lnTo>
                  <a:lnTo>
                    <a:pt x="37795" y="21763"/>
                  </a:lnTo>
                  <a:lnTo>
                    <a:pt x="48231" y="21763"/>
                  </a:lnTo>
                  <a:lnTo>
                    <a:pt x="48231" y="79138"/>
                  </a:lnTo>
                  <a:lnTo>
                    <a:pt x="38923" y="79138"/>
                  </a:lnTo>
                  <a:lnTo>
                    <a:pt x="38923" y="33916"/>
                  </a:lnTo>
                  <a:lnTo>
                    <a:pt x="10154" y="79138"/>
                  </a:lnTo>
                  <a:close/>
                </a:path>
              </a:pathLst>
            </a:custGeom>
            <a:solidFill>
              <a:srgbClr val="7F8183"/>
            </a:solidFill>
            <a:ln w="2790" cap="flat">
              <a:noFill/>
              <a:prstDash val="solid"/>
              <a:miter/>
            </a:ln>
          </p:spPr>
          <p:txBody>
            <a:bodyPr rtlCol="0" anchor="ctr"/>
            <a:lstStyle/>
            <a:p>
              <a:endParaRPr lang="x-none" sz="1905"/>
            </a:p>
          </p:txBody>
        </p:sp>
        <p:sp>
          <p:nvSpPr>
            <p:cNvPr id="46" name="Freeform 45">
              <a:extLst>
                <a:ext uri="{FF2B5EF4-FFF2-40B4-BE49-F238E27FC236}">
                  <a16:creationId xmlns:a16="http://schemas.microsoft.com/office/drawing/2014/main" id="{7D18C1D5-F984-8B4E-A0BF-38700579D3AC}"/>
                </a:ext>
              </a:extLst>
            </p:cNvPr>
            <p:cNvSpPr/>
            <p:nvPr/>
          </p:nvSpPr>
          <p:spPr>
            <a:xfrm>
              <a:off x="1260952" y="5466493"/>
              <a:ext cx="483718" cy="255784"/>
            </a:xfrm>
            <a:custGeom>
              <a:avLst/>
              <a:gdLst>
                <a:gd name="connsiteX0" fmla="*/ 483718 w 483718"/>
                <a:gd name="connsiteY0" fmla="*/ 0 h 255784"/>
                <a:gd name="connsiteX1" fmla="*/ 0 w 483718"/>
                <a:gd name="connsiteY1" fmla="*/ 212541 h 255784"/>
                <a:gd name="connsiteX2" fmla="*/ 0 w 483718"/>
                <a:gd name="connsiteY2" fmla="*/ 255784 h 255784"/>
                <a:gd name="connsiteX3" fmla="*/ 483718 w 483718"/>
                <a:gd name="connsiteY3" fmla="*/ 43243 h 255784"/>
              </a:gdLst>
              <a:ahLst/>
              <a:cxnLst>
                <a:cxn ang="0">
                  <a:pos x="connsiteX0" y="connsiteY0"/>
                </a:cxn>
                <a:cxn ang="0">
                  <a:pos x="connsiteX1" y="connsiteY1"/>
                </a:cxn>
                <a:cxn ang="0">
                  <a:pos x="connsiteX2" y="connsiteY2"/>
                </a:cxn>
                <a:cxn ang="0">
                  <a:pos x="connsiteX3" y="connsiteY3"/>
                </a:cxn>
              </a:cxnLst>
              <a:rect l="l" t="t" r="r" b="b"/>
              <a:pathLst>
                <a:path w="483718" h="255784">
                  <a:moveTo>
                    <a:pt x="483718" y="0"/>
                  </a:moveTo>
                  <a:lnTo>
                    <a:pt x="0" y="212541"/>
                  </a:lnTo>
                  <a:lnTo>
                    <a:pt x="0" y="255784"/>
                  </a:lnTo>
                  <a:lnTo>
                    <a:pt x="483718" y="43243"/>
                  </a:lnTo>
                  <a:close/>
                </a:path>
              </a:pathLst>
            </a:custGeom>
            <a:solidFill>
              <a:srgbClr val="E22B26"/>
            </a:solidFill>
            <a:ln w="2790" cap="flat">
              <a:noFill/>
              <a:prstDash val="solid"/>
              <a:miter/>
            </a:ln>
          </p:spPr>
          <p:txBody>
            <a:bodyPr rtlCol="0" anchor="ctr"/>
            <a:lstStyle/>
            <a:p>
              <a:endParaRPr lang="x-none" sz="1905"/>
            </a:p>
          </p:txBody>
        </p:sp>
      </p:grpSp>
      <p:sp>
        <p:nvSpPr>
          <p:cNvPr id="9" name="Text Placeholder 8">
            <a:extLst>
              <a:ext uri="{FF2B5EF4-FFF2-40B4-BE49-F238E27FC236}">
                <a16:creationId xmlns:a16="http://schemas.microsoft.com/office/drawing/2014/main" id="{048B11A7-F13B-A341-B3D6-5CBDA7491E37}"/>
              </a:ext>
            </a:extLst>
          </p:cNvPr>
          <p:cNvSpPr>
            <a:spLocks noGrp="1"/>
          </p:cNvSpPr>
          <p:nvPr>
            <p:ph type="body" sz="quarter" idx="19" hasCustomPrompt="1"/>
          </p:nvPr>
        </p:nvSpPr>
        <p:spPr>
          <a:xfrm>
            <a:off x="3196710" y="5774789"/>
            <a:ext cx="1871252" cy="1008683"/>
          </a:xfrm>
          <a:prstGeom prst="rect">
            <a:avLst/>
          </a:prstGeom>
        </p:spPr>
        <p:txBody>
          <a:bodyPr lIns="91440" tIns="45720" rIns="91440" bIns="45720"/>
          <a:lstStyle>
            <a:lvl1pPr>
              <a:lnSpc>
                <a:spcPct val="150000"/>
              </a:lnSpc>
              <a:spcBef>
                <a:spcPts val="0"/>
              </a:spcBef>
              <a:buFontTx/>
              <a:buNone/>
              <a:defRPr lang="en-GB" sz="1058" b="0" i="0" kern="1200" dirty="0" smtClean="0">
                <a:solidFill>
                  <a:srgbClr val="7F8183"/>
                </a:solidFill>
                <a:latin typeface="Verdana" panose="020B0604030504040204" pitchFamily="34" charset="0"/>
                <a:ea typeface="Verdana" panose="020B0604030504040204" pitchFamily="34" charset="0"/>
                <a:cs typeface="Verdana" panose="020B0604030504040204" pitchFamily="34" charset="0"/>
              </a:defRPr>
            </a:lvl1pPr>
            <a:lvl2pPr>
              <a:buFontTx/>
              <a:buNone/>
              <a:defRPr lang="en-GB" sz="1058" b="0" i="0" kern="1200" dirty="0" smtClean="0">
                <a:solidFill>
                  <a:srgbClr val="7F8183"/>
                </a:solidFill>
                <a:latin typeface="Verdana" panose="020B0604030504040204" pitchFamily="34" charset="0"/>
                <a:ea typeface="Verdana" panose="020B0604030504040204" pitchFamily="34" charset="0"/>
                <a:cs typeface="Verdana" panose="020B0604030504040204" pitchFamily="34" charset="0"/>
              </a:defRPr>
            </a:lvl2pPr>
            <a:lvl3pPr>
              <a:buFontTx/>
              <a:buNone/>
              <a:defRPr lang="en-GB" sz="1058" b="0" i="0" kern="1200" dirty="0" smtClean="0">
                <a:solidFill>
                  <a:srgbClr val="7F8183"/>
                </a:solidFill>
                <a:latin typeface="Verdana" panose="020B0604030504040204" pitchFamily="34" charset="0"/>
                <a:ea typeface="Verdana" panose="020B0604030504040204" pitchFamily="34" charset="0"/>
                <a:cs typeface="Verdana" panose="020B0604030504040204" pitchFamily="34" charset="0"/>
              </a:defRPr>
            </a:lvl3pPr>
          </a:lstStyle>
          <a:p>
            <a:pPr lvl="0"/>
            <a:r>
              <a:rPr lang="en-GB" dirty="0"/>
              <a:t>(495) 231-77-71</a:t>
            </a:r>
          </a:p>
          <a:p>
            <a:pPr lvl="0"/>
            <a:r>
              <a:rPr lang="en-GB" dirty="0" err="1"/>
              <a:t>press@omk.ru</a:t>
            </a:r>
            <a:endParaRPr lang="en-GB" dirty="0"/>
          </a:p>
          <a:p>
            <a:pPr lvl="0"/>
            <a:r>
              <a:rPr lang="en-GB" dirty="0" err="1"/>
              <a:t>www.omk.ru</a:t>
            </a:r>
            <a:endParaRPr lang="en-GB" dirty="0"/>
          </a:p>
        </p:txBody>
      </p:sp>
    </p:spTree>
    <p:extLst>
      <p:ext uri="{BB962C8B-B14F-4D97-AF65-F5344CB8AC3E}">
        <p14:creationId xmlns:p14="http://schemas.microsoft.com/office/powerpoint/2010/main" val="2476023354"/>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914401" y="2130425"/>
            <a:ext cx="10363200" cy="1470026"/>
          </a:xfrm>
        </p:spPr>
        <p:txBody>
          <a:bodyPr/>
          <a:lstStyle/>
          <a:p>
            <a:r>
              <a:rPr lang="ru-RU"/>
              <a:t>Образец заголовка</a:t>
            </a:r>
          </a:p>
        </p:txBody>
      </p:sp>
      <p:sp>
        <p:nvSpPr>
          <p:cNvPr id="3" name="Подзаголовок 2"/>
          <p:cNvSpPr>
            <a:spLocks noGrp="1"/>
          </p:cNvSpPr>
          <p:nvPr>
            <p:ph type="subTitle" idx="1"/>
          </p:nvPr>
        </p:nvSpPr>
        <p:spPr>
          <a:xfrm>
            <a:off x="1828801" y="3886200"/>
            <a:ext cx="8534401" cy="1752600"/>
          </a:xfrm>
        </p:spPr>
        <p:txBody>
          <a:bodyPr/>
          <a:lstStyle>
            <a:lvl1pPr marL="0" indent="0" algn="ctr">
              <a:buNone/>
              <a:defRPr>
                <a:solidFill>
                  <a:schemeClr val="tx1">
                    <a:tint val="75000"/>
                  </a:schemeClr>
                </a:solidFill>
              </a:defRPr>
            </a:lvl1pPr>
            <a:lvl2pPr marL="609419" indent="0" algn="ctr">
              <a:buNone/>
              <a:defRPr>
                <a:solidFill>
                  <a:schemeClr val="tx1">
                    <a:tint val="75000"/>
                  </a:schemeClr>
                </a:solidFill>
              </a:defRPr>
            </a:lvl2pPr>
            <a:lvl3pPr marL="1218838" indent="0" algn="ctr">
              <a:buNone/>
              <a:defRPr>
                <a:solidFill>
                  <a:schemeClr val="tx1">
                    <a:tint val="75000"/>
                  </a:schemeClr>
                </a:solidFill>
              </a:defRPr>
            </a:lvl3pPr>
            <a:lvl4pPr marL="1828257" indent="0" algn="ctr">
              <a:buNone/>
              <a:defRPr>
                <a:solidFill>
                  <a:schemeClr val="tx1">
                    <a:tint val="75000"/>
                  </a:schemeClr>
                </a:solidFill>
              </a:defRPr>
            </a:lvl4pPr>
            <a:lvl5pPr marL="2437676" indent="0" algn="ctr">
              <a:buNone/>
              <a:defRPr>
                <a:solidFill>
                  <a:schemeClr val="tx1">
                    <a:tint val="75000"/>
                  </a:schemeClr>
                </a:solidFill>
              </a:defRPr>
            </a:lvl5pPr>
            <a:lvl6pPr marL="3047095" indent="0" algn="ctr">
              <a:buNone/>
              <a:defRPr>
                <a:solidFill>
                  <a:schemeClr val="tx1">
                    <a:tint val="75000"/>
                  </a:schemeClr>
                </a:solidFill>
              </a:defRPr>
            </a:lvl6pPr>
            <a:lvl7pPr marL="3656514" indent="0" algn="ctr">
              <a:buNone/>
              <a:defRPr>
                <a:solidFill>
                  <a:schemeClr val="tx1">
                    <a:tint val="75000"/>
                  </a:schemeClr>
                </a:solidFill>
              </a:defRPr>
            </a:lvl7pPr>
            <a:lvl8pPr marL="4265933" indent="0" algn="ctr">
              <a:buNone/>
              <a:defRPr>
                <a:solidFill>
                  <a:schemeClr val="tx1">
                    <a:tint val="75000"/>
                  </a:schemeClr>
                </a:solidFill>
              </a:defRPr>
            </a:lvl8pPr>
            <a:lvl9pPr marL="4875352" indent="0" algn="ctr">
              <a:buNone/>
              <a:defRPr>
                <a:solidFill>
                  <a:schemeClr val="tx1">
                    <a:tint val="75000"/>
                  </a:schemeClr>
                </a:solidFill>
              </a:defRPr>
            </a:lvl9pPr>
          </a:lstStyle>
          <a:p>
            <a:r>
              <a:rPr lang="ru-RU"/>
              <a:t>Образец подзаголовка</a:t>
            </a:r>
          </a:p>
        </p:txBody>
      </p:sp>
      <p:sp>
        <p:nvSpPr>
          <p:cNvPr id="4" name="Дата 3"/>
          <p:cNvSpPr>
            <a:spLocks noGrp="1"/>
          </p:cNvSpPr>
          <p:nvPr>
            <p:ph type="dt" sz="half" idx="10"/>
          </p:nvPr>
        </p:nvSpPr>
        <p:spPr/>
        <p:txBody>
          <a:bodyPr/>
          <a:lstStyle/>
          <a:p>
            <a:fld id="{5B106E36-FD25-4E2D-B0AA-010F637433A0}" type="datetimeFigureOut">
              <a:rPr lang="ru-RU" smtClean="0"/>
              <a:pPr/>
              <a:t>12.07.2022</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725C68B6-61C2-468F-89AB-4B9F7531AA68}" type="slidenum">
              <a:rPr lang="ru-RU" smtClean="0"/>
              <a:pPr/>
              <a:t>‹#›</a:t>
            </a:fld>
            <a:endParaRPr lang="ru-RU"/>
          </a:p>
        </p:txBody>
      </p:sp>
    </p:spTree>
    <p:extLst>
      <p:ext uri="{BB962C8B-B14F-4D97-AF65-F5344CB8AC3E}">
        <p14:creationId xmlns:p14="http://schemas.microsoft.com/office/powerpoint/2010/main" val="22056251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5B106E36-FD25-4E2D-B0AA-010F637433A0}" type="datetimeFigureOut">
              <a:rPr lang="ru-RU" smtClean="0"/>
              <a:pPr/>
              <a:t>12.07.2022</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725C68B6-61C2-468F-89AB-4B9F7531AA68}" type="slidenum">
              <a:rPr lang="ru-RU" smtClean="0"/>
              <a:pPr/>
              <a:t>‹#›</a:t>
            </a:fld>
            <a:endParaRPr lang="ru-RU"/>
          </a:p>
        </p:txBody>
      </p:sp>
    </p:spTree>
    <p:extLst>
      <p:ext uri="{BB962C8B-B14F-4D97-AF65-F5344CB8AC3E}">
        <p14:creationId xmlns:p14="http://schemas.microsoft.com/office/powerpoint/2010/main" val="172241566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2"/>
            <a:ext cx="10363200" cy="1362074"/>
          </a:xfrm>
        </p:spPr>
        <p:txBody>
          <a:bodyPr anchor="t"/>
          <a:lstStyle>
            <a:lvl1pPr algn="l">
              <a:defRPr sz="5289" b="1" cap="all"/>
            </a:lvl1pPr>
          </a:lstStyle>
          <a:p>
            <a:r>
              <a:rPr lang="ru-RU"/>
              <a:t>Образец заголовка</a:t>
            </a:r>
          </a:p>
        </p:txBody>
      </p:sp>
      <p:sp>
        <p:nvSpPr>
          <p:cNvPr id="3" name="Текст 2"/>
          <p:cNvSpPr>
            <a:spLocks noGrp="1"/>
          </p:cNvSpPr>
          <p:nvPr>
            <p:ph type="body" idx="1"/>
          </p:nvPr>
        </p:nvSpPr>
        <p:spPr>
          <a:xfrm>
            <a:off x="963084" y="2906715"/>
            <a:ext cx="10363200" cy="1500186"/>
          </a:xfrm>
        </p:spPr>
        <p:txBody>
          <a:bodyPr anchor="b"/>
          <a:lstStyle>
            <a:lvl1pPr marL="0" indent="0">
              <a:buNone/>
              <a:defRPr sz="2644">
                <a:solidFill>
                  <a:schemeClr val="tx1">
                    <a:tint val="75000"/>
                  </a:schemeClr>
                </a:solidFill>
              </a:defRPr>
            </a:lvl1pPr>
            <a:lvl2pPr marL="609419" indent="0">
              <a:buNone/>
              <a:defRPr sz="2434">
                <a:solidFill>
                  <a:schemeClr val="tx1">
                    <a:tint val="75000"/>
                  </a:schemeClr>
                </a:solidFill>
              </a:defRPr>
            </a:lvl2pPr>
            <a:lvl3pPr marL="1218838" indent="0">
              <a:buNone/>
              <a:defRPr sz="2115">
                <a:solidFill>
                  <a:schemeClr val="tx1">
                    <a:tint val="75000"/>
                  </a:schemeClr>
                </a:solidFill>
              </a:defRPr>
            </a:lvl3pPr>
            <a:lvl4pPr marL="1828257" indent="0">
              <a:buNone/>
              <a:defRPr sz="1905">
                <a:solidFill>
                  <a:schemeClr val="tx1">
                    <a:tint val="75000"/>
                  </a:schemeClr>
                </a:solidFill>
              </a:defRPr>
            </a:lvl4pPr>
            <a:lvl5pPr marL="2437676" indent="0">
              <a:buNone/>
              <a:defRPr sz="1905">
                <a:solidFill>
                  <a:schemeClr val="tx1">
                    <a:tint val="75000"/>
                  </a:schemeClr>
                </a:solidFill>
              </a:defRPr>
            </a:lvl5pPr>
            <a:lvl6pPr marL="3047095" indent="0">
              <a:buNone/>
              <a:defRPr sz="1905">
                <a:solidFill>
                  <a:schemeClr val="tx1">
                    <a:tint val="75000"/>
                  </a:schemeClr>
                </a:solidFill>
              </a:defRPr>
            </a:lvl6pPr>
            <a:lvl7pPr marL="3656514" indent="0">
              <a:buNone/>
              <a:defRPr sz="1905">
                <a:solidFill>
                  <a:schemeClr val="tx1">
                    <a:tint val="75000"/>
                  </a:schemeClr>
                </a:solidFill>
              </a:defRPr>
            </a:lvl7pPr>
            <a:lvl8pPr marL="4265933" indent="0">
              <a:buNone/>
              <a:defRPr sz="1905">
                <a:solidFill>
                  <a:schemeClr val="tx1">
                    <a:tint val="75000"/>
                  </a:schemeClr>
                </a:solidFill>
              </a:defRPr>
            </a:lvl8pPr>
            <a:lvl9pPr marL="4875352" indent="0">
              <a:buNone/>
              <a:defRPr sz="1905">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fld id="{5B106E36-FD25-4E2D-B0AA-010F637433A0}" type="datetimeFigureOut">
              <a:rPr lang="ru-RU" smtClean="0"/>
              <a:pPr/>
              <a:t>12.07.2022</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725C68B6-61C2-468F-89AB-4B9F7531AA68}" type="slidenum">
              <a:rPr lang="ru-RU" smtClean="0"/>
              <a:pPr/>
              <a:t>‹#›</a:t>
            </a:fld>
            <a:endParaRPr lang="ru-RU"/>
          </a:p>
        </p:txBody>
      </p:sp>
    </p:spTree>
    <p:extLst>
      <p:ext uri="{BB962C8B-B14F-4D97-AF65-F5344CB8AC3E}">
        <p14:creationId xmlns:p14="http://schemas.microsoft.com/office/powerpoint/2010/main" val="33639364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sz="half" idx="1"/>
          </p:nvPr>
        </p:nvSpPr>
        <p:spPr>
          <a:xfrm>
            <a:off x="609600" y="1600201"/>
            <a:ext cx="5384800" cy="4525963"/>
          </a:xfrm>
        </p:spPr>
        <p:txBody>
          <a:bodyPr/>
          <a:lstStyle>
            <a:lvl1pPr>
              <a:defRPr sz="3702"/>
            </a:lvl1pPr>
            <a:lvl2pPr>
              <a:defRPr sz="3173"/>
            </a:lvl2pPr>
            <a:lvl3pPr>
              <a:defRPr sz="2644"/>
            </a:lvl3pPr>
            <a:lvl4pPr>
              <a:defRPr sz="2434"/>
            </a:lvl4pPr>
            <a:lvl5pPr>
              <a:defRPr sz="2434"/>
            </a:lvl5pPr>
            <a:lvl6pPr>
              <a:defRPr sz="2434"/>
            </a:lvl6pPr>
            <a:lvl7pPr>
              <a:defRPr sz="2434"/>
            </a:lvl7pPr>
            <a:lvl8pPr>
              <a:defRPr sz="2434"/>
            </a:lvl8pPr>
            <a:lvl9pPr>
              <a:defRPr sz="2434"/>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6197600" y="1600201"/>
            <a:ext cx="5384800" cy="4525963"/>
          </a:xfrm>
        </p:spPr>
        <p:txBody>
          <a:bodyPr/>
          <a:lstStyle>
            <a:lvl1pPr>
              <a:defRPr sz="3702"/>
            </a:lvl1pPr>
            <a:lvl2pPr>
              <a:defRPr sz="3173"/>
            </a:lvl2pPr>
            <a:lvl3pPr>
              <a:defRPr sz="2644"/>
            </a:lvl3pPr>
            <a:lvl4pPr>
              <a:defRPr sz="2434"/>
            </a:lvl4pPr>
            <a:lvl5pPr>
              <a:defRPr sz="2434"/>
            </a:lvl5pPr>
            <a:lvl6pPr>
              <a:defRPr sz="2434"/>
            </a:lvl6pPr>
            <a:lvl7pPr>
              <a:defRPr sz="2434"/>
            </a:lvl7pPr>
            <a:lvl8pPr>
              <a:defRPr sz="2434"/>
            </a:lvl8pPr>
            <a:lvl9pPr>
              <a:defRPr sz="2434"/>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5B106E36-FD25-4E2D-B0AA-010F637433A0}" type="datetimeFigureOut">
              <a:rPr lang="ru-RU" smtClean="0"/>
              <a:pPr/>
              <a:t>12.07.2022</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725C68B6-61C2-468F-89AB-4B9F7531AA68}" type="slidenum">
              <a:rPr lang="ru-RU" smtClean="0"/>
              <a:pPr/>
              <a:t>‹#›</a:t>
            </a:fld>
            <a:endParaRPr lang="ru-RU"/>
          </a:p>
        </p:txBody>
      </p:sp>
    </p:spTree>
    <p:extLst>
      <p:ext uri="{BB962C8B-B14F-4D97-AF65-F5344CB8AC3E}">
        <p14:creationId xmlns:p14="http://schemas.microsoft.com/office/powerpoint/2010/main" val="31613847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a:t>Образец заголовка</a:t>
            </a:r>
          </a:p>
        </p:txBody>
      </p:sp>
      <p:sp>
        <p:nvSpPr>
          <p:cNvPr id="3" name="Текст 2"/>
          <p:cNvSpPr>
            <a:spLocks noGrp="1"/>
          </p:cNvSpPr>
          <p:nvPr>
            <p:ph type="body" idx="1"/>
          </p:nvPr>
        </p:nvSpPr>
        <p:spPr>
          <a:xfrm>
            <a:off x="609602" y="1535113"/>
            <a:ext cx="5386917" cy="639762"/>
          </a:xfrm>
        </p:spPr>
        <p:txBody>
          <a:bodyPr anchor="b"/>
          <a:lstStyle>
            <a:lvl1pPr marL="0" indent="0">
              <a:buNone/>
              <a:defRPr sz="3173" b="1"/>
            </a:lvl1pPr>
            <a:lvl2pPr marL="609419" indent="0">
              <a:buNone/>
              <a:defRPr sz="2644" b="1"/>
            </a:lvl2pPr>
            <a:lvl3pPr marL="1218838" indent="0">
              <a:buNone/>
              <a:defRPr sz="2434" b="1"/>
            </a:lvl3pPr>
            <a:lvl4pPr marL="1828257" indent="0">
              <a:buNone/>
              <a:defRPr sz="2115" b="1"/>
            </a:lvl4pPr>
            <a:lvl5pPr marL="2437676" indent="0">
              <a:buNone/>
              <a:defRPr sz="2115" b="1"/>
            </a:lvl5pPr>
            <a:lvl6pPr marL="3047095" indent="0">
              <a:buNone/>
              <a:defRPr sz="2115" b="1"/>
            </a:lvl6pPr>
            <a:lvl7pPr marL="3656514" indent="0">
              <a:buNone/>
              <a:defRPr sz="2115" b="1"/>
            </a:lvl7pPr>
            <a:lvl8pPr marL="4265933" indent="0">
              <a:buNone/>
              <a:defRPr sz="2115" b="1"/>
            </a:lvl8pPr>
            <a:lvl9pPr marL="4875352" indent="0">
              <a:buNone/>
              <a:defRPr sz="2115" b="1"/>
            </a:lvl9pPr>
          </a:lstStyle>
          <a:p>
            <a:pPr lvl="0"/>
            <a:r>
              <a:rPr lang="ru-RU"/>
              <a:t>Образец текста</a:t>
            </a:r>
          </a:p>
        </p:txBody>
      </p:sp>
      <p:sp>
        <p:nvSpPr>
          <p:cNvPr id="4" name="Содержимое 3"/>
          <p:cNvSpPr>
            <a:spLocks noGrp="1"/>
          </p:cNvSpPr>
          <p:nvPr>
            <p:ph sz="half" idx="2"/>
          </p:nvPr>
        </p:nvSpPr>
        <p:spPr>
          <a:xfrm>
            <a:off x="609602" y="2174876"/>
            <a:ext cx="5386917" cy="3951288"/>
          </a:xfrm>
        </p:spPr>
        <p:txBody>
          <a:bodyPr/>
          <a:lstStyle>
            <a:lvl1pPr>
              <a:defRPr sz="3173"/>
            </a:lvl1pPr>
            <a:lvl2pPr>
              <a:defRPr sz="2644"/>
            </a:lvl2pPr>
            <a:lvl3pPr>
              <a:defRPr sz="2434"/>
            </a:lvl3pPr>
            <a:lvl4pPr>
              <a:defRPr sz="2115"/>
            </a:lvl4pPr>
            <a:lvl5pPr>
              <a:defRPr sz="2115"/>
            </a:lvl5pPr>
            <a:lvl6pPr>
              <a:defRPr sz="2115"/>
            </a:lvl6pPr>
            <a:lvl7pPr>
              <a:defRPr sz="2115"/>
            </a:lvl7pPr>
            <a:lvl8pPr>
              <a:defRPr sz="2115"/>
            </a:lvl8pPr>
            <a:lvl9pPr>
              <a:defRPr sz="2115"/>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6193370" y="1535113"/>
            <a:ext cx="5389033" cy="639762"/>
          </a:xfrm>
        </p:spPr>
        <p:txBody>
          <a:bodyPr anchor="b"/>
          <a:lstStyle>
            <a:lvl1pPr marL="0" indent="0">
              <a:buNone/>
              <a:defRPr sz="3173" b="1"/>
            </a:lvl1pPr>
            <a:lvl2pPr marL="609419" indent="0">
              <a:buNone/>
              <a:defRPr sz="2644" b="1"/>
            </a:lvl2pPr>
            <a:lvl3pPr marL="1218838" indent="0">
              <a:buNone/>
              <a:defRPr sz="2434" b="1"/>
            </a:lvl3pPr>
            <a:lvl4pPr marL="1828257" indent="0">
              <a:buNone/>
              <a:defRPr sz="2115" b="1"/>
            </a:lvl4pPr>
            <a:lvl5pPr marL="2437676" indent="0">
              <a:buNone/>
              <a:defRPr sz="2115" b="1"/>
            </a:lvl5pPr>
            <a:lvl6pPr marL="3047095" indent="0">
              <a:buNone/>
              <a:defRPr sz="2115" b="1"/>
            </a:lvl6pPr>
            <a:lvl7pPr marL="3656514" indent="0">
              <a:buNone/>
              <a:defRPr sz="2115" b="1"/>
            </a:lvl7pPr>
            <a:lvl8pPr marL="4265933" indent="0">
              <a:buNone/>
              <a:defRPr sz="2115" b="1"/>
            </a:lvl8pPr>
            <a:lvl9pPr marL="4875352" indent="0">
              <a:buNone/>
              <a:defRPr sz="2115" b="1"/>
            </a:lvl9pPr>
          </a:lstStyle>
          <a:p>
            <a:pPr lvl="0"/>
            <a:r>
              <a:rPr lang="ru-RU"/>
              <a:t>Образец текста</a:t>
            </a:r>
          </a:p>
        </p:txBody>
      </p:sp>
      <p:sp>
        <p:nvSpPr>
          <p:cNvPr id="6" name="Содержимое 5"/>
          <p:cNvSpPr>
            <a:spLocks noGrp="1"/>
          </p:cNvSpPr>
          <p:nvPr>
            <p:ph sz="quarter" idx="4"/>
          </p:nvPr>
        </p:nvSpPr>
        <p:spPr>
          <a:xfrm>
            <a:off x="6193370" y="2174876"/>
            <a:ext cx="5389033" cy="3951288"/>
          </a:xfrm>
        </p:spPr>
        <p:txBody>
          <a:bodyPr/>
          <a:lstStyle>
            <a:lvl1pPr>
              <a:defRPr sz="3173"/>
            </a:lvl1pPr>
            <a:lvl2pPr>
              <a:defRPr sz="2644"/>
            </a:lvl2pPr>
            <a:lvl3pPr>
              <a:defRPr sz="2434"/>
            </a:lvl3pPr>
            <a:lvl4pPr>
              <a:defRPr sz="2115"/>
            </a:lvl4pPr>
            <a:lvl5pPr>
              <a:defRPr sz="2115"/>
            </a:lvl5pPr>
            <a:lvl6pPr>
              <a:defRPr sz="2115"/>
            </a:lvl6pPr>
            <a:lvl7pPr>
              <a:defRPr sz="2115"/>
            </a:lvl7pPr>
            <a:lvl8pPr>
              <a:defRPr sz="2115"/>
            </a:lvl8pPr>
            <a:lvl9pPr>
              <a:defRPr sz="2115"/>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fld id="{5B106E36-FD25-4E2D-B0AA-010F637433A0}" type="datetimeFigureOut">
              <a:rPr lang="ru-RU" smtClean="0"/>
              <a:pPr/>
              <a:t>12.07.2022</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725C68B6-61C2-468F-89AB-4B9F7531AA68}" type="slidenum">
              <a:rPr lang="ru-RU" smtClean="0"/>
              <a:pPr/>
              <a:t>‹#›</a:t>
            </a:fld>
            <a:endParaRPr lang="ru-RU"/>
          </a:p>
        </p:txBody>
      </p:sp>
    </p:spTree>
    <p:extLst>
      <p:ext uri="{BB962C8B-B14F-4D97-AF65-F5344CB8AC3E}">
        <p14:creationId xmlns:p14="http://schemas.microsoft.com/office/powerpoint/2010/main" val="38269425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p:bg>
      <p:bgPr>
        <a:solidFill>
          <a:srgbClr val="FFFFFF"/>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DCF413E9-40E0-A046-93E5-106433A7494D}"/>
              </a:ext>
            </a:extLst>
          </p:cNvPr>
          <p:cNvSpPr>
            <a:spLocks noGrp="1"/>
          </p:cNvSpPr>
          <p:nvPr>
            <p:ph type="pic" sz="quarter" idx="13"/>
          </p:nvPr>
        </p:nvSpPr>
        <p:spPr>
          <a:xfrm>
            <a:off x="7124040" y="1"/>
            <a:ext cx="5067961" cy="6858000"/>
          </a:xfrm>
          <a:prstGeom prst="rect">
            <a:avLst/>
          </a:prstGeom>
        </p:spPr>
        <p:txBody>
          <a:bodyPr anchor="ctr"/>
          <a:lstStyle>
            <a:lvl1pPr algn="ctr">
              <a:buFontTx/>
              <a:buNone/>
              <a:defRPr sz="2116"/>
            </a:lvl1pPr>
          </a:lstStyle>
          <a:p>
            <a:endParaRPr lang="x-none"/>
          </a:p>
        </p:txBody>
      </p:sp>
      <p:sp>
        <p:nvSpPr>
          <p:cNvPr id="16" name="Title 1">
            <a:extLst>
              <a:ext uri="{FF2B5EF4-FFF2-40B4-BE49-F238E27FC236}">
                <a16:creationId xmlns:a16="http://schemas.microsoft.com/office/drawing/2014/main" id="{ED9D474A-60EC-E841-9105-E6C880456429}"/>
              </a:ext>
            </a:extLst>
          </p:cNvPr>
          <p:cNvSpPr>
            <a:spLocks noGrp="1"/>
          </p:cNvSpPr>
          <p:nvPr>
            <p:ph type="ctrTitle" hasCustomPrompt="1"/>
          </p:nvPr>
        </p:nvSpPr>
        <p:spPr>
          <a:xfrm>
            <a:off x="170299" y="2123759"/>
            <a:ext cx="6802558" cy="2257835"/>
          </a:xfrm>
          <a:prstGeom prst="rect">
            <a:avLst/>
          </a:prstGeom>
          <a:noFill/>
        </p:spPr>
        <p:txBody>
          <a:bodyPr lIns="180000" tIns="180000" rIns="864000" bIns="36000" anchor="t" anchorCtr="0">
            <a:noAutofit/>
          </a:bodyPr>
          <a:lstStyle>
            <a:lvl1pPr algn="l">
              <a:lnSpc>
                <a:spcPct val="100000"/>
              </a:lnSpc>
              <a:defRPr sz="4973" b="0" i="0" cap="none" spc="212" baseline="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Title slide header</a:t>
            </a:r>
            <a:r>
              <a:rPr lang="mr-IN" dirty="0"/>
              <a:t>…</a:t>
            </a:r>
            <a:endParaRPr lang="en-US" dirty="0"/>
          </a:p>
        </p:txBody>
      </p:sp>
      <p:sp>
        <p:nvSpPr>
          <p:cNvPr id="17" name="Text Placeholder 10">
            <a:extLst>
              <a:ext uri="{FF2B5EF4-FFF2-40B4-BE49-F238E27FC236}">
                <a16:creationId xmlns:a16="http://schemas.microsoft.com/office/drawing/2014/main" id="{363FA0F8-BE28-4D42-9479-7121AA2286EB}"/>
              </a:ext>
            </a:extLst>
          </p:cNvPr>
          <p:cNvSpPr>
            <a:spLocks noGrp="1"/>
          </p:cNvSpPr>
          <p:nvPr>
            <p:ph type="body" sz="quarter" idx="12" hasCustomPrompt="1"/>
          </p:nvPr>
        </p:nvSpPr>
        <p:spPr>
          <a:xfrm>
            <a:off x="219214" y="4541755"/>
            <a:ext cx="5810433" cy="869714"/>
          </a:xfrm>
          <a:prstGeom prst="rect">
            <a:avLst/>
          </a:prstGeom>
        </p:spPr>
        <p:txBody>
          <a:bodyPr lIns="180000" rIns="864000" anchor="t"/>
          <a:lstStyle>
            <a:lvl1pPr marL="0" marR="0" indent="0" algn="l" defTabSz="967527" rtl="0" eaLnBrk="1" fontAlgn="auto" latinLnBrk="0" hangingPunct="1">
              <a:lnSpc>
                <a:spcPct val="100000"/>
              </a:lnSpc>
              <a:spcBef>
                <a:spcPct val="20000"/>
              </a:spcBef>
              <a:spcAft>
                <a:spcPts val="0"/>
              </a:spcAft>
              <a:buClrTx/>
              <a:buSzTx/>
              <a:buFontTx/>
              <a:buNone/>
              <a:tabLst/>
              <a:defRPr lang="en-GB" sz="1905" b="0" i="0" smtClean="0">
                <a:solidFill>
                  <a:srgbClr val="19212C"/>
                </a:solidFill>
                <a:effectLst/>
              </a:defRPr>
            </a:lvl1pPr>
          </a:lstStyle>
          <a:p>
            <a:pPr marL="0" marR="0" lvl="0" indent="0" algn="l" defTabSz="967527" rtl="0" eaLnBrk="1" fontAlgn="auto" latinLnBrk="0" hangingPunct="1">
              <a:lnSpc>
                <a:spcPct val="100000"/>
              </a:lnSpc>
              <a:spcBef>
                <a:spcPct val="20000"/>
              </a:spcBef>
              <a:spcAft>
                <a:spcPts val="0"/>
              </a:spcAft>
              <a:buClrTx/>
              <a:buSzTx/>
              <a:buFontTx/>
              <a:buNone/>
              <a:tabLst/>
              <a:defRPr/>
            </a:pPr>
            <a:r>
              <a:rPr lang="en-US" dirty="0"/>
              <a:t>Lorem ipsum dolor sit </a:t>
            </a:r>
            <a:r>
              <a:rPr lang="en-US" dirty="0" err="1"/>
              <a:t>amet</a:t>
            </a:r>
            <a:r>
              <a:rPr lang="ru-RU" dirty="0"/>
              <a:t>, </a:t>
            </a:r>
            <a:r>
              <a:rPr lang="en-GB" dirty="0" err="1"/>
              <a:t>consectetur</a:t>
            </a:r>
            <a:r>
              <a:rPr lang="en-GB" dirty="0"/>
              <a:t> </a:t>
            </a:r>
            <a:r>
              <a:rPr lang="en-GB" dirty="0" err="1"/>
              <a:t>adipiscing</a:t>
            </a:r>
            <a:r>
              <a:rPr lang="ru-RU" dirty="0"/>
              <a:t> </a:t>
            </a:r>
            <a:endParaRPr lang="x-none" dirty="0"/>
          </a:p>
        </p:txBody>
      </p:sp>
      <p:sp>
        <p:nvSpPr>
          <p:cNvPr id="19" name="Text Placeholder 10">
            <a:extLst>
              <a:ext uri="{FF2B5EF4-FFF2-40B4-BE49-F238E27FC236}">
                <a16:creationId xmlns:a16="http://schemas.microsoft.com/office/drawing/2014/main" id="{478953E9-97B3-7349-B94E-9C0EAD1142C2}"/>
              </a:ext>
            </a:extLst>
          </p:cNvPr>
          <p:cNvSpPr>
            <a:spLocks noGrp="1"/>
          </p:cNvSpPr>
          <p:nvPr>
            <p:ph type="body" sz="quarter" idx="11" hasCustomPrompt="1"/>
          </p:nvPr>
        </p:nvSpPr>
        <p:spPr>
          <a:xfrm>
            <a:off x="2144846" y="5664000"/>
            <a:ext cx="2482010" cy="888610"/>
          </a:xfrm>
          <a:prstGeom prst="rect">
            <a:avLst/>
          </a:prstGeom>
        </p:spPr>
        <p:txBody>
          <a:bodyPr lIns="180000" rIns="864000" anchor="b"/>
          <a:lstStyle>
            <a:lvl1pPr marL="0" indent="0">
              <a:buFontTx/>
              <a:buNone/>
              <a:defRPr sz="1376"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Докладчик</a:t>
            </a:r>
            <a:br>
              <a:rPr lang="ru-RU" dirty="0"/>
            </a:br>
            <a:r>
              <a:rPr lang="ru-RU" dirty="0"/>
              <a:t>Фамилия Имя Отчество</a:t>
            </a:r>
            <a:endParaRPr lang="x-none" dirty="0"/>
          </a:p>
        </p:txBody>
      </p:sp>
      <p:sp>
        <p:nvSpPr>
          <p:cNvPr id="20" name="Text Placeholder 10">
            <a:extLst>
              <a:ext uri="{FF2B5EF4-FFF2-40B4-BE49-F238E27FC236}">
                <a16:creationId xmlns:a16="http://schemas.microsoft.com/office/drawing/2014/main" id="{01D04850-D4C9-544F-ABD2-B2DF7CEDC3E1}"/>
              </a:ext>
            </a:extLst>
          </p:cNvPr>
          <p:cNvSpPr>
            <a:spLocks noGrp="1"/>
          </p:cNvSpPr>
          <p:nvPr>
            <p:ph type="body" sz="quarter" idx="10" hasCustomPrompt="1"/>
          </p:nvPr>
        </p:nvSpPr>
        <p:spPr>
          <a:xfrm>
            <a:off x="5029326" y="5680455"/>
            <a:ext cx="1943531" cy="888610"/>
          </a:xfrm>
          <a:prstGeom prst="rect">
            <a:avLst/>
          </a:prstGeom>
        </p:spPr>
        <p:txBody>
          <a:bodyPr lIns="180000" rIns="864000" anchor="b"/>
          <a:lstStyle>
            <a:lvl1pPr marL="0" indent="0">
              <a:buFontTx/>
              <a:buNone/>
              <a:defRPr sz="1376" b="0" i="0">
                <a:solidFill>
                  <a:srgbClr val="E41910"/>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Subtitle</a:t>
            </a:r>
            <a:endParaRPr lang="x-none" dirty="0"/>
          </a:p>
        </p:txBody>
      </p:sp>
      <p:grpSp>
        <p:nvGrpSpPr>
          <p:cNvPr id="9" name="Graphic 2">
            <a:extLst>
              <a:ext uri="{FF2B5EF4-FFF2-40B4-BE49-F238E27FC236}">
                <a16:creationId xmlns:a16="http://schemas.microsoft.com/office/drawing/2014/main" id="{8C0088D3-3FA6-534C-8282-796801C56328}"/>
              </a:ext>
            </a:extLst>
          </p:cNvPr>
          <p:cNvGrpSpPr/>
          <p:nvPr userDrawn="1"/>
        </p:nvGrpSpPr>
        <p:grpSpPr>
          <a:xfrm>
            <a:off x="388590" y="430156"/>
            <a:ext cx="792312" cy="841885"/>
            <a:chOff x="4522787" y="1925637"/>
            <a:chExt cx="2472690" cy="2627001"/>
          </a:xfrm>
        </p:grpSpPr>
        <p:sp>
          <p:nvSpPr>
            <p:cNvPr id="11" name="Freeform 10">
              <a:extLst>
                <a:ext uri="{FF2B5EF4-FFF2-40B4-BE49-F238E27FC236}">
                  <a16:creationId xmlns:a16="http://schemas.microsoft.com/office/drawing/2014/main" id="{351EB077-9AD1-B445-86CD-DC4638C0C451}"/>
                </a:ext>
              </a:extLst>
            </p:cNvPr>
            <p:cNvSpPr/>
            <p:nvPr/>
          </p:nvSpPr>
          <p:spPr>
            <a:xfrm>
              <a:off x="4522787" y="1925637"/>
              <a:ext cx="2472690" cy="1641876"/>
            </a:xfrm>
            <a:custGeom>
              <a:avLst/>
              <a:gdLst>
                <a:gd name="connsiteX0" fmla="*/ 700088 w 2472690"/>
                <a:gd name="connsiteY0" fmla="*/ 820938 h 1641876"/>
                <a:gd name="connsiteX1" fmla="*/ 1235393 w 2472690"/>
                <a:gd name="connsiteY1" fmla="*/ 287566 h 1641876"/>
                <a:gd name="connsiteX2" fmla="*/ 1497330 w 2472690"/>
                <a:gd name="connsiteY2" fmla="*/ 355898 h 1641876"/>
                <a:gd name="connsiteX3" fmla="*/ 1497330 w 2472690"/>
                <a:gd name="connsiteY3" fmla="*/ 0 h 1641876"/>
                <a:gd name="connsiteX4" fmla="*/ 0 w 2472690"/>
                <a:gd name="connsiteY4" fmla="*/ 647260 h 1641876"/>
                <a:gd name="connsiteX5" fmla="*/ 0 w 2472690"/>
                <a:gd name="connsiteY5" fmla="*/ 1641876 h 1641876"/>
                <a:gd name="connsiteX6" fmla="*/ 914400 w 2472690"/>
                <a:gd name="connsiteY6" fmla="*/ 1247067 h 1641876"/>
                <a:gd name="connsiteX7" fmla="*/ 700088 w 2472690"/>
                <a:gd name="connsiteY7" fmla="*/ 820938 h 1641876"/>
                <a:gd name="connsiteX8" fmla="*/ 1558290 w 2472690"/>
                <a:gd name="connsiteY8" fmla="*/ 394810 h 1641876"/>
                <a:gd name="connsiteX9" fmla="*/ 1771650 w 2472690"/>
                <a:gd name="connsiteY9" fmla="*/ 820938 h 1641876"/>
                <a:gd name="connsiteX10" fmla="*/ 1236345 w 2472690"/>
                <a:gd name="connsiteY10" fmla="*/ 1354311 h 1641876"/>
                <a:gd name="connsiteX11" fmla="*/ 974408 w 2472690"/>
                <a:gd name="connsiteY11" fmla="*/ 1285978 h 1641876"/>
                <a:gd name="connsiteX12" fmla="*/ 974408 w 2472690"/>
                <a:gd name="connsiteY12" fmla="*/ 1641876 h 1641876"/>
                <a:gd name="connsiteX13" fmla="*/ 2472690 w 2472690"/>
                <a:gd name="connsiteY13" fmla="*/ 994616 h 1641876"/>
                <a:gd name="connsiteX14" fmla="*/ 2472690 w 2472690"/>
                <a:gd name="connsiteY14" fmla="*/ 0 h 1641876"/>
                <a:gd name="connsiteX15" fmla="*/ 1558290 w 2472690"/>
                <a:gd name="connsiteY15" fmla="*/ 394810 h 164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72690" h="1641876">
                  <a:moveTo>
                    <a:pt x="700088" y="820938"/>
                  </a:moveTo>
                  <a:cubicBezTo>
                    <a:pt x="700088" y="525780"/>
                    <a:pt x="940118" y="287566"/>
                    <a:pt x="1235393" y="287566"/>
                  </a:cubicBezTo>
                  <a:cubicBezTo>
                    <a:pt x="1330643" y="287566"/>
                    <a:pt x="1420178" y="312241"/>
                    <a:pt x="1497330" y="355898"/>
                  </a:cubicBezTo>
                  <a:lnTo>
                    <a:pt x="1497330" y="0"/>
                  </a:lnTo>
                  <a:lnTo>
                    <a:pt x="0" y="647260"/>
                  </a:lnTo>
                  <a:lnTo>
                    <a:pt x="0" y="1641876"/>
                  </a:lnTo>
                  <a:lnTo>
                    <a:pt x="914400" y="1247067"/>
                  </a:lnTo>
                  <a:cubicBezTo>
                    <a:pt x="784860" y="1150262"/>
                    <a:pt x="700088" y="995565"/>
                    <a:pt x="700088" y="820938"/>
                  </a:cubicBezTo>
                  <a:close/>
                  <a:moveTo>
                    <a:pt x="1558290" y="394810"/>
                  </a:moveTo>
                  <a:cubicBezTo>
                    <a:pt x="1687830" y="491614"/>
                    <a:pt x="1771650" y="647260"/>
                    <a:pt x="1771650" y="820938"/>
                  </a:cubicBezTo>
                  <a:cubicBezTo>
                    <a:pt x="1771650" y="1116096"/>
                    <a:pt x="1531620" y="1354311"/>
                    <a:pt x="1236345" y="1354311"/>
                  </a:cubicBezTo>
                  <a:cubicBezTo>
                    <a:pt x="1141095" y="1354311"/>
                    <a:pt x="1051560" y="1329635"/>
                    <a:pt x="974408" y="1285978"/>
                  </a:cubicBezTo>
                  <a:lnTo>
                    <a:pt x="974408" y="1641876"/>
                  </a:lnTo>
                  <a:lnTo>
                    <a:pt x="2472690" y="994616"/>
                  </a:lnTo>
                  <a:lnTo>
                    <a:pt x="2472690" y="0"/>
                  </a:lnTo>
                  <a:lnTo>
                    <a:pt x="1558290" y="394810"/>
                  </a:lnTo>
                  <a:close/>
                </a:path>
              </a:pathLst>
            </a:custGeom>
            <a:solidFill>
              <a:srgbClr val="7F8183"/>
            </a:solidFill>
            <a:ln w="9525" cap="flat">
              <a:noFill/>
              <a:prstDash val="solid"/>
              <a:miter/>
            </a:ln>
          </p:spPr>
          <p:txBody>
            <a:bodyPr rtlCol="0" anchor="ctr"/>
            <a:lstStyle/>
            <a:p>
              <a:endParaRPr lang="x-none" sz="1905"/>
            </a:p>
          </p:txBody>
        </p:sp>
        <p:sp>
          <p:nvSpPr>
            <p:cNvPr id="12" name="Freeform 11">
              <a:extLst>
                <a:ext uri="{FF2B5EF4-FFF2-40B4-BE49-F238E27FC236}">
                  <a16:creationId xmlns:a16="http://schemas.microsoft.com/office/drawing/2014/main" id="{F6ECA50A-7DD1-7640-BFAB-C6BF76ACE5E4}"/>
                </a:ext>
              </a:extLst>
            </p:cNvPr>
            <p:cNvSpPr/>
            <p:nvPr/>
          </p:nvSpPr>
          <p:spPr>
            <a:xfrm>
              <a:off x="5470524" y="2459009"/>
              <a:ext cx="577215" cy="575131"/>
            </a:xfrm>
            <a:custGeom>
              <a:avLst/>
              <a:gdLst>
                <a:gd name="connsiteX0" fmla="*/ 577215 w 577215"/>
                <a:gd name="connsiteY0" fmla="*/ 287566 h 575131"/>
                <a:gd name="connsiteX1" fmla="*/ 288608 w 577215"/>
                <a:gd name="connsiteY1" fmla="*/ 575131 h 575131"/>
                <a:gd name="connsiteX2" fmla="*/ 0 w 577215"/>
                <a:gd name="connsiteY2" fmla="*/ 287566 h 575131"/>
                <a:gd name="connsiteX3" fmla="*/ 288608 w 577215"/>
                <a:gd name="connsiteY3" fmla="*/ 0 h 575131"/>
                <a:gd name="connsiteX4" fmla="*/ 577215 w 577215"/>
                <a:gd name="connsiteY4" fmla="*/ 287566 h 57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15" h="575131">
                  <a:moveTo>
                    <a:pt x="577215" y="287566"/>
                  </a:moveTo>
                  <a:cubicBezTo>
                    <a:pt x="577215" y="446059"/>
                    <a:pt x="447675" y="575131"/>
                    <a:pt x="288608" y="575131"/>
                  </a:cubicBezTo>
                  <a:cubicBezTo>
                    <a:pt x="129540" y="575131"/>
                    <a:pt x="0" y="446059"/>
                    <a:pt x="0" y="287566"/>
                  </a:cubicBezTo>
                  <a:cubicBezTo>
                    <a:pt x="0" y="129072"/>
                    <a:pt x="129540" y="0"/>
                    <a:pt x="288608" y="0"/>
                  </a:cubicBezTo>
                  <a:cubicBezTo>
                    <a:pt x="447675" y="0"/>
                    <a:pt x="577215" y="129072"/>
                    <a:pt x="577215" y="287566"/>
                  </a:cubicBezTo>
                  <a:close/>
                </a:path>
              </a:pathLst>
            </a:custGeom>
            <a:solidFill>
              <a:srgbClr val="E72B2B"/>
            </a:solidFill>
            <a:ln w="9525" cap="flat">
              <a:noFill/>
              <a:prstDash val="solid"/>
              <a:miter/>
            </a:ln>
          </p:spPr>
          <p:txBody>
            <a:bodyPr rtlCol="0" anchor="ctr"/>
            <a:lstStyle/>
            <a:p>
              <a:endParaRPr lang="x-none" sz="1905"/>
            </a:p>
          </p:txBody>
        </p:sp>
        <p:sp>
          <p:nvSpPr>
            <p:cNvPr id="14" name="Freeform 13">
              <a:extLst>
                <a:ext uri="{FF2B5EF4-FFF2-40B4-BE49-F238E27FC236}">
                  <a16:creationId xmlns:a16="http://schemas.microsoft.com/office/drawing/2014/main" id="{F409EFD2-1E5F-934E-98FC-CB0FB9891DAB}"/>
                </a:ext>
              </a:extLst>
            </p:cNvPr>
            <p:cNvSpPr/>
            <p:nvPr/>
          </p:nvSpPr>
          <p:spPr>
            <a:xfrm>
              <a:off x="4522787" y="3863620"/>
              <a:ext cx="2472690" cy="689018"/>
            </a:xfrm>
            <a:custGeom>
              <a:avLst/>
              <a:gdLst>
                <a:gd name="connsiteX0" fmla="*/ 345758 w 2472690"/>
                <a:gd name="connsiteY0" fmla="*/ 0 h 689018"/>
                <a:gd name="connsiteX1" fmla="*/ 0 w 2472690"/>
                <a:gd name="connsiteY1" fmla="*/ 344509 h 689018"/>
                <a:gd name="connsiteX2" fmla="*/ 345758 w 2472690"/>
                <a:gd name="connsiteY2" fmla="*/ 689019 h 689018"/>
                <a:gd name="connsiteX3" fmla="*/ 691515 w 2472690"/>
                <a:gd name="connsiteY3" fmla="*/ 344509 h 689018"/>
                <a:gd name="connsiteX4" fmla="*/ 345758 w 2472690"/>
                <a:gd name="connsiteY4" fmla="*/ 0 h 689018"/>
                <a:gd name="connsiteX5" fmla="*/ 345758 w 2472690"/>
                <a:gd name="connsiteY5" fmla="*/ 525780 h 689018"/>
                <a:gd name="connsiteX6" fmla="*/ 164783 w 2472690"/>
                <a:gd name="connsiteY6" fmla="*/ 345458 h 689018"/>
                <a:gd name="connsiteX7" fmla="*/ 345758 w 2472690"/>
                <a:gd name="connsiteY7" fmla="*/ 165137 h 689018"/>
                <a:gd name="connsiteX8" fmla="*/ 526733 w 2472690"/>
                <a:gd name="connsiteY8" fmla="*/ 345458 h 689018"/>
                <a:gd name="connsiteX9" fmla="*/ 345758 w 2472690"/>
                <a:gd name="connsiteY9" fmla="*/ 525780 h 689018"/>
                <a:gd name="connsiteX10" fmla="*/ 1253490 w 2472690"/>
                <a:gd name="connsiteY10" fmla="*/ 284718 h 689018"/>
                <a:gd name="connsiteX11" fmla="*/ 1063943 w 2472690"/>
                <a:gd name="connsiteY11" fmla="*/ 17083 h 689018"/>
                <a:gd name="connsiteX12" fmla="*/ 899160 w 2472690"/>
                <a:gd name="connsiteY12" fmla="*/ 17083 h 689018"/>
                <a:gd name="connsiteX13" fmla="*/ 899160 w 2472690"/>
                <a:gd name="connsiteY13" fmla="*/ 673834 h 689018"/>
                <a:gd name="connsiteX14" fmla="*/ 1063943 w 2472690"/>
                <a:gd name="connsiteY14" fmla="*/ 673834 h 689018"/>
                <a:gd name="connsiteX15" fmla="*/ 1063943 w 2472690"/>
                <a:gd name="connsiteY15" fmla="*/ 301802 h 689018"/>
                <a:gd name="connsiteX16" fmla="*/ 1152525 w 2472690"/>
                <a:gd name="connsiteY16" fmla="*/ 427078 h 689018"/>
                <a:gd name="connsiteX17" fmla="*/ 1253490 w 2472690"/>
                <a:gd name="connsiteY17" fmla="*/ 569437 h 689018"/>
                <a:gd name="connsiteX18" fmla="*/ 1354455 w 2472690"/>
                <a:gd name="connsiteY18" fmla="*/ 427078 h 689018"/>
                <a:gd name="connsiteX19" fmla="*/ 1443038 w 2472690"/>
                <a:gd name="connsiteY19" fmla="*/ 301802 h 689018"/>
                <a:gd name="connsiteX20" fmla="*/ 1443038 w 2472690"/>
                <a:gd name="connsiteY20" fmla="*/ 673834 h 689018"/>
                <a:gd name="connsiteX21" fmla="*/ 1607820 w 2472690"/>
                <a:gd name="connsiteY21" fmla="*/ 673834 h 689018"/>
                <a:gd name="connsiteX22" fmla="*/ 1607820 w 2472690"/>
                <a:gd name="connsiteY22" fmla="*/ 17083 h 689018"/>
                <a:gd name="connsiteX23" fmla="*/ 1443038 w 2472690"/>
                <a:gd name="connsiteY23" fmla="*/ 17083 h 689018"/>
                <a:gd name="connsiteX24" fmla="*/ 1253490 w 2472690"/>
                <a:gd name="connsiteY24" fmla="*/ 284718 h 689018"/>
                <a:gd name="connsiteX25" fmla="*/ 2472690 w 2472690"/>
                <a:gd name="connsiteY25" fmla="*/ 18032 h 689018"/>
                <a:gd name="connsiteX26" fmla="*/ 2270760 w 2472690"/>
                <a:gd name="connsiteY26" fmla="*/ 18032 h 689018"/>
                <a:gd name="connsiteX27" fmla="*/ 2037398 w 2472690"/>
                <a:gd name="connsiteY27" fmla="*/ 336917 h 689018"/>
                <a:gd name="connsiteX28" fmla="*/ 2037398 w 2472690"/>
                <a:gd name="connsiteY28" fmla="*/ 18032 h 689018"/>
                <a:gd name="connsiteX29" fmla="*/ 1872615 w 2472690"/>
                <a:gd name="connsiteY29" fmla="*/ 18032 h 689018"/>
                <a:gd name="connsiteX30" fmla="*/ 1872615 w 2472690"/>
                <a:gd name="connsiteY30" fmla="*/ 674783 h 689018"/>
                <a:gd name="connsiteX31" fmla="*/ 2037398 w 2472690"/>
                <a:gd name="connsiteY31" fmla="*/ 674783 h 689018"/>
                <a:gd name="connsiteX32" fmla="*/ 2037398 w 2472690"/>
                <a:gd name="connsiteY32" fmla="*/ 354000 h 689018"/>
                <a:gd name="connsiteX33" fmla="*/ 2270760 w 2472690"/>
                <a:gd name="connsiteY33" fmla="*/ 674783 h 689018"/>
                <a:gd name="connsiteX34" fmla="*/ 2472690 w 2472690"/>
                <a:gd name="connsiteY34" fmla="*/ 674783 h 689018"/>
                <a:gd name="connsiteX35" fmla="*/ 2231708 w 2472690"/>
                <a:gd name="connsiteY35" fmla="*/ 346407 h 689018"/>
                <a:gd name="connsiteX36" fmla="*/ 2472690 w 2472690"/>
                <a:gd name="connsiteY36" fmla="*/ 18032 h 68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72690" h="689018">
                  <a:moveTo>
                    <a:pt x="345758" y="0"/>
                  </a:moveTo>
                  <a:cubicBezTo>
                    <a:pt x="155258" y="0"/>
                    <a:pt x="0" y="154697"/>
                    <a:pt x="0" y="344509"/>
                  </a:cubicBezTo>
                  <a:cubicBezTo>
                    <a:pt x="0" y="535271"/>
                    <a:pt x="155258" y="689019"/>
                    <a:pt x="345758" y="689019"/>
                  </a:cubicBezTo>
                  <a:cubicBezTo>
                    <a:pt x="537210" y="689019"/>
                    <a:pt x="691515" y="534322"/>
                    <a:pt x="691515" y="344509"/>
                  </a:cubicBezTo>
                  <a:cubicBezTo>
                    <a:pt x="692468" y="154697"/>
                    <a:pt x="537210" y="0"/>
                    <a:pt x="345758" y="0"/>
                  </a:cubicBezTo>
                  <a:close/>
                  <a:moveTo>
                    <a:pt x="345758" y="525780"/>
                  </a:moveTo>
                  <a:cubicBezTo>
                    <a:pt x="245745" y="525780"/>
                    <a:pt x="164783" y="445110"/>
                    <a:pt x="164783" y="345458"/>
                  </a:cubicBezTo>
                  <a:cubicBezTo>
                    <a:pt x="164783" y="245807"/>
                    <a:pt x="245745" y="165137"/>
                    <a:pt x="345758" y="165137"/>
                  </a:cubicBezTo>
                  <a:cubicBezTo>
                    <a:pt x="445770" y="165137"/>
                    <a:pt x="526733" y="245807"/>
                    <a:pt x="526733" y="345458"/>
                  </a:cubicBezTo>
                  <a:cubicBezTo>
                    <a:pt x="527685" y="444161"/>
                    <a:pt x="445770" y="525780"/>
                    <a:pt x="345758" y="525780"/>
                  </a:cubicBezTo>
                  <a:close/>
                  <a:moveTo>
                    <a:pt x="1253490" y="284718"/>
                  </a:moveTo>
                  <a:lnTo>
                    <a:pt x="1063943" y="17083"/>
                  </a:lnTo>
                  <a:lnTo>
                    <a:pt x="899160" y="17083"/>
                  </a:lnTo>
                  <a:lnTo>
                    <a:pt x="899160" y="673834"/>
                  </a:lnTo>
                  <a:lnTo>
                    <a:pt x="1063943" y="673834"/>
                  </a:lnTo>
                  <a:lnTo>
                    <a:pt x="1063943" y="301802"/>
                  </a:lnTo>
                  <a:lnTo>
                    <a:pt x="1152525" y="427078"/>
                  </a:lnTo>
                  <a:lnTo>
                    <a:pt x="1253490" y="569437"/>
                  </a:lnTo>
                  <a:lnTo>
                    <a:pt x="1354455" y="427078"/>
                  </a:lnTo>
                  <a:lnTo>
                    <a:pt x="1443038" y="301802"/>
                  </a:lnTo>
                  <a:lnTo>
                    <a:pt x="1443038" y="673834"/>
                  </a:lnTo>
                  <a:lnTo>
                    <a:pt x="1607820" y="673834"/>
                  </a:lnTo>
                  <a:lnTo>
                    <a:pt x="1607820" y="17083"/>
                  </a:lnTo>
                  <a:lnTo>
                    <a:pt x="1443038" y="17083"/>
                  </a:lnTo>
                  <a:lnTo>
                    <a:pt x="1253490" y="284718"/>
                  </a:lnTo>
                  <a:close/>
                  <a:moveTo>
                    <a:pt x="2472690" y="18032"/>
                  </a:moveTo>
                  <a:lnTo>
                    <a:pt x="2270760" y="18032"/>
                  </a:lnTo>
                  <a:lnTo>
                    <a:pt x="2037398" y="336917"/>
                  </a:lnTo>
                  <a:lnTo>
                    <a:pt x="2037398" y="18032"/>
                  </a:lnTo>
                  <a:lnTo>
                    <a:pt x="1872615" y="18032"/>
                  </a:lnTo>
                  <a:lnTo>
                    <a:pt x="1872615" y="674783"/>
                  </a:lnTo>
                  <a:lnTo>
                    <a:pt x="2037398" y="674783"/>
                  </a:lnTo>
                  <a:lnTo>
                    <a:pt x="2037398" y="354000"/>
                  </a:lnTo>
                  <a:lnTo>
                    <a:pt x="2270760" y="674783"/>
                  </a:lnTo>
                  <a:lnTo>
                    <a:pt x="2472690" y="674783"/>
                  </a:lnTo>
                  <a:lnTo>
                    <a:pt x="2231708" y="346407"/>
                  </a:lnTo>
                  <a:lnTo>
                    <a:pt x="2472690" y="18032"/>
                  </a:lnTo>
                  <a:close/>
                </a:path>
              </a:pathLst>
            </a:custGeom>
            <a:solidFill>
              <a:srgbClr val="7F8183"/>
            </a:solidFill>
            <a:ln w="9525" cap="flat">
              <a:noFill/>
              <a:prstDash val="solid"/>
              <a:miter/>
            </a:ln>
          </p:spPr>
          <p:txBody>
            <a:bodyPr rtlCol="0" anchor="ctr"/>
            <a:lstStyle/>
            <a:p>
              <a:endParaRPr lang="x-none" sz="1905"/>
            </a:p>
          </p:txBody>
        </p:sp>
      </p:grpSp>
      <p:grpSp>
        <p:nvGrpSpPr>
          <p:cNvPr id="2" name="Graphic 14">
            <a:extLst>
              <a:ext uri="{FF2B5EF4-FFF2-40B4-BE49-F238E27FC236}">
                <a16:creationId xmlns:a16="http://schemas.microsoft.com/office/drawing/2014/main" id="{EFA7B93E-DE11-0C42-9FDB-635B9BB922E3}"/>
              </a:ext>
            </a:extLst>
          </p:cNvPr>
          <p:cNvGrpSpPr/>
          <p:nvPr/>
        </p:nvGrpSpPr>
        <p:grpSpPr>
          <a:xfrm>
            <a:off x="341546" y="5763381"/>
            <a:ext cx="886399" cy="762739"/>
            <a:chOff x="322778" y="5445861"/>
            <a:chExt cx="837693" cy="720718"/>
          </a:xfrm>
        </p:grpSpPr>
        <p:grpSp>
          <p:nvGrpSpPr>
            <p:cNvPr id="3" name="Graphic 14">
              <a:extLst>
                <a:ext uri="{FF2B5EF4-FFF2-40B4-BE49-F238E27FC236}">
                  <a16:creationId xmlns:a16="http://schemas.microsoft.com/office/drawing/2014/main" id="{EFA7B93E-DE11-0C42-9FDB-635B9BB922E3}"/>
                </a:ext>
              </a:extLst>
            </p:cNvPr>
            <p:cNvGrpSpPr/>
            <p:nvPr/>
          </p:nvGrpSpPr>
          <p:grpSpPr>
            <a:xfrm>
              <a:off x="349290" y="5786435"/>
              <a:ext cx="327743" cy="106553"/>
              <a:chOff x="349290" y="5786435"/>
              <a:chExt cx="327743" cy="106553"/>
            </a:xfrm>
            <a:solidFill>
              <a:srgbClr val="CFD4D9"/>
            </a:solidFill>
          </p:grpSpPr>
          <p:sp>
            <p:nvSpPr>
              <p:cNvPr id="4" name="Freeform 3">
                <a:extLst>
                  <a:ext uri="{FF2B5EF4-FFF2-40B4-BE49-F238E27FC236}">
                    <a16:creationId xmlns:a16="http://schemas.microsoft.com/office/drawing/2014/main" id="{FD809D4D-CEFB-CD44-890E-6CC8CAE30F89}"/>
                  </a:ext>
                </a:extLst>
              </p:cNvPr>
              <p:cNvSpPr/>
              <p:nvPr/>
            </p:nvSpPr>
            <p:spPr>
              <a:xfrm>
                <a:off x="349290" y="5786435"/>
                <a:ext cx="72205" cy="84225"/>
              </a:xfrm>
              <a:custGeom>
                <a:avLst/>
                <a:gdLst>
                  <a:gd name="connsiteX0" fmla="*/ 38077 w 72205"/>
                  <a:gd name="connsiteY0" fmla="*/ 74898 h 84225"/>
                  <a:gd name="connsiteX1" fmla="*/ 55000 w 72205"/>
                  <a:gd name="connsiteY1" fmla="*/ 69811 h 84225"/>
                  <a:gd name="connsiteX2" fmla="*/ 62615 w 72205"/>
                  <a:gd name="connsiteY2" fmla="*/ 55962 h 84225"/>
                  <a:gd name="connsiteX3" fmla="*/ 72205 w 72205"/>
                  <a:gd name="connsiteY3" fmla="*/ 57657 h 84225"/>
                  <a:gd name="connsiteX4" fmla="*/ 60923 w 72205"/>
                  <a:gd name="connsiteY4" fmla="*/ 77442 h 84225"/>
                  <a:gd name="connsiteX5" fmla="*/ 37795 w 72205"/>
                  <a:gd name="connsiteY5" fmla="*/ 84225 h 84225"/>
                  <a:gd name="connsiteX6" fmla="*/ 10154 w 72205"/>
                  <a:gd name="connsiteY6" fmla="*/ 72920 h 84225"/>
                  <a:gd name="connsiteX7" fmla="*/ 0 w 72205"/>
                  <a:gd name="connsiteY7" fmla="*/ 42113 h 84225"/>
                  <a:gd name="connsiteX8" fmla="*/ 2821 w 72205"/>
                  <a:gd name="connsiteY8" fmla="*/ 24307 h 84225"/>
                  <a:gd name="connsiteX9" fmla="*/ 10436 w 72205"/>
                  <a:gd name="connsiteY9" fmla="*/ 11023 h 84225"/>
                  <a:gd name="connsiteX10" fmla="*/ 22282 w 72205"/>
                  <a:gd name="connsiteY10" fmla="*/ 2826 h 84225"/>
                  <a:gd name="connsiteX11" fmla="*/ 37795 w 72205"/>
                  <a:gd name="connsiteY11" fmla="*/ 0 h 84225"/>
                  <a:gd name="connsiteX12" fmla="*/ 60923 w 72205"/>
                  <a:gd name="connsiteY12" fmla="*/ 6783 h 84225"/>
                  <a:gd name="connsiteX13" fmla="*/ 71923 w 72205"/>
                  <a:gd name="connsiteY13" fmla="*/ 26568 h 84225"/>
                  <a:gd name="connsiteX14" fmla="*/ 62333 w 72205"/>
                  <a:gd name="connsiteY14" fmla="*/ 28263 h 84225"/>
                  <a:gd name="connsiteX15" fmla="*/ 54718 w 72205"/>
                  <a:gd name="connsiteY15" fmla="*/ 14697 h 84225"/>
                  <a:gd name="connsiteX16" fmla="*/ 37795 w 72205"/>
                  <a:gd name="connsiteY16" fmla="*/ 9327 h 84225"/>
                  <a:gd name="connsiteX17" fmla="*/ 25667 w 72205"/>
                  <a:gd name="connsiteY17" fmla="*/ 11871 h 84225"/>
                  <a:gd name="connsiteX18" fmla="*/ 16923 w 72205"/>
                  <a:gd name="connsiteY18" fmla="*/ 18654 h 84225"/>
                  <a:gd name="connsiteX19" fmla="*/ 11564 w 72205"/>
                  <a:gd name="connsiteY19" fmla="*/ 29111 h 84225"/>
                  <a:gd name="connsiteX20" fmla="*/ 9872 w 72205"/>
                  <a:gd name="connsiteY20" fmla="*/ 42678 h 84225"/>
                  <a:gd name="connsiteX21" fmla="*/ 17205 w 72205"/>
                  <a:gd name="connsiteY21" fmla="*/ 66419 h 84225"/>
                  <a:gd name="connsiteX22" fmla="*/ 38077 w 72205"/>
                  <a:gd name="connsiteY22" fmla="*/ 74898 h 8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2205" h="84225">
                    <a:moveTo>
                      <a:pt x="38077" y="74898"/>
                    </a:moveTo>
                    <a:cubicBezTo>
                      <a:pt x="45410" y="74898"/>
                      <a:pt x="51051" y="73202"/>
                      <a:pt x="55000" y="69811"/>
                    </a:cubicBezTo>
                    <a:cubicBezTo>
                      <a:pt x="58949" y="66419"/>
                      <a:pt x="61487" y="61897"/>
                      <a:pt x="62615" y="55962"/>
                    </a:cubicBezTo>
                    <a:lnTo>
                      <a:pt x="72205" y="57657"/>
                    </a:lnTo>
                    <a:cubicBezTo>
                      <a:pt x="70795" y="66136"/>
                      <a:pt x="66846" y="72920"/>
                      <a:pt x="60923" y="77442"/>
                    </a:cubicBezTo>
                    <a:cubicBezTo>
                      <a:pt x="55000" y="81964"/>
                      <a:pt x="47385" y="84225"/>
                      <a:pt x="37795" y="84225"/>
                    </a:cubicBezTo>
                    <a:cubicBezTo>
                      <a:pt x="26231" y="84225"/>
                      <a:pt x="16923" y="80551"/>
                      <a:pt x="10154" y="72920"/>
                    </a:cubicBezTo>
                    <a:cubicBezTo>
                      <a:pt x="3385" y="65289"/>
                      <a:pt x="0" y="55114"/>
                      <a:pt x="0" y="42113"/>
                    </a:cubicBezTo>
                    <a:cubicBezTo>
                      <a:pt x="0" y="35329"/>
                      <a:pt x="846" y="29394"/>
                      <a:pt x="2821" y="24307"/>
                    </a:cubicBezTo>
                    <a:cubicBezTo>
                      <a:pt x="4513" y="18937"/>
                      <a:pt x="7333" y="14697"/>
                      <a:pt x="10436" y="11023"/>
                    </a:cubicBezTo>
                    <a:cubicBezTo>
                      <a:pt x="13821" y="7348"/>
                      <a:pt x="17769" y="4522"/>
                      <a:pt x="22282" y="2826"/>
                    </a:cubicBezTo>
                    <a:cubicBezTo>
                      <a:pt x="27077" y="848"/>
                      <a:pt x="32154" y="0"/>
                      <a:pt x="37795" y="0"/>
                    </a:cubicBezTo>
                    <a:cubicBezTo>
                      <a:pt x="47385" y="0"/>
                      <a:pt x="55000" y="2261"/>
                      <a:pt x="60923" y="6783"/>
                    </a:cubicBezTo>
                    <a:cubicBezTo>
                      <a:pt x="66846" y="11305"/>
                      <a:pt x="70513" y="18089"/>
                      <a:pt x="71923" y="26568"/>
                    </a:cubicBezTo>
                    <a:lnTo>
                      <a:pt x="62333" y="28263"/>
                    </a:lnTo>
                    <a:cubicBezTo>
                      <a:pt x="61205" y="22893"/>
                      <a:pt x="58667" y="18371"/>
                      <a:pt x="54718" y="14697"/>
                    </a:cubicBezTo>
                    <a:cubicBezTo>
                      <a:pt x="50769" y="11023"/>
                      <a:pt x="45128" y="9327"/>
                      <a:pt x="37795" y="9327"/>
                    </a:cubicBezTo>
                    <a:cubicBezTo>
                      <a:pt x="33282" y="9327"/>
                      <a:pt x="29333" y="10175"/>
                      <a:pt x="25667" y="11871"/>
                    </a:cubicBezTo>
                    <a:cubicBezTo>
                      <a:pt x="22282" y="13566"/>
                      <a:pt x="19180" y="15828"/>
                      <a:pt x="16923" y="18654"/>
                    </a:cubicBezTo>
                    <a:cubicBezTo>
                      <a:pt x="14667" y="21480"/>
                      <a:pt x="12974" y="24872"/>
                      <a:pt x="11564" y="29111"/>
                    </a:cubicBezTo>
                    <a:cubicBezTo>
                      <a:pt x="10436" y="33068"/>
                      <a:pt x="9872" y="37590"/>
                      <a:pt x="9872" y="42678"/>
                    </a:cubicBezTo>
                    <a:cubicBezTo>
                      <a:pt x="9872" y="52570"/>
                      <a:pt x="12410" y="60484"/>
                      <a:pt x="17205" y="66419"/>
                    </a:cubicBezTo>
                    <a:cubicBezTo>
                      <a:pt x="22282" y="72072"/>
                      <a:pt x="29051" y="74898"/>
                      <a:pt x="38077" y="74898"/>
                    </a:cubicBezTo>
                  </a:path>
                </a:pathLst>
              </a:custGeom>
              <a:solidFill>
                <a:srgbClr val="7F8183"/>
              </a:solidFill>
              <a:ln w="2790" cap="flat">
                <a:noFill/>
                <a:prstDash val="solid"/>
                <a:miter/>
              </a:ln>
            </p:spPr>
            <p:txBody>
              <a:bodyPr rtlCol="0" anchor="ctr"/>
              <a:lstStyle/>
              <a:p>
                <a:endParaRPr lang="x-none" sz="1905"/>
              </a:p>
            </p:txBody>
          </p:sp>
          <p:sp>
            <p:nvSpPr>
              <p:cNvPr id="5" name="Freeform 4">
                <a:extLst>
                  <a:ext uri="{FF2B5EF4-FFF2-40B4-BE49-F238E27FC236}">
                    <a16:creationId xmlns:a16="http://schemas.microsoft.com/office/drawing/2014/main" id="{1570AD26-5BB7-D94D-AE4F-C426093ED2DA}"/>
                  </a:ext>
                </a:extLst>
              </p:cNvPr>
              <p:cNvSpPr/>
              <p:nvPr/>
            </p:nvSpPr>
            <p:spPr>
              <a:xfrm>
                <a:off x="432778" y="5811024"/>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769" y="49461"/>
                      <a:pt x="22000"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764"/>
                      <a:pt x="0" y="29959"/>
                    </a:cubicBezTo>
                    <a:cubicBezTo>
                      <a:pt x="0" y="20350"/>
                      <a:pt x="2538" y="13001"/>
                      <a:pt x="7615" y="7914"/>
                    </a:cubicBezTo>
                    <a:cubicBezTo>
                      <a:pt x="12692" y="2826"/>
                      <a:pt x="19180" y="0"/>
                      <a:pt x="27359" y="0"/>
                    </a:cubicBezTo>
                    <a:cubicBezTo>
                      <a:pt x="35256" y="0"/>
                      <a:pt x="41744" y="2544"/>
                      <a:pt x="46539" y="7914"/>
                    </a:cubicBezTo>
                    <a:cubicBezTo>
                      <a:pt x="51333" y="13001"/>
                      <a:pt x="53872" y="20350"/>
                      <a:pt x="53872" y="29959"/>
                    </a:cubicBezTo>
                    <a:cubicBezTo>
                      <a:pt x="53872" y="39286"/>
                      <a:pt x="51333" y="46635"/>
                      <a:pt x="46539" y="52005"/>
                    </a:cubicBezTo>
                    <a:cubicBezTo>
                      <a:pt x="41744" y="57092"/>
                      <a:pt x="35538" y="59919"/>
                      <a:pt x="27359" y="59919"/>
                    </a:cubicBezTo>
                  </a:path>
                </a:pathLst>
              </a:custGeom>
              <a:solidFill>
                <a:srgbClr val="7F8183"/>
              </a:solidFill>
              <a:ln w="2790" cap="flat">
                <a:noFill/>
                <a:prstDash val="solid"/>
                <a:miter/>
              </a:ln>
            </p:spPr>
            <p:txBody>
              <a:bodyPr rtlCol="0" anchor="ctr"/>
              <a:lstStyle/>
              <a:p>
                <a:endParaRPr lang="x-none" sz="1905"/>
              </a:p>
            </p:txBody>
          </p:sp>
          <p:sp>
            <p:nvSpPr>
              <p:cNvPr id="6" name="Freeform 5">
                <a:extLst>
                  <a:ext uri="{FF2B5EF4-FFF2-40B4-BE49-F238E27FC236}">
                    <a16:creationId xmlns:a16="http://schemas.microsoft.com/office/drawing/2014/main" id="{DB71EE2F-B57B-C04F-B3F8-2F632116B5E8}"/>
                  </a:ext>
                </a:extLst>
              </p:cNvPr>
              <p:cNvSpPr/>
              <p:nvPr/>
            </p:nvSpPr>
            <p:spPr>
              <a:xfrm>
                <a:off x="501316" y="5812155"/>
                <a:ext cx="45410" cy="57657"/>
              </a:xfrm>
              <a:custGeom>
                <a:avLst/>
                <a:gdLst>
                  <a:gd name="connsiteX0" fmla="*/ 26231 w 45410"/>
                  <a:gd name="connsiteY0" fmla="*/ 32220 h 57657"/>
                  <a:gd name="connsiteX1" fmla="*/ 9308 w 45410"/>
                  <a:gd name="connsiteY1" fmla="*/ 32220 h 57657"/>
                  <a:gd name="connsiteX2" fmla="*/ 9308 w 45410"/>
                  <a:gd name="connsiteY2" fmla="*/ 49178 h 57657"/>
                  <a:gd name="connsiteX3" fmla="*/ 26231 w 45410"/>
                  <a:gd name="connsiteY3" fmla="*/ 49178 h 57657"/>
                  <a:gd name="connsiteX4" fmla="*/ 34128 w 45410"/>
                  <a:gd name="connsiteY4" fmla="*/ 46917 h 57657"/>
                  <a:gd name="connsiteX5" fmla="*/ 36385 w 45410"/>
                  <a:gd name="connsiteY5" fmla="*/ 40699 h 57657"/>
                  <a:gd name="connsiteX6" fmla="*/ 33846 w 45410"/>
                  <a:gd name="connsiteY6" fmla="*/ 34199 h 57657"/>
                  <a:gd name="connsiteX7" fmla="*/ 26231 w 45410"/>
                  <a:gd name="connsiteY7" fmla="*/ 32220 h 57657"/>
                  <a:gd name="connsiteX8" fmla="*/ 24538 w 45410"/>
                  <a:gd name="connsiteY8" fmla="*/ 8196 h 57657"/>
                  <a:gd name="connsiteX9" fmla="*/ 9308 w 45410"/>
                  <a:gd name="connsiteY9" fmla="*/ 8196 h 57657"/>
                  <a:gd name="connsiteX10" fmla="*/ 9308 w 45410"/>
                  <a:gd name="connsiteY10" fmla="*/ 24307 h 57657"/>
                  <a:gd name="connsiteX11" fmla="*/ 25385 w 45410"/>
                  <a:gd name="connsiteY11" fmla="*/ 24307 h 57657"/>
                  <a:gd name="connsiteX12" fmla="*/ 32436 w 45410"/>
                  <a:gd name="connsiteY12" fmla="*/ 22328 h 57657"/>
                  <a:gd name="connsiteX13" fmla="*/ 34692 w 45410"/>
                  <a:gd name="connsiteY13" fmla="*/ 16110 h 57657"/>
                  <a:gd name="connsiteX14" fmla="*/ 32436 w 45410"/>
                  <a:gd name="connsiteY14" fmla="*/ 9892 h 57657"/>
                  <a:gd name="connsiteX15" fmla="*/ 24538 w 45410"/>
                  <a:gd name="connsiteY15" fmla="*/ 8196 h 57657"/>
                  <a:gd name="connsiteX16" fmla="*/ 0 w 45410"/>
                  <a:gd name="connsiteY16" fmla="*/ 57375 h 57657"/>
                  <a:gd name="connsiteX17" fmla="*/ 0 w 45410"/>
                  <a:gd name="connsiteY17" fmla="*/ 0 h 57657"/>
                  <a:gd name="connsiteX18" fmla="*/ 24538 w 45410"/>
                  <a:gd name="connsiteY18" fmla="*/ 0 h 57657"/>
                  <a:gd name="connsiteX19" fmla="*/ 38923 w 45410"/>
                  <a:gd name="connsiteY19" fmla="*/ 3957 h 57657"/>
                  <a:gd name="connsiteX20" fmla="*/ 44000 w 45410"/>
                  <a:gd name="connsiteY20" fmla="*/ 15545 h 57657"/>
                  <a:gd name="connsiteX21" fmla="*/ 42308 w 45410"/>
                  <a:gd name="connsiteY21" fmla="*/ 22328 h 57657"/>
                  <a:gd name="connsiteX22" fmla="*/ 35821 w 45410"/>
                  <a:gd name="connsiteY22" fmla="*/ 27698 h 57657"/>
                  <a:gd name="connsiteX23" fmla="*/ 43154 w 45410"/>
                  <a:gd name="connsiteY23" fmla="*/ 32786 h 57657"/>
                  <a:gd name="connsiteX24" fmla="*/ 45410 w 45410"/>
                  <a:gd name="connsiteY24" fmla="*/ 41265 h 57657"/>
                  <a:gd name="connsiteX25" fmla="*/ 40897 w 45410"/>
                  <a:gd name="connsiteY25" fmla="*/ 53135 h 57657"/>
                  <a:gd name="connsiteX26" fmla="*/ 26231 w 45410"/>
                  <a:gd name="connsiteY26" fmla="*/ 57657 h 57657"/>
                  <a:gd name="connsiteX27" fmla="*/ 0 w 45410"/>
                  <a:gd name="connsiteY27" fmla="*/ 57657 h 5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5410" h="57657">
                    <a:moveTo>
                      <a:pt x="26231" y="32220"/>
                    </a:moveTo>
                    <a:lnTo>
                      <a:pt x="9308" y="32220"/>
                    </a:lnTo>
                    <a:lnTo>
                      <a:pt x="9308" y="49178"/>
                    </a:lnTo>
                    <a:lnTo>
                      <a:pt x="26231" y="49178"/>
                    </a:lnTo>
                    <a:cubicBezTo>
                      <a:pt x="29897" y="49178"/>
                      <a:pt x="32436" y="48330"/>
                      <a:pt x="34128" y="46917"/>
                    </a:cubicBezTo>
                    <a:cubicBezTo>
                      <a:pt x="35538" y="45504"/>
                      <a:pt x="36385" y="43526"/>
                      <a:pt x="36385" y="40699"/>
                    </a:cubicBezTo>
                    <a:cubicBezTo>
                      <a:pt x="36385" y="37590"/>
                      <a:pt x="35538" y="35612"/>
                      <a:pt x="33846" y="34199"/>
                    </a:cubicBezTo>
                    <a:cubicBezTo>
                      <a:pt x="32436" y="33068"/>
                      <a:pt x="29897" y="32220"/>
                      <a:pt x="26231" y="32220"/>
                    </a:cubicBezTo>
                    <a:moveTo>
                      <a:pt x="24538" y="8196"/>
                    </a:moveTo>
                    <a:lnTo>
                      <a:pt x="9308" y="8196"/>
                    </a:lnTo>
                    <a:lnTo>
                      <a:pt x="9308" y="24307"/>
                    </a:lnTo>
                    <a:lnTo>
                      <a:pt x="25385" y="24307"/>
                    </a:lnTo>
                    <a:cubicBezTo>
                      <a:pt x="28487" y="24307"/>
                      <a:pt x="31026" y="23741"/>
                      <a:pt x="32436" y="22328"/>
                    </a:cubicBezTo>
                    <a:cubicBezTo>
                      <a:pt x="34128" y="20915"/>
                      <a:pt x="34692" y="18937"/>
                      <a:pt x="34692" y="16110"/>
                    </a:cubicBezTo>
                    <a:cubicBezTo>
                      <a:pt x="34692" y="13284"/>
                      <a:pt x="33846" y="11305"/>
                      <a:pt x="32436" y="9892"/>
                    </a:cubicBezTo>
                    <a:cubicBezTo>
                      <a:pt x="31308" y="9044"/>
                      <a:pt x="28487" y="8196"/>
                      <a:pt x="24538" y="8196"/>
                    </a:cubicBezTo>
                    <a:moveTo>
                      <a:pt x="0" y="57375"/>
                    </a:moveTo>
                    <a:lnTo>
                      <a:pt x="0" y="0"/>
                    </a:lnTo>
                    <a:lnTo>
                      <a:pt x="24538" y="0"/>
                    </a:lnTo>
                    <a:cubicBezTo>
                      <a:pt x="30744" y="0"/>
                      <a:pt x="35538" y="1413"/>
                      <a:pt x="38923" y="3957"/>
                    </a:cubicBezTo>
                    <a:cubicBezTo>
                      <a:pt x="42308" y="6501"/>
                      <a:pt x="44000" y="10457"/>
                      <a:pt x="44000" y="15545"/>
                    </a:cubicBezTo>
                    <a:cubicBezTo>
                      <a:pt x="44000" y="17806"/>
                      <a:pt x="43436" y="20067"/>
                      <a:pt x="42308" y="22328"/>
                    </a:cubicBezTo>
                    <a:cubicBezTo>
                      <a:pt x="41180" y="24589"/>
                      <a:pt x="39205" y="26568"/>
                      <a:pt x="35821" y="27698"/>
                    </a:cubicBezTo>
                    <a:cubicBezTo>
                      <a:pt x="39205" y="28829"/>
                      <a:pt x="41744" y="30524"/>
                      <a:pt x="43154" y="32786"/>
                    </a:cubicBezTo>
                    <a:cubicBezTo>
                      <a:pt x="44564" y="35047"/>
                      <a:pt x="45410" y="37873"/>
                      <a:pt x="45410" y="41265"/>
                    </a:cubicBezTo>
                    <a:cubicBezTo>
                      <a:pt x="45410" y="46069"/>
                      <a:pt x="44000" y="50026"/>
                      <a:pt x="40897" y="53135"/>
                    </a:cubicBezTo>
                    <a:cubicBezTo>
                      <a:pt x="37795" y="55962"/>
                      <a:pt x="33000" y="57657"/>
                      <a:pt x="26231" y="57657"/>
                    </a:cubicBezTo>
                    <a:lnTo>
                      <a:pt x="0" y="57657"/>
                    </a:lnTo>
                    <a:close/>
                  </a:path>
                </a:pathLst>
              </a:custGeom>
              <a:solidFill>
                <a:srgbClr val="7F8183"/>
              </a:solidFill>
              <a:ln w="2790" cap="flat">
                <a:noFill/>
                <a:prstDash val="solid"/>
                <a:miter/>
              </a:ln>
            </p:spPr>
            <p:txBody>
              <a:bodyPr rtlCol="0" anchor="ctr"/>
              <a:lstStyle/>
              <a:p>
                <a:endParaRPr lang="x-none" sz="1905"/>
              </a:p>
            </p:txBody>
          </p:sp>
          <p:sp>
            <p:nvSpPr>
              <p:cNvPr id="7" name="Freeform 6">
                <a:extLst>
                  <a:ext uri="{FF2B5EF4-FFF2-40B4-BE49-F238E27FC236}">
                    <a16:creationId xmlns:a16="http://schemas.microsoft.com/office/drawing/2014/main" id="{23DEF7E2-7DC1-4942-9C85-106595C0C28B}"/>
                  </a:ext>
                </a:extLst>
              </p:cNvPr>
              <p:cNvSpPr/>
              <p:nvPr/>
            </p:nvSpPr>
            <p:spPr>
              <a:xfrm>
                <a:off x="557444" y="5811307"/>
                <a:ext cx="51333" cy="59635"/>
              </a:xfrm>
              <a:custGeom>
                <a:avLst/>
                <a:gdLst>
                  <a:gd name="connsiteX0" fmla="*/ 26795 w 51333"/>
                  <a:gd name="connsiteY0" fmla="*/ 7914 h 59635"/>
                  <a:gd name="connsiteX1" fmla="*/ 15795 w 51333"/>
                  <a:gd name="connsiteY1" fmla="*/ 12153 h 59635"/>
                  <a:gd name="connsiteX2" fmla="*/ 10154 w 51333"/>
                  <a:gd name="connsiteY2" fmla="*/ 23176 h 59635"/>
                  <a:gd name="connsiteX3" fmla="*/ 42308 w 51333"/>
                  <a:gd name="connsiteY3" fmla="*/ 23176 h 59635"/>
                  <a:gd name="connsiteX4" fmla="*/ 38359 w 51333"/>
                  <a:gd name="connsiteY4" fmla="*/ 12153 h 59635"/>
                  <a:gd name="connsiteX5" fmla="*/ 26795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8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795" y="7914"/>
                    </a:moveTo>
                    <a:cubicBezTo>
                      <a:pt x="22282" y="7914"/>
                      <a:pt x="18615" y="9327"/>
                      <a:pt x="15795" y="12153"/>
                    </a:cubicBezTo>
                    <a:cubicBezTo>
                      <a:pt x="12692" y="14980"/>
                      <a:pt x="11000" y="18654"/>
                      <a:pt x="10154" y="23176"/>
                    </a:cubicBezTo>
                    <a:lnTo>
                      <a:pt x="42308" y="23176"/>
                    </a:lnTo>
                    <a:cubicBezTo>
                      <a:pt x="42026" y="18654"/>
                      <a:pt x="40615" y="14980"/>
                      <a:pt x="38359" y="12153"/>
                    </a:cubicBezTo>
                    <a:cubicBezTo>
                      <a:pt x="35256" y="9327"/>
                      <a:pt x="31590" y="7914"/>
                      <a:pt x="26795"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8"/>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8" name="Freeform 7">
                <a:extLst>
                  <a:ext uri="{FF2B5EF4-FFF2-40B4-BE49-F238E27FC236}">
                    <a16:creationId xmlns:a16="http://schemas.microsoft.com/office/drawing/2014/main" id="{9872F911-B5E6-5445-A16F-4041EA39AAD7}"/>
                  </a:ext>
                </a:extLst>
              </p:cNvPr>
              <p:cNvSpPr/>
              <p:nvPr/>
            </p:nvSpPr>
            <p:spPr>
              <a:xfrm>
                <a:off x="622880" y="5810742"/>
                <a:ext cx="54153" cy="82246"/>
              </a:xfrm>
              <a:custGeom>
                <a:avLst/>
                <a:gdLst>
                  <a:gd name="connsiteX0" fmla="*/ 9590 w 54153"/>
                  <a:gd name="connsiteY0" fmla="*/ 34764 h 82246"/>
                  <a:gd name="connsiteX1" fmla="*/ 14949 w 54153"/>
                  <a:gd name="connsiteY1" fmla="*/ 46917 h 82246"/>
                  <a:gd name="connsiteX2" fmla="*/ 27641 w 54153"/>
                  <a:gd name="connsiteY2" fmla="*/ 51439 h 82246"/>
                  <a:gd name="connsiteX3" fmla="*/ 40051 w 54153"/>
                  <a:gd name="connsiteY3" fmla="*/ 45504 h 82246"/>
                  <a:gd name="connsiteX4" fmla="*/ 44564 w 54153"/>
                  <a:gd name="connsiteY4" fmla="*/ 29677 h 82246"/>
                  <a:gd name="connsiteX5" fmla="*/ 40051 w 54153"/>
                  <a:gd name="connsiteY5" fmla="*/ 14414 h 82246"/>
                  <a:gd name="connsiteX6" fmla="*/ 27359 w 54153"/>
                  <a:gd name="connsiteY6" fmla="*/ 8479 h 82246"/>
                  <a:gd name="connsiteX7" fmla="*/ 20872 w 54153"/>
                  <a:gd name="connsiteY7" fmla="*/ 9610 h 82246"/>
                  <a:gd name="connsiteX8" fmla="*/ 15231 w 54153"/>
                  <a:gd name="connsiteY8" fmla="*/ 13284 h 82246"/>
                  <a:gd name="connsiteX9" fmla="*/ 11282 w 54153"/>
                  <a:gd name="connsiteY9" fmla="*/ 19219 h 82246"/>
                  <a:gd name="connsiteX10" fmla="*/ 9872 w 54153"/>
                  <a:gd name="connsiteY10" fmla="*/ 27416 h 82246"/>
                  <a:gd name="connsiteX11" fmla="*/ 9872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590" y="34764"/>
                    </a:moveTo>
                    <a:cubicBezTo>
                      <a:pt x="9590" y="40134"/>
                      <a:pt x="11282" y="44091"/>
                      <a:pt x="14949" y="46917"/>
                    </a:cubicBezTo>
                    <a:cubicBezTo>
                      <a:pt x="18615" y="49744"/>
                      <a:pt x="22846" y="51439"/>
                      <a:pt x="27641" y="51439"/>
                    </a:cubicBezTo>
                    <a:cubicBezTo>
                      <a:pt x="33000" y="51439"/>
                      <a:pt x="36949" y="49461"/>
                      <a:pt x="40051" y="45504"/>
                    </a:cubicBezTo>
                    <a:cubicBezTo>
                      <a:pt x="43154" y="41547"/>
                      <a:pt x="44564" y="36460"/>
                      <a:pt x="44564" y="29677"/>
                    </a:cubicBezTo>
                    <a:cubicBezTo>
                      <a:pt x="44564" y="23459"/>
                      <a:pt x="43154" y="18371"/>
                      <a:pt x="40051" y="14414"/>
                    </a:cubicBezTo>
                    <a:cubicBezTo>
                      <a:pt x="36949" y="10457"/>
                      <a:pt x="32718" y="8479"/>
                      <a:pt x="27359" y="8479"/>
                    </a:cubicBezTo>
                    <a:cubicBezTo>
                      <a:pt x="25103" y="8479"/>
                      <a:pt x="22846" y="8762"/>
                      <a:pt x="20872" y="9610"/>
                    </a:cubicBezTo>
                    <a:cubicBezTo>
                      <a:pt x="18897" y="10457"/>
                      <a:pt x="16923" y="11588"/>
                      <a:pt x="15231" y="13284"/>
                    </a:cubicBezTo>
                    <a:cubicBezTo>
                      <a:pt x="13538" y="14980"/>
                      <a:pt x="12128" y="16958"/>
                      <a:pt x="11282" y="19219"/>
                    </a:cubicBezTo>
                    <a:cubicBezTo>
                      <a:pt x="10154" y="21763"/>
                      <a:pt x="9872" y="24307"/>
                      <a:pt x="9872" y="27416"/>
                    </a:cubicBezTo>
                    <a:lnTo>
                      <a:pt x="9872" y="34764"/>
                    </a:lnTo>
                    <a:close/>
                    <a:moveTo>
                      <a:pt x="0" y="82247"/>
                    </a:moveTo>
                    <a:lnTo>
                      <a:pt x="0" y="1413"/>
                    </a:lnTo>
                    <a:lnTo>
                      <a:pt x="9590" y="1413"/>
                    </a:lnTo>
                    <a:lnTo>
                      <a:pt x="9590" y="9044"/>
                    </a:lnTo>
                    <a:cubicBezTo>
                      <a:pt x="11564" y="6218"/>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grpSp>
        <p:sp>
          <p:nvSpPr>
            <p:cNvPr id="13" name="Freeform 12">
              <a:extLst>
                <a:ext uri="{FF2B5EF4-FFF2-40B4-BE49-F238E27FC236}">
                  <a16:creationId xmlns:a16="http://schemas.microsoft.com/office/drawing/2014/main" id="{723AD634-2BE8-314E-AFDC-4D639CC30A8F}"/>
                </a:ext>
              </a:extLst>
            </p:cNvPr>
            <p:cNvSpPr/>
            <p:nvPr/>
          </p:nvSpPr>
          <p:spPr>
            <a:xfrm>
              <a:off x="691419" y="5812155"/>
              <a:ext cx="75307" cy="57374"/>
            </a:xfrm>
            <a:custGeom>
              <a:avLst/>
              <a:gdLst>
                <a:gd name="connsiteX0" fmla="*/ 75308 w 75307"/>
                <a:gd name="connsiteY0" fmla="*/ 0 h 57374"/>
                <a:gd name="connsiteX1" fmla="*/ 75308 w 75307"/>
                <a:gd name="connsiteY1" fmla="*/ 57375 h 57374"/>
                <a:gd name="connsiteX2" fmla="*/ 0 w 75307"/>
                <a:gd name="connsiteY2" fmla="*/ 57375 h 57374"/>
                <a:gd name="connsiteX3" fmla="*/ 0 w 75307"/>
                <a:gd name="connsiteY3" fmla="*/ 0 h 57374"/>
                <a:gd name="connsiteX4" fmla="*/ 9590 w 75307"/>
                <a:gd name="connsiteY4" fmla="*/ 0 h 57374"/>
                <a:gd name="connsiteX5" fmla="*/ 9590 w 75307"/>
                <a:gd name="connsiteY5" fmla="*/ 48613 h 57374"/>
                <a:gd name="connsiteX6" fmla="*/ 33000 w 75307"/>
                <a:gd name="connsiteY6" fmla="*/ 48613 h 57374"/>
                <a:gd name="connsiteX7" fmla="*/ 33000 w 75307"/>
                <a:gd name="connsiteY7" fmla="*/ 0 h 57374"/>
                <a:gd name="connsiteX8" fmla="*/ 42308 w 75307"/>
                <a:gd name="connsiteY8" fmla="*/ 0 h 57374"/>
                <a:gd name="connsiteX9" fmla="*/ 42308 w 75307"/>
                <a:gd name="connsiteY9" fmla="*/ 48613 h 57374"/>
                <a:gd name="connsiteX10" fmla="*/ 65718 w 75307"/>
                <a:gd name="connsiteY10" fmla="*/ 48613 h 57374"/>
                <a:gd name="connsiteX11" fmla="*/ 65718 w 75307"/>
                <a:gd name="connsiteY11" fmla="*/ 0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307" h="57374">
                  <a:moveTo>
                    <a:pt x="75308" y="0"/>
                  </a:moveTo>
                  <a:lnTo>
                    <a:pt x="75308" y="57375"/>
                  </a:lnTo>
                  <a:lnTo>
                    <a:pt x="0" y="57375"/>
                  </a:lnTo>
                  <a:lnTo>
                    <a:pt x="0" y="0"/>
                  </a:lnTo>
                  <a:lnTo>
                    <a:pt x="9590" y="0"/>
                  </a:lnTo>
                  <a:lnTo>
                    <a:pt x="9590" y="48613"/>
                  </a:lnTo>
                  <a:lnTo>
                    <a:pt x="33000" y="48613"/>
                  </a:lnTo>
                  <a:lnTo>
                    <a:pt x="33000" y="0"/>
                  </a:lnTo>
                  <a:lnTo>
                    <a:pt x="42308" y="0"/>
                  </a:lnTo>
                  <a:lnTo>
                    <a:pt x="42308" y="48613"/>
                  </a:lnTo>
                  <a:lnTo>
                    <a:pt x="65718" y="48613"/>
                  </a:lnTo>
                  <a:lnTo>
                    <a:pt x="65718" y="0"/>
                  </a:lnTo>
                  <a:close/>
                </a:path>
              </a:pathLst>
            </a:custGeom>
            <a:solidFill>
              <a:srgbClr val="7F8183"/>
            </a:solidFill>
            <a:ln w="2790" cap="flat">
              <a:noFill/>
              <a:prstDash val="solid"/>
              <a:miter/>
            </a:ln>
          </p:spPr>
          <p:txBody>
            <a:bodyPr rtlCol="0" anchor="ctr"/>
            <a:lstStyle/>
            <a:p>
              <a:endParaRPr lang="x-none" sz="1905"/>
            </a:p>
          </p:txBody>
        </p:sp>
        <p:sp>
          <p:nvSpPr>
            <p:cNvPr id="18" name="Freeform 17">
              <a:extLst>
                <a:ext uri="{FF2B5EF4-FFF2-40B4-BE49-F238E27FC236}">
                  <a16:creationId xmlns:a16="http://schemas.microsoft.com/office/drawing/2014/main" id="{D2ACB3F3-4CB4-8444-8A0E-8DF00021317C}"/>
                </a:ext>
              </a:extLst>
            </p:cNvPr>
            <p:cNvSpPr/>
            <p:nvPr/>
          </p:nvSpPr>
          <p:spPr>
            <a:xfrm>
              <a:off x="780829" y="5811307"/>
              <a:ext cx="51615" cy="59635"/>
            </a:xfrm>
            <a:custGeom>
              <a:avLst/>
              <a:gdLst>
                <a:gd name="connsiteX0" fmla="*/ 26795 w 51615"/>
                <a:gd name="connsiteY0" fmla="*/ 7914 h 59635"/>
                <a:gd name="connsiteX1" fmla="*/ 15795 w 51615"/>
                <a:gd name="connsiteY1" fmla="*/ 12153 h 59635"/>
                <a:gd name="connsiteX2" fmla="*/ 10154 w 51615"/>
                <a:gd name="connsiteY2" fmla="*/ 23176 h 59635"/>
                <a:gd name="connsiteX3" fmla="*/ 42308 w 51615"/>
                <a:gd name="connsiteY3" fmla="*/ 23176 h 59635"/>
                <a:gd name="connsiteX4" fmla="*/ 38359 w 51615"/>
                <a:gd name="connsiteY4" fmla="*/ 12153 h 59635"/>
                <a:gd name="connsiteX5" fmla="*/ 26795 w 51615"/>
                <a:gd name="connsiteY5" fmla="*/ 7914 h 59635"/>
                <a:gd name="connsiteX6" fmla="*/ 51615 w 51615"/>
                <a:gd name="connsiteY6" fmla="*/ 31372 h 59635"/>
                <a:gd name="connsiteX7" fmla="*/ 9590 w 51615"/>
                <a:gd name="connsiteY7" fmla="*/ 31372 h 59635"/>
                <a:gd name="connsiteX8" fmla="*/ 14949 w 51615"/>
                <a:gd name="connsiteY8" fmla="*/ 46069 h 59635"/>
                <a:gd name="connsiteX9" fmla="*/ 27077 w 51615"/>
                <a:gd name="connsiteY9" fmla="*/ 51157 h 59635"/>
                <a:gd name="connsiteX10" fmla="*/ 37513 w 51615"/>
                <a:gd name="connsiteY10" fmla="*/ 48048 h 59635"/>
                <a:gd name="connsiteX11" fmla="*/ 42308 w 51615"/>
                <a:gd name="connsiteY11" fmla="*/ 40699 h 59635"/>
                <a:gd name="connsiteX12" fmla="*/ 51333 w 51615"/>
                <a:gd name="connsiteY12" fmla="*/ 42395 h 59635"/>
                <a:gd name="connsiteX13" fmla="*/ 42872 w 51615"/>
                <a:gd name="connsiteY13" fmla="*/ 55114 h 59635"/>
                <a:gd name="connsiteX14" fmla="*/ 26795 w 51615"/>
                <a:gd name="connsiteY14" fmla="*/ 59636 h 59635"/>
                <a:gd name="connsiteX15" fmla="*/ 7333 w 51615"/>
                <a:gd name="connsiteY15" fmla="*/ 51722 h 59635"/>
                <a:gd name="connsiteX16" fmla="*/ 0 w 51615"/>
                <a:gd name="connsiteY16" fmla="*/ 29677 h 59635"/>
                <a:gd name="connsiteX17" fmla="*/ 1974 w 51615"/>
                <a:gd name="connsiteY17" fmla="*/ 16958 h 59635"/>
                <a:gd name="connsiteX18" fmla="*/ 7615 w 51615"/>
                <a:gd name="connsiteY18" fmla="*/ 7631 h 59635"/>
                <a:gd name="connsiteX19" fmla="*/ 16077 w 51615"/>
                <a:gd name="connsiteY19" fmla="*/ 1978 h 59635"/>
                <a:gd name="connsiteX20" fmla="*/ 26513 w 51615"/>
                <a:gd name="connsiteY20" fmla="*/ 0 h 59635"/>
                <a:gd name="connsiteX21" fmla="*/ 44564 w 51615"/>
                <a:gd name="connsiteY21" fmla="*/ 7348 h 59635"/>
                <a:gd name="connsiteX22" fmla="*/ 51333 w 51615"/>
                <a:gd name="connsiteY22" fmla="*/ 27698 h 59635"/>
                <a:gd name="connsiteX23" fmla="*/ 51333 w 51615"/>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615" h="59635">
                  <a:moveTo>
                    <a:pt x="26795" y="7914"/>
                  </a:moveTo>
                  <a:cubicBezTo>
                    <a:pt x="22282" y="7914"/>
                    <a:pt x="18615" y="9327"/>
                    <a:pt x="15795" y="12153"/>
                  </a:cubicBezTo>
                  <a:cubicBezTo>
                    <a:pt x="12692" y="14980"/>
                    <a:pt x="11000" y="18654"/>
                    <a:pt x="10154" y="23176"/>
                  </a:cubicBezTo>
                  <a:lnTo>
                    <a:pt x="42308" y="23176"/>
                  </a:lnTo>
                  <a:cubicBezTo>
                    <a:pt x="42026" y="18654"/>
                    <a:pt x="40615" y="14980"/>
                    <a:pt x="38359" y="12153"/>
                  </a:cubicBezTo>
                  <a:cubicBezTo>
                    <a:pt x="35539" y="9327"/>
                    <a:pt x="31590" y="7914"/>
                    <a:pt x="26795" y="7914"/>
                  </a:cubicBezTo>
                  <a:moveTo>
                    <a:pt x="51615"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8"/>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21" name="Freeform 20">
              <a:extLst>
                <a:ext uri="{FF2B5EF4-FFF2-40B4-BE49-F238E27FC236}">
                  <a16:creationId xmlns:a16="http://schemas.microsoft.com/office/drawing/2014/main" id="{1848144D-6708-7A4D-A281-F5E054E1DD23}"/>
                </a:ext>
              </a:extLst>
            </p:cNvPr>
            <p:cNvSpPr/>
            <p:nvPr/>
          </p:nvSpPr>
          <p:spPr>
            <a:xfrm>
              <a:off x="846265" y="5812155"/>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22" name="Freeform 21">
              <a:extLst>
                <a:ext uri="{FF2B5EF4-FFF2-40B4-BE49-F238E27FC236}">
                  <a16:creationId xmlns:a16="http://schemas.microsoft.com/office/drawing/2014/main" id="{68D39686-802C-5F4F-A5D0-4245BDBF74BA}"/>
                </a:ext>
              </a:extLst>
            </p:cNvPr>
            <p:cNvSpPr/>
            <p:nvPr/>
          </p:nvSpPr>
          <p:spPr>
            <a:xfrm>
              <a:off x="910291" y="5810742"/>
              <a:ext cx="50769" cy="59918"/>
            </a:xfrm>
            <a:custGeom>
              <a:avLst/>
              <a:gdLst>
                <a:gd name="connsiteX0" fmla="*/ 41744 w 50769"/>
                <a:gd name="connsiteY0" fmla="*/ 40134 h 59918"/>
                <a:gd name="connsiteX1" fmla="*/ 50769 w 50769"/>
                <a:gd name="connsiteY1" fmla="*/ 41547 h 59918"/>
                <a:gd name="connsiteX2" fmla="*/ 43154 w 50769"/>
                <a:gd name="connsiteY2" fmla="*/ 54548 h 59918"/>
                <a:gd name="connsiteX3" fmla="*/ 26513 w 50769"/>
                <a:gd name="connsiteY3" fmla="*/ 59919 h 59918"/>
                <a:gd name="connsiteX4" fmla="*/ 7333 w 50769"/>
                <a:gd name="connsiteY4" fmla="*/ 52287 h 59918"/>
                <a:gd name="connsiteX5" fmla="*/ 0 w 50769"/>
                <a:gd name="connsiteY5" fmla="*/ 29959 h 59918"/>
                <a:gd name="connsiteX6" fmla="*/ 1974 w 50769"/>
                <a:gd name="connsiteY6" fmla="*/ 16675 h 59918"/>
                <a:gd name="connsiteX7" fmla="*/ 7615 w 50769"/>
                <a:gd name="connsiteY7" fmla="*/ 7348 h 59918"/>
                <a:gd name="connsiteX8" fmla="*/ 16077 w 50769"/>
                <a:gd name="connsiteY8" fmla="*/ 1696 h 59918"/>
                <a:gd name="connsiteX9" fmla="*/ 26513 w 50769"/>
                <a:gd name="connsiteY9" fmla="*/ 0 h 59918"/>
                <a:gd name="connsiteX10" fmla="*/ 43436 w 50769"/>
                <a:gd name="connsiteY10" fmla="*/ 5370 h 59918"/>
                <a:gd name="connsiteX11" fmla="*/ 50769 w 50769"/>
                <a:gd name="connsiteY11" fmla="*/ 18089 h 59918"/>
                <a:gd name="connsiteX12" fmla="*/ 42026 w 50769"/>
                <a:gd name="connsiteY12" fmla="*/ 19784 h 59918"/>
                <a:gd name="connsiteX13" fmla="*/ 37513 w 50769"/>
                <a:gd name="connsiteY13" fmla="*/ 12153 h 59918"/>
                <a:gd name="connsiteX14" fmla="*/ 26795 w 50769"/>
                <a:gd name="connsiteY14" fmla="*/ 8479 h 59918"/>
                <a:gd name="connsiteX15" fmla="*/ 14103 w 50769"/>
                <a:gd name="connsiteY15" fmla="*/ 14132 h 59918"/>
                <a:gd name="connsiteX16" fmla="*/ 9590 w 50769"/>
                <a:gd name="connsiteY16" fmla="*/ 29677 h 59918"/>
                <a:gd name="connsiteX17" fmla="*/ 14103 w 50769"/>
                <a:gd name="connsiteY17" fmla="*/ 45222 h 59918"/>
                <a:gd name="connsiteX18" fmla="*/ 26795 w 50769"/>
                <a:gd name="connsiteY18" fmla="*/ 51157 h 59918"/>
                <a:gd name="connsiteX19" fmla="*/ 37795 w 50769"/>
                <a:gd name="connsiteY19" fmla="*/ 47483 h 59918"/>
                <a:gd name="connsiteX20" fmla="*/ 41744 w 50769"/>
                <a:gd name="connsiteY20" fmla="*/ 40134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769" h="59918">
                  <a:moveTo>
                    <a:pt x="41744" y="40134"/>
                  </a:moveTo>
                  <a:lnTo>
                    <a:pt x="50769" y="41547"/>
                  </a:lnTo>
                  <a:cubicBezTo>
                    <a:pt x="49641" y="46635"/>
                    <a:pt x="47103" y="51157"/>
                    <a:pt x="43154" y="54548"/>
                  </a:cubicBezTo>
                  <a:cubicBezTo>
                    <a:pt x="39205" y="58223"/>
                    <a:pt x="33564" y="59919"/>
                    <a:pt x="26513" y="59919"/>
                  </a:cubicBezTo>
                  <a:cubicBezTo>
                    <a:pt x="18615" y="59919"/>
                    <a:pt x="12128" y="57375"/>
                    <a:pt x="7333" y="52287"/>
                  </a:cubicBezTo>
                  <a:cubicBezTo>
                    <a:pt x="2538" y="47200"/>
                    <a:pt x="0" y="39851"/>
                    <a:pt x="0" y="29959"/>
                  </a:cubicBezTo>
                  <a:cubicBezTo>
                    <a:pt x="0" y="24872"/>
                    <a:pt x="564" y="20350"/>
                    <a:pt x="1974" y="16675"/>
                  </a:cubicBezTo>
                  <a:cubicBezTo>
                    <a:pt x="3385" y="13001"/>
                    <a:pt x="5359" y="9892"/>
                    <a:pt x="7615" y="7348"/>
                  </a:cubicBezTo>
                  <a:cubicBezTo>
                    <a:pt x="9872" y="4805"/>
                    <a:pt x="12692" y="3109"/>
                    <a:pt x="16077" y="1696"/>
                  </a:cubicBezTo>
                  <a:cubicBezTo>
                    <a:pt x="19462" y="565"/>
                    <a:pt x="22846" y="0"/>
                    <a:pt x="26513" y="0"/>
                  </a:cubicBezTo>
                  <a:cubicBezTo>
                    <a:pt x="33846" y="0"/>
                    <a:pt x="39487" y="1696"/>
                    <a:pt x="43436" y="5370"/>
                  </a:cubicBezTo>
                  <a:cubicBezTo>
                    <a:pt x="47385" y="9044"/>
                    <a:pt x="49641" y="13284"/>
                    <a:pt x="50769" y="18089"/>
                  </a:cubicBezTo>
                  <a:lnTo>
                    <a:pt x="42026" y="19784"/>
                  </a:lnTo>
                  <a:cubicBezTo>
                    <a:pt x="41179" y="16958"/>
                    <a:pt x="39769" y="14414"/>
                    <a:pt x="37513" y="12153"/>
                  </a:cubicBezTo>
                  <a:cubicBezTo>
                    <a:pt x="35256" y="9892"/>
                    <a:pt x="31590" y="8479"/>
                    <a:pt x="26795" y="8479"/>
                  </a:cubicBezTo>
                  <a:cubicBezTo>
                    <a:pt x="21436" y="8479"/>
                    <a:pt x="17205" y="10457"/>
                    <a:pt x="14103" y="14132"/>
                  </a:cubicBezTo>
                  <a:cubicBezTo>
                    <a:pt x="11000" y="18089"/>
                    <a:pt x="9590" y="23176"/>
                    <a:pt x="9590" y="29677"/>
                  </a:cubicBezTo>
                  <a:cubicBezTo>
                    <a:pt x="9590" y="36177"/>
                    <a:pt x="11000" y="41265"/>
                    <a:pt x="14103" y="45222"/>
                  </a:cubicBezTo>
                  <a:cubicBezTo>
                    <a:pt x="16923" y="49178"/>
                    <a:pt x="21154" y="51157"/>
                    <a:pt x="26795" y="51157"/>
                  </a:cubicBezTo>
                  <a:cubicBezTo>
                    <a:pt x="31872" y="51157"/>
                    <a:pt x="35538" y="50026"/>
                    <a:pt x="37795" y="47483"/>
                  </a:cubicBezTo>
                  <a:cubicBezTo>
                    <a:pt x="39487" y="45504"/>
                    <a:pt x="40897" y="42960"/>
                    <a:pt x="41744" y="40134"/>
                  </a:cubicBezTo>
                </a:path>
              </a:pathLst>
            </a:custGeom>
            <a:solidFill>
              <a:srgbClr val="7F8183"/>
            </a:solidFill>
            <a:ln w="2790" cap="flat">
              <a:noFill/>
              <a:prstDash val="solid"/>
              <a:miter/>
            </a:ln>
          </p:spPr>
          <p:txBody>
            <a:bodyPr rtlCol="0" anchor="ctr"/>
            <a:lstStyle/>
            <a:p>
              <a:endParaRPr lang="x-none" sz="1905"/>
            </a:p>
          </p:txBody>
        </p:sp>
        <p:sp>
          <p:nvSpPr>
            <p:cNvPr id="23" name="Freeform 22">
              <a:extLst>
                <a:ext uri="{FF2B5EF4-FFF2-40B4-BE49-F238E27FC236}">
                  <a16:creationId xmlns:a16="http://schemas.microsoft.com/office/drawing/2014/main" id="{E4A55DE7-CA8E-0840-8A5D-CAC473787E8B}"/>
                </a:ext>
              </a:extLst>
            </p:cNvPr>
            <p:cNvSpPr/>
            <p:nvPr/>
          </p:nvSpPr>
          <p:spPr>
            <a:xfrm>
              <a:off x="968111" y="5812155"/>
              <a:ext cx="51333" cy="57374"/>
            </a:xfrm>
            <a:custGeom>
              <a:avLst/>
              <a:gdLst>
                <a:gd name="connsiteX0" fmla="*/ 0 w 51333"/>
                <a:gd name="connsiteY0" fmla="*/ 9044 h 57374"/>
                <a:gd name="connsiteX1" fmla="*/ 0 w 51333"/>
                <a:gd name="connsiteY1" fmla="*/ 0 h 57374"/>
                <a:gd name="connsiteX2" fmla="*/ 51333 w 51333"/>
                <a:gd name="connsiteY2" fmla="*/ 0 h 57374"/>
                <a:gd name="connsiteX3" fmla="*/ 51333 w 51333"/>
                <a:gd name="connsiteY3" fmla="*/ 9044 h 57374"/>
                <a:gd name="connsiteX4" fmla="*/ 30462 w 51333"/>
                <a:gd name="connsiteY4" fmla="*/ 9044 h 57374"/>
                <a:gd name="connsiteX5" fmla="*/ 30462 w 51333"/>
                <a:gd name="connsiteY5" fmla="*/ 57375 h 57374"/>
                <a:gd name="connsiteX6" fmla="*/ 20872 w 51333"/>
                <a:gd name="connsiteY6" fmla="*/ 57375 h 57374"/>
                <a:gd name="connsiteX7" fmla="*/ 20872 w 51333"/>
                <a:gd name="connsiteY7" fmla="*/ 9044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333" h="57374">
                  <a:moveTo>
                    <a:pt x="0" y="9044"/>
                  </a:moveTo>
                  <a:lnTo>
                    <a:pt x="0" y="0"/>
                  </a:lnTo>
                  <a:lnTo>
                    <a:pt x="51333" y="0"/>
                  </a:lnTo>
                  <a:lnTo>
                    <a:pt x="51333" y="9044"/>
                  </a:lnTo>
                  <a:lnTo>
                    <a:pt x="30462" y="9044"/>
                  </a:lnTo>
                  <a:lnTo>
                    <a:pt x="30462" y="57375"/>
                  </a:lnTo>
                  <a:lnTo>
                    <a:pt x="20872" y="57375"/>
                  </a:lnTo>
                  <a:lnTo>
                    <a:pt x="20872" y="9044"/>
                  </a:lnTo>
                  <a:close/>
                </a:path>
              </a:pathLst>
            </a:custGeom>
            <a:solidFill>
              <a:srgbClr val="7F8183"/>
            </a:solidFill>
            <a:ln w="2790" cap="flat">
              <a:noFill/>
              <a:prstDash val="solid"/>
              <a:miter/>
            </a:ln>
          </p:spPr>
          <p:txBody>
            <a:bodyPr rtlCol="0" anchor="ctr"/>
            <a:lstStyle/>
            <a:p>
              <a:endParaRPr lang="x-none" sz="1905"/>
            </a:p>
          </p:txBody>
        </p:sp>
        <p:grpSp>
          <p:nvGrpSpPr>
            <p:cNvPr id="24" name="Graphic 14">
              <a:extLst>
                <a:ext uri="{FF2B5EF4-FFF2-40B4-BE49-F238E27FC236}">
                  <a16:creationId xmlns:a16="http://schemas.microsoft.com/office/drawing/2014/main" id="{EFA7B93E-DE11-0C42-9FDB-635B9BB922E3}"/>
                </a:ext>
              </a:extLst>
            </p:cNvPr>
            <p:cNvGrpSpPr/>
            <p:nvPr/>
          </p:nvGrpSpPr>
          <p:grpSpPr>
            <a:xfrm>
              <a:off x="1031291" y="5811024"/>
              <a:ext cx="110282" cy="59918"/>
              <a:chOff x="1031291" y="5811024"/>
              <a:chExt cx="110282" cy="59918"/>
            </a:xfrm>
            <a:solidFill>
              <a:srgbClr val="CFD4D9"/>
            </a:solidFill>
          </p:grpSpPr>
          <p:sp>
            <p:nvSpPr>
              <p:cNvPr id="25" name="Freeform 24">
                <a:extLst>
                  <a:ext uri="{FF2B5EF4-FFF2-40B4-BE49-F238E27FC236}">
                    <a16:creationId xmlns:a16="http://schemas.microsoft.com/office/drawing/2014/main" id="{594A101E-06B7-1947-9317-FC7D7E0291F8}"/>
                  </a:ext>
                </a:extLst>
              </p:cNvPr>
              <p:cNvSpPr/>
              <p:nvPr/>
            </p:nvSpPr>
            <p:spPr>
              <a:xfrm>
                <a:off x="1031291" y="5812155"/>
                <a:ext cx="45410" cy="57657"/>
              </a:xfrm>
              <a:custGeom>
                <a:avLst/>
                <a:gdLst>
                  <a:gd name="connsiteX0" fmla="*/ 26231 w 45410"/>
                  <a:gd name="connsiteY0" fmla="*/ 32220 h 57657"/>
                  <a:gd name="connsiteX1" fmla="*/ 9308 w 45410"/>
                  <a:gd name="connsiteY1" fmla="*/ 32220 h 57657"/>
                  <a:gd name="connsiteX2" fmla="*/ 9308 w 45410"/>
                  <a:gd name="connsiteY2" fmla="*/ 49178 h 57657"/>
                  <a:gd name="connsiteX3" fmla="*/ 26231 w 45410"/>
                  <a:gd name="connsiteY3" fmla="*/ 49178 h 57657"/>
                  <a:gd name="connsiteX4" fmla="*/ 34128 w 45410"/>
                  <a:gd name="connsiteY4" fmla="*/ 46917 h 57657"/>
                  <a:gd name="connsiteX5" fmla="*/ 36385 w 45410"/>
                  <a:gd name="connsiteY5" fmla="*/ 40699 h 57657"/>
                  <a:gd name="connsiteX6" fmla="*/ 33846 w 45410"/>
                  <a:gd name="connsiteY6" fmla="*/ 34199 h 57657"/>
                  <a:gd name="connsiteX7" fmla="*/ 26231 w 45410"/>
                  <a:gd name="connsiteY7" fmla="*/ 32220 h 57657"/>
                  <a:gd name="connsiteX8" fmla="*/ 24538 w 45410"/>
                  <a:gd name="connsiteY8" fmla="*/ 8196 h 57657"/>
                  <a:gd name="connsiteX9" fmla="*/ 9308 w 45410"/>
                  <a:gd name="connsiteY9" fmla="*/ 8196 h 57657"/>
                  <a:gd name="connsiteX10" fmla="*/ 9308 w 45410"/>
                  <a:gd name="connsiteY10" fmla="*/ 24307 h 57657"/>
                  <a:gd name="connsiteX11" fmla="*/ 25385 w 45410"/>
                  <a:gd name="connsiteY11" fmla="*/ 24307 h 57657"/>
                  <a:gd name="connsiteX12" fmla="*/ 32436 w 45410"/>
                  <a:gd name="connsiteY12" fmla="*/ 22328 h 57657"/>
                  <a:gd name="connsiteX13" fmla="*/ 34692 w 45410"/>
                  <a:gd name="connsiteY13" fmla="*/ 16110 h 57657"/>
                  <a:gd name="connsiteX14" fmla="*/ 32436 w 45410"/>
                  <a:gd name="connsiteY14" fmla="*/ 9892 h 57657"/>
                  <a:gd name="connsiteX15" fmla="*/ 24538 w 45410"/>
                  <a:gd name="connsiteY15" fmla="*/ 8196 h 57657"/>
                  <a:gd name="connsiteX16" fmla="*/ 0 w 45410"/>
                  <a:gd name="connsiteY16" fmla="*/ 57375 h 57657"/>
                  <a:gd name="connsiteX17" fmla="*/ 0 w 45410"/>
                  <a:gd name="connsiteY17" fmla="*/ 0 h 57657"/>
                  <a:gd name="connsiteX18" fmla="*/ 24538 w 45410"/>
                  <a:gd name="connsiteY18" fmla="*/ 0 h 57657"/>
                  <a:gd name="connsiteX19" fmla="*/ 38923 w 45410"/>
                  <a:gd name="connsiteY19" fmla="*/ 3957 h 57657"/>
                  <a:gd name="connsiteX20" fmla="*/ 44000 w 45410"/>
                  <a:gd name="connsiteY20" fmla="*/ 15545 h 57657"/>
                  <a:gd name="connsiteX21" fmla="*/ 42308 w 45410"/>
                  <a:gd name="connsiteY21" fmla="*/ 22328 h 57657"/>
                  <a:gd name="connsiteX22" fmla="*/ 35821 w 45410"/>
                  <a:gd name="connsiteY22" fmla="*/ 27698 h 57657"/>
                  <a:gd name="connsiteX23" fmla="*/ 43154 w 45410"/>
                  <a:gd name="connsiteY23" fmla="*/ 32786 h 57657"/>
                  <a:gd name="connsiteX24" fmla="*/ 45410 w 45410"/>
                  <a:gd name="connsiteY24" fmla="*/ 41265 h 57657"/>
                  <a:gd name="connsiteX25" fmla="*/ 40898 w 45410"/>
                  <a:gd name="connsiteY25" fmla="*/ 53135 h 57657"/>
                  <a:gd name="connsiteX26" fmla="*/ 26231 w 45410"/>
                  <a:gd name="connsiteY26" fmla="*/ 57657 h 57657"/>
                  <a:gd name="connsiteX27" fmla="*/ 0 w 45410"/>
                  <a:gd name="connsiteY27" fmla="*/ 57657 h 5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5410" h="57657">
                    <a:moveTo>
                      <a:pt x="26231" y="32220"/>
                    </a:moveTo>
                    <a:lnTo>
                      <a:pt x="9308" y="32220"/>
                    </a:lnTo>
                    <a:lnTo>
                      <a:pt x="9308" y="49178"/>
                    </a:lnTo>
                    <a:lnTo>
                      <a:pt x="26231" y="49178"/>
                    </a:lnTo>
                    <a:cubicBezTo>
                      <a:pt x="29897" y="49178"/>
                      <a:pt x="32436" y="48330"/>
                      <a:pt x="34128" y="46917"/>
                    </a:cubicBezTo>
                    <a:cubicBezTo>
                      <a:pt x="35538" y="45504"/>
                      <a:pt x="36385" y="43526"/>
                      <a:pt x="36385" y="40699"/>
                    </a:cubicBezTo>
                    <a:cubicBezTo>
                      <a:pt x="36385" y="37590"/>
                      <a:pt x="35538" y="35612"/>
                      <a:pt x="33846" y="34199"/>
                    </a:cubicBezTo>
                    <a:cubicBezTo>
                      <a:pt x="32436" y="33068"/>
                      <a:pt x="29897" y="32220"/>
                      <a:pt x="26231" y="32220"/>
                    </a:cubicBezTo>
                    <a:moveTo>
                      <a:pt x="24538" y="8196"/>
                    </a:moveTo>
                    <a:lnTo>
                      <a:pt x="9308" y="8196"/>
                    </a:lnTo>
                    <a:lnTo>
                      <a:pt x="9308" y="24307"/>
                    </a:lnTo>
                    <a:lnTo>
                      <a:pt x="25385" y="24307"/>
                    </a:lnTo>
                    <a:cubicBezTo>
                      <a:pt x="28487" y="24307"/>
                      <a:pt x="31026" y="23741"/>
                      <a:pt x="32436" y="22328"/>
                    </a:cubicBezTo>
                    <a:cubicBezTo>
                      <a:pt x="34128" y="20915"/>
                      <a:pt x="34692" y="18937"/>
                      <a:pt x="34692" y="16110"/>
                    </a:cubicBezTo>
                    <a:cubicBezTo>
                      <a:pt x="34692" y="13284"/>
                      <a:pt x="33846" y="11305"/>
                      <a:pt x="32436" y="9892"/>
                    </a:cubicBezTo>
                    <a:cubicBezTo>
                      <a:pt x="31308" y="9044"/>
                      <a:pt x="28487" y="8196"/>
                      <a:pt x="24538" y="8196"/>
                    </a:cubicBezTo>
                    <a:moveTo>
                      <a:pt x="0" y="57375"/>
                    </a:moveTo>
                    <a:lnTo>
                      <a:pt x="0" y="0"/>
                    </a:lnTo>
                    <a:lnTo>
                      <a:pt x="24538" y="0"/>
                    </a:lnTo>
                    <a:cubicBezTo>
                      <a:pt x="30744" y="0"/>
                      <a:pt x="35538" y="1413"/>
                      <a:pt x="38923" y="3957"/>
                    </a:cubicBezTo>
                    <a:cubicBezTo>
                      <a:pt x="42308" y="6501"/>
                      <a:pt x="44000" y="10457"/>
                      <a:pt x="44000" y="15545"/>
                    </a:cubicBezTo>
                    <a:cubicBezTo>
                      <a:pt x="44000" y="17806"/>
                      <a:pt x="43436" y="20067"/>
                      <a:pt x="42308" y="22328"/>
                    </a:cubicBezTo>
                    <a:cubicBezTo>
                      <a:pt x="41179" y="24589"/>
                      <a:pt x="39205" y="26568"/>
                      <a:pt x="35821" y="27698"/>
                    </a:cubicBezTo>
                    <a:cubicBezTo>
                      <a:pt x="39205" y="28829"/>
                      <a:pt x="41744" y="30524"/>
                      <a:pt x="43154" y="32786"/>
                    </a:cubicBezTo>
                    <a:cubicBezTo>
                      <a:pt x="44564" y="35047"/>
                      <a:pt x="45410" y="37873"/>
                      <a:pt x="45410" y="41265"/>
                    </a:cubicBezTo>
                    <a:cubicBezTo>
                      <a:pt x="45410" y="46069"/>
                      <a:pt x="44000" y="50026"/>
                      <a:pt x="40898" y="53135"/>
                    </a:cubicBezTo>
                    <a:cubicBezTo>
                      <a:pt x="37795" y="55962"/>
                      <a:pt x="33000" y="57657"/>
                      <a:pt x="26231" y="57657"/>
                    </a:cubicBezTo>
                    <a:lnTo>
                      <a:pt x="0" y="57657"/>
                    </a:lnTo>
                    <a:close/>
                  </a:path>
                </a:pathLst>
              </a:custGeom>
              <a:solidFill>
                <a:srgbClr val="7F8183"/>
              </a:solidFill>
              <a:ln w="2790" cap="flat">
                <a:noFill/>
                <a:prstDash val="solid"/>
                <a:miter/>
              </a:ln>
            </p:spPr>
            <p:txBody>
              <a:bodyPr rtlCol="0" anchor="ctr"/>
              <a:lstStyle/>
              <a:p>
                <a:endParaRPr lang="x-none" sz="1905"/>
              </a:p>
            </p:txBody>
          </p:sp>
          <p:sp>
            <p:nvSpPr>
              <p:cNvPr id="26" name="Freeform 25">
                <a:extLst>
                  <a:ext uri="{FF2B5EF4-FFF2-40B4-BE49-F238E27FC236}">
                    <a16:creationId xmlns:a16="http://schemas.microsoft.com/office/drawing/2014/main" id="{9F755969-685C-9E45-8E21-154064CC4ACA}"/>
                  </a:ext>
                </a:extLst>
              </p:cNvPr>
              <p:cNvSpPr/>
              <p:nvPr/>
            </p:nvSpPr>
            <p:spPr>
              <a:xfrm>
                <a:off x="1087701" y="5811024"/>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487" y="49461"/>
                      <a:pt x="21718"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764"/>
                      <a:pt x="0" y="29959"/>
                    </a:cubicBezTo>
                    <a:cubicBezTo>
                      <a:pt x="0" y="20350"/>
                      <a:pt x="2538" y="13001"/>
                      <a:pt x="7615" y="7914"/>
                    </a:cubicBezTo>
                    <a:cubicBezTo>
                      <a:pt x="12692" y="2826"/>
                      <a:pt x="19179" y="0"/>
                      <a:pt x="27359" y="0"/>
                    </a:cubicBezTo>
                    <a:cubicBezTo>
                      <a:pt x="35256" y="0"/>
                      <a:pt x="41744" y="2544"/>
                      <a:pt x="46539" y="7914"/>
                    </a:cubicBezTo>
                    <a:cubicBezTo>
                      <a:pt x="51333" y="13001"/>
                      <a:pt x="53872" y="20350"/>
                      <a:pt x="53872" y="29959"/>
                    </a:cubicBezTo>
                    <a:cubicBezTo>
                      <a:pt x="53872" y="39286"/>
                      <a:pt x="51333" y="46635"/>
                      <a:pt x="46539" y="52005"/>
                    </a:cubicBezTo>
                    <a:cubicBezTo>
                      <a:pt x="41462" y="57092"/>
                      <a:pt x="35256" y="59919"/>
                      <a:pt x="27359" y="59919"/>
                    </a:cubicBezTo>
                  </a:path>
                </a:pathLst>
              </a:custGeom>
              <a:solidFill>
                <a:srgbClr val="7F8183"/>
              </a:solidFill>
              <a:ln w="2790" cap="flat">
                <a:noFill/>
                <a:prstDash val="solid"/>
                <a:miter/>
              </a:ln>
            </p:spPr>
            <p:txBody>
              <a:bodyPr rtlCol="0" anchor="ctr"/>
              <a:lstStyle/>
              <a:p>
                <a:endParaRPr lang="x-none" sz="1905"/>
              </a:p>
            </p:txBody>
          </p:sp>
        </p:grpSp>
        <p:sp>
          <p:nvSpPr>
            <p:cNvPr id="27" name="Freeform 26">
              <a:extLst>
                <a:ext uri="{FF2B5EF4-FFF2-40B4-BE49-F238E27FC236}">
                  <a16:creationId xmlns:a16="http://schemas.microsoft.com/office/drawing/2014/main" id="{11356EE0-0A07-F142-85BE-2D1A3DE3BDD7}"/>
                </a:ext>
              </a:extLst>
            </p:cNvPr>
            <p:cNvSpPr/>
            <p:nvPr/>
          </p:nvSpPr>
          <p:spPr>
            <a:xfrm>
              <a:off x="351829" y="5935383"/>
              <a:ext cx="48230" cy="57374"/>
            </a:xfrm>
            <a:custGeom>
              <a:avLst/>
              <a:gdLst>
                <a:gd name="connsiteX0" fmla="*/ 0 w 48230"/>
                <a:gd name="connsiteY0" fmla="*/ 57375 h 57374"/>
                <a:gd name="connsiteX1" fmla="*/ 0 w 48230"/>
                <a:gd name="connsiteY1" fmla="*/ 0 h 57374"/>
                <a:gd name="connsiteX2" fmla="*/ 48231 w 48230"/>
                <a:gd name="connsiteY2" fmla="*/ 0 h 57374"/>
                <a:gd name="connsiteX3" fmla="*/ 48231 w 48230"/>
                <a:gd name="connsiteY3" fmla="*/ 57375 h 57374"/>
                <a:gd name="connsiteX4" fmla="*/ 38641 w 48230"/>
                <a:gd name="connsiteY4" fmla="*/ 57375 h 57374"/>
                <a:gd name="connsiteX5" fmla="*/ 38641 w 48230"/>
                <a:gd name="connsiteY5" fmla="*/ 9044 h 57374"/>
                <a:gd name="connsiteX6" fmla="*/ 9308 w 48230"/>
                <a:gd name="connsiteY6" fmla="*/ 9044 h 57374"/>
                <a:gd name="connsiteX7" fmla="*/ 9308 w 48230"/>
                <a:gd name="connsiteY7"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30" h="57374">
                  <a:moveTo>
                    <a:pt x="0" y="57375"/>
                  </a:moveTo>
                  <a:lnTo>
                    <a:pt x="0" y="0"/>
                  </a:lnTo>
                  <a:lnTo>
                    <a:pt x="48231" y="0"/>
                  </a:lnTo>
                  <a:lnTo>
                    <a:pt x="48231" y="57375"/>
                  </a:lnTo>
                  <a:lnTo>
                    <a:pt x="38641" y="57375"/>
                  </a:lnTo>
                  <a:lnTo>
                    <a:pt x="38641" y="9044"/>
                  </a:lnTo>
                  <a:lnTo>
                    <a:pt x="9308" y="9044"/>
                  </a:lnTo>
                  <a:lnTo>
                    <a:pt x="9308" y="57375"/>
                  </a:lnTo>
                  <a:close/>
                </a:path>
              </a:pathLst>
            </a:custGeom>
            <a:solidFill>
              <a:srgbClr val="7F8183"/>
            </a:solidFill>
            <a:ln w="2790" cap="flat">
              <a:noFill/>
              <a:prstDash val="solid"/>
              <a:miter/>
            </a:ln>
          </p:spPr>
          <p:txBody>
            <a:bodyPr rtlCol="0" anchor="ctr"/>
            <a:lstStyle/>
            <a:p>
              <a:endParaRPr lang="x-none" sz="1905"/>
            </a:p>
          </p:txBody>
        </p:sp>
        <p:grpSp>
          <p:nvGrpSpPr>
            <p:cNvPr id="28" name="Graphic 14">
              <a:extLst>
                <a:ext uri="{FF2B5EF4-FFF2-40B4-BE49-F238E27FC236}">
                  <a16:creationId xmlns:a16="http://schemas.microsoft.com/office/drawing/2014/main" id="{EFA7B93E-DE11-0C42-9FDB-635B9BB922E3}"/>
                </a:ext>
              </a:extLst>
            </p:cNvPr>
            <p:cNvGrpSpPr/>
            <p:nvPr/>
          </p:nvGrpSpPr>
          <p:grpSpPr>
            <a:xfrm>
              <a:off x="417829" y="5933970"/>
              <a:ext cx="245948" cy="82246"/>
              <a:chOff x="417829" y="5933970"/>
              <a:chExt cx="245948" cy="82246"/>
            </a:xfrm>
            <a:solidFill>
              <a:srgbClr val="CFD4D9"/>
            </a:solidFill>
          </p:grpSpPr>
          <p:sp>
            <p:nvSpPr>
              <p:cNvPr id="29" name="Freeform 28">
                <a:extLst>
                  <a:ext uri="{FF2B5EF4-FFF2-40B4-BE49-F238E27FC236}">
                    <a16:creationId xmlns:a16="http://schemas.microsoft.com/office/drawing/2014/main" id="{D43FD1D5-41D8-2A4E-B5DC-49B4F5A818F2}"/>
                  </a:ext>
                </a:extLst>
              </p:cNvPr>
              <p:cNvSpPr/>
              <p:nvPr/>
            </p:nvSpPr>
            <p:spPr>
              <a:xfrm>
                <a:off x="417829" y="5933970"/>
                <a:ext cx="54153" cy="82246"/>
              </a:xfrm>
              <a:custGeom>
                <a:avLst/>
                <a:gdLst>
                  <a:gd name="connsiteX0" fmla="*/ 9590 w 54153"/>
                  <a:gd name="connsiteY0" fmla="*/ 34764 h 82246"/>
                  <a:gd name="connsiteX1" fmla="*/ 14949 w 54153"/>
                  <a:gd name="connsiteY1" fmla="*/ 46917 h 82246"/>
                  <a:gd name="connsiteX2" fmla="*/ 27641 w 54153"/>
                  <a:gd name="connsiteY2" fmla="*/ 51439 h 82246"/>
                  <a:gd name="connsiteX3" fmla="*/ 40051 w 54153"/>
                  <a:gd name="connsiteY3" fmla="*/ 45504 h 82246"/>
                  <a:gd name="connsiteX4" fmla="*/ 44564 w 54153"/>
                  <a:gd name="connsiteY4" fmla="*/ 29677 h 82246"/>
                  <a:gd name="connsiteX5" fmla="*/ 40051 w 54153"/>
                  <a:gd name="connsiteY5" fmla="*/ 14414 h 82246"/>
                  <a:gd name="connsiteX6" fmla="*/ 27359 w 54153"/>
                  <a:gd name="connsiteY6" fmla="*/ 8479 h 82246"/>
                  <a:gd name="connsiteX7" fmla="*/ 20872 w 54153"/>
                  <a:gd name="connsiteY7" fmla="*/ 9610 h 82246"/>
                  <a:gd name="connsiteX8" fmla="*/ 15231 w 54153"/>
                  <a:gd name="connsiteY8" fmla="*/ 13284 h 82246"/>
                  <a:gd name="connsiteX9" fmla="*/ 11282 w 54153"/>
                  <a:gd name="connsiteY9" fmla="*/ 19219 h 82246"/>
                  <a:gd name="connsiteX10" fmla="*/ 9872 w 54153"/>
                  <a:gd name="connsiteY10" fmla="*/ 27416 h 82246"/>
                  <a:gd name="connsiteX11" fmla="*/ 9872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590" y="34764"/>
                    </a:moveTo>
                    <a:cubicBezTo>
                      <a:pt x="9590" y="40134"/>
                      <a:pt x="11282" y="44091"/>
                      <a:pt x="14949" y="46917"/>
                    </a:cubicBezTo>
                    <a:cubicBezTo>
                      <a:pt x="18615" y="49744"/>
                      <a:pt x="22846" y="51439"/>
                      <a:pt x="27641" y="51439"/>
                    </a:cubicBezTo>
                    <a:cubicBezTo>
                      <a:pt x="33000" y="51439"/>
                      <a:pt x="36949" y="49461"/>
                      <a:pt x="40051" y="45504"/>
                    </a:cubicBezTo>
                    <a:cubicBezTo>
                      <a:pt x="43154" y="41547"/>
                      <a:pt x="44564" y="36460"/>
                      <a:pt x="44564" y="29677"/>
                    </a:cubicBezTo>
                    <a:cubicBezTo>
                      <a:pt x="44564" y="23459"/>
                      <a:pt x="43154" y="18371"/>
                      <a:pt x="40051" y="14414"/>
                    </a:cubicBezTo>
                    <a:cubicBezTo>
                      <a:pt x="36949" y="10457"/>
                      <a:pt x="32718" y="8479"/>
                      <a:pt x="27359" y="8479"/>
                    </a:cubicBezTo>
                    <a:cubicBezTo>
                      <a:pt x="25103" y="8479"/>
                      <a:pt x="22846" y="8762"/>
                      <a:pt x="20872" y="9610"/>
                    </a:cubicBezTo>
                    <a:cubicBezTo>
                      <a:pt x="18897" y="10457"/>
                      <a:pt x="16923" y="11588"/>
                      <a:pt x="15231" y="13284"/>
                    </a:cubicBezTo>
                    <a:cubicBezTo>
                      <a:pt x="13538" y="14980"/>
                      <a:pt x="12128" y="16958"/>
                      <a:pt x="11282" y="19219"/>
                    </a:cubicBezTo>
                    <a:cubicBezTo>
                      <a:pt x="10154" y="21763"/>
                      <a:pt x="9872" y="24307"/>
                      <a:pt x="9872" y="27416"/>
                    </a:cubicBezTo>
                    <a:lnTo>
                      <a:pt x="9872" y="34764"/>
                    </a:lnTo>
                    <a:close/>
                    <a:moveTo>
                      <a:pt x="0" y="82247"/>
                    </a:moveTo>
                    <a:lnTo>
                      <a:pt x="0" y="1413"/>
                    </a:lnTo>
                    <a:lnTo>
                      <a:pt x="9590" y="1413"/>
                    </a:lnTo>
                    <a:lnTo>
                      <a:pt x="9590" y="9044"/>
                    </a:lnTo>
                    <a:cubicBezTo>
                      <a:pt x="11564" y="5935"/>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sp>
            <p:nvSpPr>
              <p:cNvPr id="30" name="Freeform 29">
                <a:extLst>
                  <a:ext uri="{FF2B5EF4-FFF2-40B4-BE49-F238E27FC236}">
                    <a16:creationId xmlns:a16="http://schemas.microsoft.com/office/drawing/2014/main" id="{1E64769E-32E5-9F47-9D5B-5483F8F4DE50}"/>
                  </a:ext>
                </a:extLst>
              </p:cNvPr>
              <p:cNvSpPr/>
              <p:nvPr/>
            </p:nvSpPr>
            <p:spPr>
              <a:xfrm>
                <a:off x="482983" y="5934253"/>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487" y="49461"/>
                      <a:pt x="22000"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481"/>
                      <a:pt x="0" y="29959"/>
                    </a:cubicBezTo>
                    <a:cubicBezTo>
                      <a:pt x="0" y="20350"/>
                      <a:pt x="2538" y="13001"/>
                      <a:pt x="7615" y="7914"/>
                    </a:cubicBezTo>
                    <a:cubicBezTo>
                      <a:pt x="12692" y="2826"/>
                      <a:pt x="19180" y="0"/>
                      <a:pt x="27359" y="0"/>
                    </a:cubicBezTo>
                    <a:cubicBezTo>
                      <a:pt x="35256" y="0"/>
                      <a:pt x="41744" y="2544"/>
                      <a:pt x="46539" y="7914"/>
                    </a:cubicBezTo>
                    <a:cubicBezTo>
                      <a:pt x="51333" y="13001"/>
                      <a:pt x="53872" y="20350"/>
                      <a:pt x="53872" y="29959"/>
                    </a:cubicBezTo>
                    <a:cubicBezTo>
                      <a:pt x="53872" y="39286"/>
                      <a:pt x="51333" y="46635"/>
                      <a:pt x="46539" y="52005"/>
                    </a:cubicBezTo>
                    <a:cubicBezTo>
                      <a:pt x="41744" y="57092"/>
                      <a:pt x="35256" y="59919"/>
                      <a:pt x="27359" y="59919"/>
                    </a:cubicBezTo>
                  </a:path>
                </a:pathLst>
              </a:custGeom>
              <a:solidFill>
                <a:srgbClr val="7F8183"/>
              </a:solidFill>
              <a:ln w="2790" cap="flat">
                <a:noFill/>
                <a:prstDash val="solid"/>
                <a:miter/>
              </a:ln>
            </p:spPr>
            <p:txBody>
              <a:bodyPr rtlCol="0" anchor="ctr"/>
              <a:lstStyle/>
              <a:p>
                <a:endParaRPr lang="x-none" sz="1905"/>
              </a:p>
            </p:txBody>
          </p:sp>
          <p:sp>
            <p:nvSpPr>
              <p:cNvPr id="31" name="Freeform 30">
                <a:extLst>
                  <a:ext uri="{FF2B5EF4-FFF2-40B4-BE49-F238E27FC236}">
                    <a16:creationId xmlns:a16="http://schemas.microsoft.com/office/drawing/2014/main" id="{9B71F156-CD9A-034F-9CBB-CBAB2ECAA703}"/>
                  </a:ext>
                </a:extLst>
              </p:cNvPr>
              <p:cNvSpPr/>
              <p:nvPr/>
            </p:nvSpPr>
            <p:spPr>
              <a:xfrm>
                <a:off x="541932" y="5935383"/>
                <a:ext cx="63461" cy="73767"/>
              </a:xfrm>
              <a:custGeom>
                <a:avLst/>
                <a:gdLst>
                  <a:gd name="connsiteX0" fmla="*/ 22282 w 63461"/>
                  <a:gd name="connsiteY0" fmla="*/ 33068 h 73767"/>
                  <a:gd name="connsiteX1" fmla="*/ 20308 w 63461"/>
                  <a:gd name="connsiteY1" fmla="*/ 41830 h 73767"/>
                  <a:gd name="connsiteX2" fmla="*/ 16923 w 63461"/>
                  <a:gd name="connsiteY2" fmla="*/ 48331 h 73767"/>
                  <a:gd name="connsiteX3" fmla="*/ 44846 w 63461"/>
                  <a:gd name="connsiteY3" fmla="*/ 48331 h 73767"/>
                  <a:gd name="connsiteX4" fmla="*/ 44846 w 63461"/>
                  <a:gd name="connsiteY4" fmla="*/ 8762 h 73767"/>
                  <a:gd name="connsiteX5" fmla="*/ 23128 w 63461"/>
                  <a:gd name="connsiteY5" fmla="*/ 8762 h 73767"/>
                  <a:gd name="connsiteX6" fmla="*/ 23128 w 63461"/>
                  <a:gd name="connsiteY6" fmla="*/ 23176 h 73767"/>
                  <a:gd name="connsiteX7" fmla="*/ 22282 w 63461"/>
                  <a:gd name="connsiteY7" fmla="*/ 33068 h 73767"/>
                  <a:gd name="connsiteX8" fmla="*/ 0 w 63461"/>
                  <a:gd name="connsiteY8" fmla="*/ 48613 h 73767"/>
                  <a:gd name="connsiteX9" fmla="*/ 5923 w 63461"/>
                  <a:gd name="connsiteY9" fmla="*/ 48613 h 73767"/>
                  <a:gd name="connsiteX10" fmla="*/ 11000 w 63461"/>
                  <a:gd name="connsiteY10" fmla="*/ 41547 h 73767"/>
                  <a:gd name="connsiteX11" fmla="*/ 13256 w 63461"/>
                  <a:gd name="connsiteY11" fmla="*/ 31938 h 73767"/>
                  <a:gd name="connsiteX12" fmla="*/ 13538 w 63461"/>
                  <a:gd name="connsiteY12" fmla="*/ 27416 h 73767"/>
                  <a:gd name="connsiteX13" fmla="*/ 13821 w 63461"/>
                  <a:gd name="connsiteY13" fmla="*/ 21198 h 73767"/>
                  <a:gd name="connsiteX14" fmla="*/ 13821 w 63461"/>
                  <a:gd name="connsiteY14" fmla="*/ 12436 h 73767"/>
                  <a:gd name="connsiteX15" fmla="*/ 13821 w 63461"/>
                  <a:gd name="connsiteY15" fmla="*/ 0 h 73767"/>
                  <a:gd name="connsiteX16" fmla="*/ 54154 w 63461"/>
                  <a:gd name="connsiteY16" fmla="*/ 0 h 73767"/>
                  <a:gd name="connsiteX17" fmla="*/ 54154 w 63461"/>
                  <a:gd name="connsiteY17" fmla="*/ 48613 h 73767"/>
                  <a:gd name="connsiteX18" fmla="*/ 63462 w 63461"/>
                  <a:gd name="connsiteY18" fmla="*/ 48613 h 73767"/>
                  <a:gd name="connsiteX19" fmla="*/ 63462 w 63461"/>
                  <a:gd name="connsiteY19" fmla="*/ 73768 h 73767"/>
                  <a:gd name="connsiteX20" fmla="*/ 54154 w 63461"/>
                  <a:gd name="connsiteY20" fmla="*/ 73768 h 73767"/>
                  <a:gd name="connsiteX21" fmla="*/ 54154 w 63461"/>
                  <a:gd name="connsiteY21" fmla="*/ 57657 h 73767"/>
                  <a:gd name="connsiteX22" fmla="*/ 9308 w 63461"/>
                  <a:gd name="connsiteY22" fmla="*/ 57657 h 73767"/>
                  <a:gd name="connsiteX23" fmla="*/ 9308 w 63461"/>
                  <a:gd name="connsiteY23" fmla="*/ 73768 h 73767"/>
                  <a:gd name="connsiteX24" fmla="*/ 0 w 63461"/>
                  <a:gd name="connsiteY24" fmla="*/ 73768 h 73767"/>
                  <a:gd name="connsiteX25" fmla="*/ 0 w 63461"/>
                  <a:gd name="connsiteY25" fmla="*/ 48613 h 7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3461" h="73767">
                    <a:moveTo>
                      <a:pt x="22282" y="33068"/>
                    </a:moveTo>
                    <a:cubicBezTo>
                      <a:pt x="22000" y="36460"/>
                      <a:pt x="21154" y="39286"/>
                      <a:pt x="20308" y="41830"/>
                    </a:cubicBezTo>
                    <a:cubicBezTo>
                      <a:pt x="19180" y="44374"/>
                      <a:pt x="18051" y="46635"/>
                      <a:pt x="16923" y="48331"/>
                    </a:cubicBezTo>
                    <a:lnTo>
                      <a:pt x="44846" y="48331"/>
                    </a:lnTo>
                    <a:lnTo>
                      <a:pt x="44846" y="8762"/>
                    </a:lnTo>
                    <a:lnTo>
                      <a:pt x="23128" y="8762"/>
                    </a:lnTo>
                    <a:cubicBezTo>
                      <a:pt x="23128" y="14414"/>
                      <a:pt x="23128" y="19219"/>
                      <a:pt x="23128" y="23176"/>
                    </a:cubicBezTo>
                    <a:cubicBezTo>
                      <a:pt x="22564" y="27698"/>
                      <a:pt x="22564" y="30807"/>
                      <a:pt x="22282" y="33068"/>
                    </a:cubicBezTo>
                    <a:moveTo>
                      <a:pt x="0" y="48613"/>
                    </a:moveTo>
                    <a:lnTo>
                      <a:pt x="5923" y="48613"/>
                    </a:lnTo>
                    <a:cubicBezTo>
                      <a:pt x="7897" y="46917"/>
                      <a:pt x="9590" y="44656"/>
                      <a:pt x="11000" y="41547"/>
                    </a:cubicBezTo>
                    <a:cubicBezTo>
                      <a:pt x="12410" y="38438"/>
                      <a:pt x="13256" y="35329"/>
                      <a:pt x="13256" y="31938"/>
                    </a:cubicBezTo>
                    <a:cubicBezTo>
                      <a:pt x="13256" y="30525"/>
                      <a:pt x="13538" y="29111"/>
                      <a:pt x="13538" y="27416"/>
                    </a:cubicBezTo>
                    <a:cubicBezTo>
                      <a:pt x="13538" y="25720"/>
                      <a:pt x="13538" y="23741"/>
                      <a:pt x="13821" y="21198"/>
                    </a:cubicBezTo>
                    <a:cubicBezTo>
                      <a:pt x="13821" y="18654"/>
                      <a:pt x="13821" y="15828"/>
                      <a:pt x="13821" y="12436"/>
                    </a:cubicBezTo>
                    <a:cubicBezTo>
                      <a:pt x="13821" y="9044"/>
                      <a:pt x="13821" y="4805"/>
                      <a:pt x="13821" y="0"/>
                    </a:cubicBezTo>
                    <a:lnTo>
                      <a:pt x="54154" y="0"/>
                    </a:lnTo>
                    <a:lnTo>
                      <a:pt x="54154" y="48613"/>
                    </a:lnTo>
                    <a:lnTo>
                      <a:pt x="63462" y="48613"/>
                    </a:lnTo>
                    <a:lnTo>
                      <a:pt x="63462" y="73768"/>
                    </a:lnTo>
                    <a:lnTo>
                      <a:pt x="54154" y="73768"/>
                    </a:lnTo>
                    <a:lnTo>
                      <a:pt x="54154" y="57657"/>
                    </a:lnTo>
                    <a:lnTo>
                      <a:pt x="9308" y="57657"/>
                    </a:lnTo>
                    <a:lnTo>
                      <a:pt x="9308" y="73768"/>
                    </a:lnTo>
                    <a:lnTo>
                      <a:pt x="0" y="73768"/>
                    </a:lnTo>
                    <a:lnTo>
                      <a:pt x="0" y="48613"/>
                    </a:lnTo>
                    <a:close/>
                  </a:path>
                </a:pathLst>
              </a:custGeom>
              <a:solidFill>
                <a:srgbClr val="7F8183"/>
              </a:solidFill>
              <a:ln w="2790" cap="flat">
                <a:noFill/>
                <a:prstDash val="solid"/>
                <a:miter/>
              </a:ln>
            </p:spPr>
            <p:txBody>
              <a:bodyPr rtlCol="0" anchor="ctr"/>
              <a:lstStyle/>
              <a:p>
                <a:endParaRPr lang="x-none" sz="1905"/>
              </a:p>
            </p:txBody>
          </p:sp>
          <p:sp>
            <p:nvSpPr>
              <p:cNvPr id="32" name="Freeform 31">
                <a:extLst>
                  <a:ext uri="{FF2B5EF4-FFF2-40B4-BE49-F238E27FC236}">
                    <a16:creationId xmlns:a16="http://schemas.microsoft.com/office/drawing/2014/main" id="{99AA9C04-C6E9-E342-A945-C5B4E2EAE82C}"/>
                  </a:ext>
                </a:extLst>
              </p:cNvPr>
              <p:cNvSpPr/>
              <p:nvPr/>
            </p:nvSpPr>
            <p:spPr>
              <a:xfrm>
                <a:off x="608214" y="5935383"/>
                <a:ext cx="55564" cy="80833"/>
              </a:xfrm>
              <a:custGeom>
                <a:avLst/>
                <a:gdLst>
                  <a:gd name="connsiteX0" fmla="*/ 29615 w 55564"/>
                  <a:gd name="connsiteY0" fmla="*/ 66419 h 80833"/>
                  <a:gd name="connsiteX1" fmla="*/ 22000 w 55564"/>
                  <a:gd name="connsiteY1" fmla="*/ 77724 h 80833"/>
                  <a:gd name="connsiteX2" fmla="*/ 11282 w 55564"/>
                  <a:gd name="connsiteY2" fmla="*/ 80833 h 80833"/>
                  <a:gd name="connsiteX3" fmla="*/ 5923 w 55564"/>
                  <a:gd name="connsiteY3" fmla="*/ 80833 h 80833"/>
                  <a:gd name="connsiteX4" fmla="*/ 5923 w 55564"/>
                  <a:gd name="connsiteY4" fmla="*/ 71789 h 80833"/>
                  <a:gd name="connsiteX5" fmla="*/ 9590 w 55564"/>
                  <a:gd name="connsiteY5" fmla="*/ 71789 h 80833"/>
                  <a:gd name="connsiteX6" fmla="*/ 16641 w 55564"/>
                  <a:gd name="connsiteY6" fmla="*/ 70093 h 80833"/>
                  <a:gd name="connsiteX7" fmla="*/ 21436 w 55564"/>
                  <a:gd name="connsiteY7" fmla="*/ 63310 h 80833"/>
                  <a:gd name="connsiteX8" fmla="*/ 23974 w 55564"/>
                  <a:gd name="connsiteY8" fmla="*/ 57092 h 80833"/>
                  <a:gd name="connsiteX9" fmla="*/ 0 w 55564"/>
                  <a:gd name="connsiteY9" fmla="*/ 0 h 80833"/>
                  <a:gd name="connsiteX10" fmla="*/ 10436 w 55564"/>
                  <a:gd name="connsiteY10" fmla="*/ 0 h 80833"/>
                  <a:gd name="connsiteX11" fmla="*/ 29051 w 55564"/>
                  <a:gd name="connsiteY11" fmla="*/ 45504 h 80833"/>
                  <a:gd name="connsiteX12" fmla="*/ 45692 w 55564"/>
                  <a:gd name="connsiteY12" fmla="*/ 0 h 80833"/>
                  <a:gd name="connsiteX13" fmla="*/ 55564 w 55564"/>
                  <a:gd name="connsiteY13" fmla="*/ 0 h 80833"/>
                  <a:gd name="connsiteX14" fmla="*/ 29615 w 55564"/>
                  <a:gd name="connsiteY14" fmla="*/ 66419 h 8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564" h="80833">
                    <a:moveTo>
                      <a:pt x="29615" y="66419"/>
                    </a:moveTo>
                    <a:cubicBezTo>
                      <a:pt x="27359" y="71789"/>
                      <a:pt x="25103" y="75746"/>
                      <a:pt x="22000" y="77724"/>
                    </a:cubicBezTo>
                    <a:cubicBezTo>
                      <a:pt x="19180" y="79986"/>
                      <a:pt x="15513" y="80833"/>
                      <a:pt x="11282" y="80833"/>
                    </a:cubicBezTo>
                    <a:lnTo>
                      <a:pt x="5923" y="80833"/>
                    </a:lnTo>
                    <a:lnTo>
                      <a:pt x="5923" y="71789"/>
                    </a:lnTo>
                    <a:lnTo>
                      <a:pt x="9590" y="71789"/>
                    </a:lnTo>
                    <a:cubicBezTo>
                      <a:pt x="12410" y="71789"/>
                      <a:pt x="14667" y="71224"/>
                      <a:pt x="16641" y="70093"/>
                    </a:cubicBezTo>
                    <a:cubicBezTo>
                      <a:pt x="18615" y="68963"/>
                      <a:pt x="20308" y="66702"/>
                      <a:pt x="21436" y="63310"/>
                    </a:cubicBezTo>
                    <a:lnTo>
                      <a:pt x="23974" y="57092"/>
                    </a:lnTo>
                    <a:lnTo>
                      <a:pt x="0" y="0"/>
                    </a:lnTo>
                    <a:lnTo>
                      <a:pt x="10436" y="0"/>
                    </a:lnTo>
                    <a:lnTo>
                      <a:pt x="29051" y="45504"/>
                    </a:lnTo>
                    <a:lnTo>
                      <a:pt x="45692" y="0"/>
                    </a:lnTo>
                    <a:lnTo>
                      <a:pt x="55564" y="0"/>
                    </a:lnTo>
                    <a:lnTo>
                      <a:pt x="29615" y="66419"/>
                    </a:lnTo>
                    <a:close/>
                  </a:path>
                </a:pathLst>
              </a:custGeom>
              <a:solidFill>
                <a:srgbClr val="7F8183"/>
              </a:solidFill>
              <a:ln w="2790" cap="flat">
                <a:noFill/>
                <a:prstDash val="solid"/>
                <a:miter/>
              </a:ln>
            </p:spPr>
            <p:txBody>
              <a:bodyPr rtlCol="0" anchor="ctr"/>
              <a:lstStyle/>
              <a:p>
                <a:endParaRPr lang="x-none" sz="1905"/>
              </a:p>
            </p:txBody>
          </p:sp>
        </p:grpSp>
        <p:sp>
          <p:nvSpPr>
            <p:cNvPr id="33" name="Freeform 32">
              <a:extLst>
                <a:ext uri="{FF2B5EF4-FFF2-40B4-BE49-F238E27FC236}">
                  <a16:creationId xmlns:a16="http://schemas.microsoft.com/office/drawing/2014/main" id="{81962B0C-2005-EF40-9A1E-B753FA614827}"/>
                </a:ext>
              </a:extLst>
            </p:cNvPr>
            <p:cNvSpPr/>
            <p:nvPr/>
          </p:nvSpPr>
          <p:spPr>
            <a:xfrm>
              <a:off x="673650" y="5935383"/>
              <a:ext cx="66282" cy="57374"/>
            </a:xfrm>
            <a:custGeom>
              <a:avLst/>
              <a:gdLst>
                <a:gd name="connsiteX0" fmla="*/ 0 w 66282"/>
                <a:gd name="connsiteY0" fmla="*/ 57375 h 57374"/>
                <a:gd name="connsiteX1" fmla="*/ 0 w 66282"/>
                <a:gd name="connsiteY1" fmla="*/ 0 h 57374"/>
                <a:gd name="connsiteX2" fmla="*/ 14103 w 66282"/>
                <a:gd name="connsiteY2" fmla="*/ 0 h 57374"/>
                <a:gd name="connsiteX3" fmla="*/ 33282 w 66282"/>
                <a:gd name="connsiteY3" fmla="*/ 48048 h 57374"/>
                <a:gd name="connsiteX4" fmla="*/ 52744 w 66282"/>
                <a:gd name="connsiteY4" fmla="*/ 0 h 57374"/>
                <a:gd name="connsiteX5" fmla="*/ 66282 w 66282"/>
                <a:gd name="connsiteY5" fmla="*/ 0 h 57374"/>
                <a:gd name="connsiteX6" fmla="*/ 66282 w 66282"/>
                <a:gd name="connsiteY6" fmla="*/ 57375 h 57374"/>
                <a:gd name="connsiteX7" fmla="*/ 56974 w 66282"/>
                <a:gd name="connsiteY7" fmla="*/ 57375 h 57374"/>
                <a:gd name="connsiteX8" fmla="*/ 56974 w 66282"/>
                <a:gd name="connsiteY8" fmla="*/ 10457 h 57374"/>
                <a:gd name="connsiteX9" fmla="*/ 37795 w 66282"/>
                <a:gd name="connsiteY9" fmla="*/ 57375 h 57374"/>
                <a:gd name="connsiteX10" fmla="*/ 27923 w 66282"/>
                <a:gd name="connsiteY10" fmla="*/ 57375 h 57374"/>
                <a:gd name="connsiteX11" fmla="*/ 8744 w 66282"/>
                <a:gd name="connsiteY11" fmla="*/ 10457 h 57374"/>
                <a:gd name="connsiteX12" fmla="*/ 8744 w 66282"/>
                <a:gd name="connsiteY12"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282" h="57374">
                  <a:moveTo>
                    <a:pt x="0" y="57375"/>
                  </a:moveTo>
                  <a:lnTo>
                    <a:pt x="0" y="0"/>
                  </a:lnTo>
                  <a:lnTo>
                    <a:pt x="14103" y="0"/>
                  </a:lnTo>
                  <a:lnTo>
                    <a:pt x="33282" y="48048"/>
                  </a:lnTo>
                  <a:lnTo>
                    <a:pt x="52744" y="0"/>
                  </a:lnTo>
                  <a:lnTo>
                    <a:pt x="66282" y="0"/>
                  </a:lnTo>
                  <a:lnTo>
                    <a:pt x="66282" y="57375"/>
                  </a:lnTo>
                  <a:lnTo>
                    <a:pt x="56974" y="57375"/>
                  </a:lnTo>
                  <a:lnTo>
                    <a:pt x="56974" y="10457"/>
                  </a:lnTo>
                  <a:lnTo>
                    <a:pt x="37795" y="57375"/>
                  </a:lnTo>
                  <a:lnTo>
                    <a:pt x="27923" y="57375"/>
                  </a:lnTo>
                  <a:lnTo>
                    <a:pt x="8744" y="10457"/>
                  </a:lnTo>
                  <a:lnTo>
                    <a:pt x="8744" y="57375"/>
                  </a:lnTo>
                  <a:close/>
                </a:path>
              </a:pathLst>
            </a:custGeom>
            <a:solidFill>
              <a:srgbClr val="7F8183"/>
            </a:solidFill>
            <a:ln w="2790" cap="flat">
              <a:noFill/>
              <a:prstDash val="solid"/>
              <a:miter/>
            </a:ln>
          </p:spPr>
          <p:txBody>
            <a:bodyPr rtlCol="0" anchor="ctr"/>
            <a:lstStyle/>
            <a:p>
              <a:endParaRPr lang="x-none" sz="1905"/>
            </a:p>
          </p:txBody>
        </p:sp>
        <p:sp>
          <p:nvSpPr>
            <p:cNvPr id="34" name="Freeform 33">
              <a:extLst>
                <a:ext uri="{FF2B5EF4-FFF2-40B4-BE49-F238E27FC236}">
                  <a16:creationId xmlns:a16="http://schemas.microsoft.com/office/drawing/2014/main" id="{D5422049-BD4A-B140-88D7-FA949505F6A7}"/>
                </a:ext>
              </a:extLst>
            </p:cNvPr>
            <p:cNvSpPr/>
            <p:nvPr/>
          </p:nvSpPr>
          <p:spPr>
            <a:xfrm>
              <a:off x="755162" y="5934253"/>
              <a:ext cx="46820" cy="59635"/>
            </a:xfrm>
            <a:custGeom>
              <a:avLst/>
              <a:gdLst>
                <a:gd name="connsiteX0" fmla="*/ 37513 w 46820"/>
                <a:gd name="connsiteY0" fmla="*/ 33068 h 59635"/>
                <a:gd name="connsiteX1" fmla="*/ 29897 w 46820"/>
                <a:gd name="connsiteY1" fmla="*/ 33068 h 59635"/>
                <a:gd name="connsiteX2" fmla="*/ 21718 w 46820"/>
                <a:gd name="connsiteY2" fmla="*/ 33068 h 59635"/>
                <a:gd name="connsiteX3" fmla="*/ 12692 w 46820"/>
                <a:gd name="connsiteY3" fmla="*/ 35612 h 59635"/>
                <a:gd name="connsiteX4" fmla="*/ 9590 w 46820"/>
                <a:gd name="connsiteY4" fmla="*/ 42395 h 59635"/>
                <a:gd name="connsiteX5" fmla="*/ 12410 w 46820"/>
                <a:gd name="connsiteY5" fmla="*/ 48896 h 59635"/>
                <a:gd name="connsiteX6" fmla="*/ 20308 w 46820"/>
                <a:gd name="connsiteY6" fmla="*/ 51439 h 59635"/>
                <a:gd name="connsiteX7" fmla="*/ 32436 w 46820"/>
                <a:gd name="connsiteY7" fmla="*/ 47765 h 59635"/>
                <a:gd name="connsiteX8" fmla="*/ 37513 w 46820"/>
                <a:gd name="connsiteY8" fmla="*/ 38438 h 59635"/>
                <a:gd name="connsiteX9" fmla="*/ 37513 w 46820"/>
                <a:gd name="connsiteY9" fmla="*/ 33068 h 59635"/>
                <a:gd name="connsiteX10" fmla="*/ 38077 w 46820"/>
                <a:gd name="connsiteY10" fmla="*/ 58505 h 59635"/>
                <a:gd name="connsiteX11" fmla="*/ 38077 w 46820"/>
                <a:gd name="connsiteY11" fmla="*/ 51722 h 59635"/>
                <a:gd name="connsiteX12" fmla="*/ 30744 w 46820"/>
                <a:gd name="connsiteY12" fmla="*/ 57375 h 59635"/>
                <a:gd name="connsiteX13" fmla="*/ 20026 w 46820"/>
                <a:gd name="connsiteY13" fmla="*/ 59636 h 59635"/>
                <a:gd name="connsiteX14" fmla="*/ 5359 w 46820"/>
                <a:gd name="connsiteY14" fmla="*/ 55114 h 59635"/>
                <a:gd name="connsiteX15" fmla="*/ 0 w 46820"/>
                <a:gd name="connsiteY15" fmla="*/ 42678 h 59635"/>
                <a:gd name="connsiteX16" fmla="*/ 5923 w 46820"/>
                <a:gd name="connsiteY16" fmla="*/ 29677 h 59635"/>
                <a:gd name="connsiteX17" fmla="*/ 21718 w 46820"/>
                <a:gd name="connsiteY17" fmla="*/ 25437 h 59635"/>
                <a:gd name="connsiteX18" fmla="*/ 29897 w 46820"/>
                <a:gd name="connsiteY18" fmla="*/ 25437 h 59635"/>
                <a:gd name="connsiteX19" fmla="*/ 37513 w 46820"/>
                <a:gd name="connsiteY19" fmla="*/ 25720 h 59635"/>
                <a:gd name="connsiteX20" fmla="*/ 37513 w 46820"/>
                <a:gd name="connsiteY20" fmla="*/ 20632 h 59635"/>
                <a:gd name="connsiteX21" fmla="*/ 33846 w 46820"/>
                <a:gd name="connsiteY21" fmla="*/ 11588 h 59635"/>
                <a:gd name="connsiteX22" fmla="*/ 24821 w 46820"/>
                <a:gd name="connsiteY22" fmla="*/ 8762 h 59635"/>
                <a:gd name="connsiteX23" fmla="*/ 15513 w 46820"/>
                <a:gd name="connsiteY23" fmla="*/ 11871 h 59635"/>
                <a:gd name="connsiteX24" fmla="*/ 11000 w 46820"/>
                <a:gd name="connsiteY24" fmla="*/ 19219 h 59635"/>
                <a:gd name="connsiteX25" fmla="*/ 1974 w 46820"/>
                <a:gd name="connsiteY25" fmla="*/ 17241 h 59635"/>
                <a:gd name="connsiteX26" fmla="*/ 9590 w 46820"/>
                <a:gd name="connsiteY26" fmla="*/ 4805 h 59635"/>
                <a:gd name="connsiteX27" fmla="*/ 24821 w 46820"/>
                <a:gd name="connsiteY27" fmla="*/ 0 h 59635"/>
                <a:gd name="connsiteX28" fmla="*/ 40615 w 46820"/>
                <a:gd name="connsiteY28" fmla="*/ 4805 h 59635"/>
                <a:gd name="connsiteX29" fmla="*/ 46821 w 46820"/>
                <a:gd name="connsiteY29" fmla="*/ 20067 h 59635"/>
                <a:gd name="connsiteX30" fmla="*/ 46821 w 46820"/>
                <a:gd name="connsiteY30" fmla="*/ 58505 h 59635"/>
                <a:gd name="connsiteX31" fmla="*/ 38077 w 46820"/>
                <a:gd name="connsiteY31" fmla="*/ 58505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820" h="59635">
                  <a:moveTo>
                    <a:pt x="37513" y="33068"/>
                  </a:moveTo>
                  <a:cubicBezTo>
                    <a:pt x="35256" y="33068"/>
                    <a:pt x="32718" y="33068"/>
                    <a:pt x="29897" y="33068"/>
                  </a:cubicBezTo>
                  <a:cubicBezTo>
                    <a:pt x="27359" y="33068"/>
                    <a:pt x="24538" y="33068"/>
                    <a:pt x="21718" y="33068"/>
                  </a:cubicBezTo>
                  <a:cubicBezTo>
                    <a:pt x="17769" y="33351"/>
                    <a:pt x="14667" y="34199"/>
                    <a:pt x="12692" y="35612"/>
                  </a:cubicBezTo>
                  <a:cubicBezTo>
                    <a:pt x="10718" y="37308"/>
                    <a:pt x="9590" y="39569"/>
                    <a:pt x="9590" y="42395"/>
                  </a:cubicBezTo>
                  <a:cubicBezTo>
                    <a:pt x="9590" y="45222"/>
                    <a:pt x="10436" y="47200"/>
                    <a:pt x="12410" y="48896"/>
                  </a:cubicBezTo>
                  <a:cubicBezTo>
                    <a:pt x="14385" y="50592"/>
                    <a:pt x="16923" y="51439"/>
                    <a:pt x="20308" y="51439"/>
                  </a:cubicBezTo>
                  <a:cubicBezTo>
                    <a:pt x="25103" y="51439"/>
                    <a:pt x="29051" y="50309"/>
                    <a:pt x="32436" y="47765"/>
                  </a:cubicBezTo>
                  <a:cubicBezTo>
                    <a:pt x="35821" y="45504"/>
                    <a:pt x="37513" y="42395"/>
                    <a:pt x="37513" y="38438"/>
                  </a:cubicBezTo>
                  <a:lnTo>
                    <a:pt x="37513" y="33068"/>
                  </a:lnTo>
                  <a:close/>
                  <a:moveTo>
                    <a:pt x="38077" y="58505"/>
                  </a:moveTo>
                  <a:lnTo>
                    <a:pt x="38077" y="51722"/>
                  </a:lnTo>
                  <a:cubicBezTo>
                    <a:pt x="36385" y="53983"/>
                    <a:pt x="33846" y="55962"/>
                    <a:pt x="30744" y="57375"/>
                  </a:cubicBezTo>
                  <a:cubicBezTo>
                    <a:pt x="27641" y="58788"/>
                    <a:pt x="24256" y="59636"/>
                    <a:pt x="20026" y="59636"/>
                  </a:cubicBezTo>
                  <a:cubicBezTo>
                    <a:pt x="13821" y="59636"/>
                    <a:pt x="9026" y="58223"/>
                    <a:pt x="5359" y="55114"/>
                  </a:cubicBezTo>
                  <a:cubicBezTo>
                    <a:pt x="1692" y="52005"/>
                    <a:pt x="0" y="47765"/>
                    <a:pt x="0" y="42678"/>
                  </a:cubicBezTo>
                  <a:cubicBezTo>
                    <a:pt x="0" y="36742"/>
                    <a:pt x="1974" y="32503"/>
                    <a:pt x="5923" y="29677"/>
                  </a:cubicBezTo>
                  <a:cubicBezTo>
                    <a:pt x="9872" y="27133"/>
                    <a:pt x="14949" y="25437"/>
                    <a:pt x="21718" y="25437"/>
                  </a:cubicBezTo>
                  <a:cubicBezTo>
                    <a:pt x="24538" y="25437"/>
                    <a:pt x="27359" y="25437"/>
                    <a:pt x="29897" y="25437"/>
                  </a:cubicBezTo>
                  <a:cubicBezTo>
                    <a:pt x="32436" y="25437"/>
                    <a:pt x="34974" y="25437"/>
                    <a:pt x="37513" y="25720"/>
                  </a:cubicBezTo>
                  <a:lnTo>
                    <a:pt x="37513" y="20632"/>
                  </a:lnTo>
                  <a:cubicBezTo>
                    <a:pt x="37513" y="16393"/>
                    <a:pt x="36385" y="13284"/>
                    <a:pt x="33846" y="11588"/>
                  </a:cubicBezTo>
                  <a:cubicBezTo>
                    <a:pt x="31590" y="9610"/>
                    <a:pt x="28487" y="8762"/>
                    <a:pt x="24821" y="8762"/>
                  </a:cubicBezTo>
                  <a:cubicBezTo>
                    <a:pt x="20872" y="8762"/>
                    <a:pt x="17769" y="9892"/>
                    <a:pt x="15513" y="11871"/>
                  </a:cubicBezTo>
                  <a:cubicBezTo>
                    <a:pt x="13538" y="13849"/>
                    <a:pt x="11846" y="16393"/>
                    <a:pt x="11000" y="19219"/>
                  </a:cubicBezTo>
                  <a:lnTo>
                    <a:pt x="1974" y="17241"/>
                  </a:lnTo>
                  <a:cubicBezTo>
                    <a:pt x="3103" y="12153"/>
                    <a:pt x="5641" y="8196"/>
                    <a:pt x="9590" y="4805"/>
                  </a:cubicBezTo>
                  <a:cubicBezTo>
                    <a:pt x="13538" y="1696"/>
                    <a:pt x="18615" y="0"/>
                    <a:pt x="24821" y="0"/>
                  </a:cubicBezTo>
                  <a:cubicBezTo>
                    <a:pt x="31308" y="0"/>
                    <a:pt x="36667" y="1696"/>
                    <a:pt x="40615" y="4805"/>
                  </a:cubicBezTo>
                  <a:cubicBezTo>
                    <a:pt x="44846" y="8196"/>
                    <a:pt x="46821" y="13284"/>
                    <a:pt x="46821" y="20067"/>
                  </a:cubicBezTo>
                  <a:lnTo>
                    <a:pt x="46821" y="58505"/>
                  </a:lnTo>
                  <a:lnTo>
                    <a:pt x="38077" y="58505"/>
                  </a:lnTo>
                  <a:close/>
                </a:path>
              </a:pathLst>
            </a:custGeom>
            <a:solidFill>
              <a:srgbClr val="7F8183"/>
            </a:solidFill>
            <a:ln w="2790" cap="flat">
              <a:noFill/>
              <a:prstDash val="solid"/>
              <a:miter/>
            </a:ln>
          </p:spPr>
          <p:txBody>
            <a:bodyPr rtlCol="0" anchor="ctr"/>
            <a:lstStyle/>
            <a:p>
              <a:endParaRPr lang="x-none" sz="1905"/>
            </a:p>
          </p:txBody>
        </p:sp>
        <p:sp>
          <p:nvSpPr>
            <p:cNvPr id="35" name="Freeform 34">
              <a:extLst>
                <a:ext uri="{FF2B5EF4-FFF2-40B4-BE49-F238E27FC236}">
                  <a16:creationId xmlns:a16="http://schemas.microsoft.com/office/drawing/2014/main" id="{5FF7B6FA-8C8D-6E47-A9DF-DF291042086E}"/>
                </a:ext>
              </a:extLst>
            </p:cNvPr>
            <p:cNvSpPr/>
            <p:nvPr/>
          </p:nvSpPr>
          <p:spPr>
            <a:xfrm>
              <a:off x="819470" y="5935383"/>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36" name="Freeform 35">
              <a:extLst>
                <a:ext uri="{FF2B5EF4-FFF2-40B4-BE49-F238E27FC236}">
                  <a16:creationId xmlns:a16="http://schemas.microsoft.com/office/drawing/2014/main" id="{E0AF6EFB-1E57-E94C-AC8D-487785EE95FB}"/>
                </a:ext>
              </a:extLst>
            </p:cNvPr>
            <p:cNvSpPr/>
            <p:nvPr/>
          </p:nvSpPr>
          <p:spPr>
            <a:xfrm>
              <a:off x="886598" y="5935383"/>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37" name="Freeform 36">
              <a:extLst>
                <a:ext uri="{FF2B5EF4-FFF2-40B4-BE49-F238E27FC236}">
                  <a16:creationId xmlns:a16="http://schemas.microsoft.com/office/drawing/2014/main" id="{67BCDA38-3E2E-3B41-9481-C92AE6AD1D32}"/>
                </a:ext>
              </a:extLst>
            </p:cNvPr>
            <p:cNvSpPr/>
            <p:nvPr/>
          </p:nvSpPr>
          <p:spPr>
            <a:xfrm>
              <a:off x="953727" y="5935383"/>
              <a:ext cx="62333" cy="57374"/>
            </a:xfrm>
            <a:custGeom>
              <a:avLst/>
              <a:gdLst>
                <a:gd name="connsiteX0" fmla="*/ 52744 w 62333"/>
                <a:gd name="connsiteY0" fmla="*/ 0 h 57374"/>
                <a:gd name="connsiteX1" fmla="*/ 62333 w 62333"/>
                <a:gd name="connsiteY1" fmla="*/ 0 h 57374"/>
                <a:gd name="connsiteX2" fmla="*/ 62333 w 62333"/>
                <a:gd name="connsiteY2" fmla="*/ 57375 h 57374"/>
                <a:gd name="connsiteX3" fmla="*/ 52744 w 62333"/>
                <a:gd name="connsiteY3" fmla="*/ 57375 h 57374"/>
                <a:gd name="connsiteX4" fmla="*/ 52744 w 62333"/>
                <a:gd name="connsiteY4" fmla="*/ 0 h 57374"/>
                <a:gd name="connsiteX5" fmla="*/ 24256 w 62333"/>
                <a:gd name="connsiteY5" fmla="*/ 28546 h 57374"/>
                <a:gd name="connsiteX6" fmla="*/ 9590 w 62333"/>
                <a:gd name="connsiteY6" fmla="*/ 28546 h 57374"/>
                <a:gd name="connsiteX7" fmla="*/ 9590 w 62333"/>
                <a:gd name="connsiteY7" fmla="*/ 48896 h 57374"/>
                <a:gd name="connsiteX8" fmla="*/ 24256 w 62333"/>
                <a:gd name="connsiteY8" fmla="*/ 48896 h 57374"/>
                <a:gd name="connsiteX9" fmla="*/ 33000 w 62333"/>
                <a:gd name="connsiteY9" fmla="*/ 46069 h 57374"/>
                <a:gd name="connsiteX10" fmla="*/ 35256 w 62333"/>
                <a:gd name="connsiteY10" fmla="*/ 38438 h 57374"/>
                <a:gd name="connsiteX11" fmla="*/ 33000 w 62333"/>
                <a:gd name="connsiteY11" fmla="*/ 31090 h 57374"/>
                <a:gd name="connsiteX12" fmla="*/ 24256 w 62333"/>
                <a:gd name="connsiteY12" fmla="*/ 28546 h 57374"/>
                <a:gd name="connsiteX13" fmla="*/ 0 w 62333"/>
                <a:gd name="connsiteY13" fmla="*/ 57375 h 57374"/>
                <a:gd name="connsiteX14" fmla="*/ 0 w 62333"/>
                <a:gd name="connsiteY14" fmla="*/ 0 h 57374"/>
                <a:gd name="connsiteX15" fmla="*/ 9590 w 62333"/>
                <a:gd name="connsiteY15" fmla="*/ 0 h 57374"/>
                <a:gd name="connsiteX16" fmla="*/ 9590 w 62333"/>
                <a:gd name="connsiteY16" fmla="*/ 19784 h 57374"/>
                <a:gd name="connsiteX17" fmla="*/ 24256 w 62333"/>
                <a:gd name="connsiteY17" fmla="*/ 19784 h 57374"/>
                <a:gd name="connsiteX18" fmla="*/ 39205 w 62333"/>
                <a:gd name="connsiteY18" fmla="*/ 24589 h 57374"/>
                <a:gd name="connsiteX19" fmla="*/ 44282 w 62333"/>
                <a:gd name="connsiteY19" fmla="*/ 38156 h 57374"/>
                <a:gd name="connsiteX20" fmla="*/ 39205 w 62333"/>
                <a:gd name="connsiteY20" fmla="*/ 52287 h 57374"/>
                <a:gd name="connsiteX21" fmla="*/ 23974 w 62333"/>
                <a:gd name="connsiteY21" fmla="*/ 57375 h 57374"/>
                <a:gd name="connsiteX22" fmla="*/ 0 w 62333"/>
                <a:gd name="connsiteY22"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333" h="57374">
                  <a:moveTo>
                    <a:pt x="52744" y="0"/>
                  </a:moveTo>
                  <a:lnTo>
                    <a:pt x="62333" y="0"/>
                  </a:lnTo>
                  <a:lnTo>
                    <a:pt x="62333" y="57375"/>
                  </a:lnTo>
                  <a:lnTo>
                    <a:pt x="52744" y="57375"/>
                  </a:lnTo>
                  <a:lnTo>
                    <a:pt x="52744" y="0"/>
                  </a:lnTo>
                  <a:close/>
                  <a:moveTo>
                    <a:pt x="24256" y="28546"/>
                  </a:moveTo>
                  <a:lnTo>
                    <a:pt x="9590" y="28546"/>
                  </a:lnTo>
                  <a:lnTo>
                    <a:pt x="9590" y="48896"/>
                  </a:lnTo>
                  <a:lnTo>
                    <a:pt x="24256" y="48896"/>
                  </a:lnTo>
                  <a:cubicBezTo>
                    <a:pt x="28487" y="48896"/>
                    <a:pt x="31590" y="47765"/>
                    <a:pt x="33000" y="46069"/>
                  </a:cubicBezTo>
                  <a:cubicBezTo>
                    <a:pt x="34692" y="44091"/>
                    <a:pt x="35256" y="41547"/>
                    <a:pt x="35256" y="38438"/>
                  </a:cubicBezTo>
                  <a:cubicBezTo>
                    <a:pt x="35256" y="35329"/>
                    <a:pt x="34410" y="32786"/>
                    <a:pt x="33000" y="31090"/>
                  </a:cubicBezTo>
                  <a:cubicBezTo>
                    <a:pt x="31590" y="29394"/>
                    <a:pt x="28769" y="28546"/>
                    <a:pt x="24256" y="28546"/>
                  </a:cubicBezTo>
                  <a:moveTo>
                    <a:pt x="0" y="57375"/>
                  </a:moveTo>
                  <a:lnTo>
                    <a:pt x="0" y="0"/>
                  </a:lnTo>
                  <a:lnTo>
                    <a:pt x="9590" y="0"/>
                  </a:lnTo>
                  <a:lnTo>
                    <a:pt x="9590" y="19784"/>
                  </a:lnTo>
                  <a:lnTo>
                    <a:pt x="24256" y="19784"/>
                  </a:lnTo>
                  <a:cubicBezTo>
                    <a:pt x="30744" y="19784"/>
                    <a:pt x="35821" y="21480"/>
                    <a:pt x="39205" y="24589"/>
                  </a:cubicBezTo>
                  <a:cubicBezTo>
                    <a:pt x="42590" y="27698"/>
                    <a:pt x="44282" y="32220"/>
                    <a:pt x="44282" y="38156"/>
                  </a:cubicBezTo>
                  <a:cubicBezTo>
                    <a:pt x="44282" y="44091"/>
                    <a:pt x="42590" y="48896"/>
                    <a:pt x="39205" y="52287"/>
                  </a:cubicBezTo>
                  <a:cubicBezTo>
                    <a:pt x="35821" y="55679"/>
                    <a:pt x="30744" y="57375"/>
                    <a:pt x="23974" y="57375"/>
                  </a:cubicBezTo>
                  <a:lnTo>
                    <a:pt x="0" y="57375"/>
                  </a:lnTo>
                  <a:close/>
                </a:path>
              </a:pathLst>
            </a:custGeom>
            <a:solidFill>
              <a:srgbClr val="7F8183"/>
            </a:solidFill>
            <a:ln w="2790" cap="flat">
              <a:noFill/>
              <a:prstDash val="solid"/>
              <a:miter/>
            </a:ln>
          </p:spPr>
          <p:txBody>
            <a:bodyPr rtlCol="0" anchor="ctr"/>
            <a:lstStyle/>
            <a:p>
              <a:endParaRPr lang="x-none" sz="1905"/>
            </a:p>
          </p:txBody>
        </p:sp>
        <p:sp>
          <p:nvSpPr>
            <p:cNvPr id="38" name="Freeform 37">
              <a:extLst>
                <a:ext uri="{FF2B5EF4-FFF2-40B4-BE49-F238E27FC236}">
                  <a16:creationId xmlns:a16="http://schemas.microsoft.com/office/drawing/2014/main" id="{344C2DB0-5C48-B34D-A28C-AFECC7A74E5E}"/>
                </a:ext>
              </a:extLst>
            </p:cNvPr>
            <p:cNvSpPr/>
            <p:nvPr/>
          </p:nvSpPr>
          <p:spPr>
            <a:xfrm>
              <a:off x="1026778" y="5935383"/>
              <a:ext cx="54435" cy="57374"/>
            </a:xfrm>
            <a:custGeom>
              <a:avLst/>
              <a:gdLst>
                <a:gd name="connsiteX0" fmla="*/ 42872 w 54435"/>
                <a:gd name="connsiteY0" fmla="*/ 57375 h 57374"/>
                <a:gd name="connsiteX1" fmla="*/ 26795 w 54435"/>
                <a:gd name="connsiteY1" fmla="*/ 34481 h 57374"/>
                <a:gd name="connsiteX2" fmla="*/ 11282 w 54435"/>
                <a:gd name="connsiteY2" fmla="*/ 57375 h 57374"/>
                <a:gd name="connsiteX3" fmla="*/ 0 w 54435"/>
                <a:gd name="connsiteY3" fmla="*/ 57375 h 57374"/>
                <a:gd name="connsiteX4" fmla="*/ 21154 w 54435"/>
                <a:gd name="connsiteY4" fmla="*/ 27981 h 57374"/>
                <a:gd name="connsiteX5" fmla="*/ 1410 w 54435"/>
                <a:gd name="connsiteY5" fmla="*/ 0 h 57374"/>
                <a:gd name="connsiteX6" fmla="*/ 12410 w 54435"/>
                <a:gd name="connsiteY6" fmla="*/ 0 h 57374"/>
                <a:gd name="connsiteX7" fmla="*/ 26795 w 54435"/>
                <a:gd name="connsiteY7" fmla="*/ 21198 h 57374"/>
                <a:gd name="connsiteX8" fmla="*/ 41462 w 54435"/>
                <a:gd name="connsiteY8" fmla="*/ 0 h 57374"/>
                <a:gd name="connsiteX9" fmla="*/ 52462 w 54435"/>
                <a:gd name="connsiteY9" fmla="*/ 0 h 57374"/>
                <a:gd name="connsiteX10" fmla="*/ 32436 w 54435"/>
                <a:gd name="connsiteY10" fmla="*/ 27416 h 57374"/>
                <a:gd name="connsiteX11" fmla="*/ 54436 w 54435"/>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35" h="57374">
                  <a:moveTo>
                    <a:pt x="42872" y="57375"/>
                  </a:moveTo>
                  <a:lnTo>
                    <a:pt x="26795" y="34481"/>
                  </a:lnTo>
                  <a:lnTo>
                    <a:pt x="11282" y="57375"/>
                  </a:lnTo>
                  <a:lnTo>
                    <a:pt x="0" y="57375"/>
                  </a:lnTo>
                  <a:lnTo>
                    <a:pt x="21154" y="27981"/>
                  </a:lnTo>
                  <a:lnTo>
                    <a:pt x="1410" y="0"/>
                  </a:lnTo>
                  <a:lnTo>
                    <a:pt x="12410" y="0"/>
                  </a:lnTo>
                  <a:lnTo>
                    <a:pt x="26795" y="21198"/>
                  </a:lnTo>
                  <a:lnTo>
                    <a:pt x="41462" y="0"/>
                  </a:lnTo>
                  <a:lnTo>
                    <a:pt x="52462" y="0"/>
                  </a:lnTo>
                  <a:lnTo>
                    <a:pt x="32436" y="27416"/>
                  </a:lnTo>
                  <a:lnTo>
                    <a:pt x="54436" y="57375"/>
                  </a:lnTo>
                  <a:close/>
                </a:path>
              </a:pathLst>
            </a:custGeom>
            <a:solidFill>
              <a:srgbClr val="7F8183"/>
            </a:solidFill>
            <a:ln w="2790" cap="flat">
              <a:noFill/>
              <a:prstDash val="solid"/>
              <a:miter/>
            </a:ln>
          </p:spPr>
          <p:txBody>
            <a:bodyPr rtlCol="0" anchor="ctr"/>
            <a:lstStyle/>
            <a:p>
              <a:endParaRPr lang="x-none" sz="1905"/>
            </a:p>
          </p:txBody>
        </p:sp>
        <p:grpSp>
          <p:nvGrpSpPr>
            <p:cNvPr id="39" name="Graphic 14">
              <a:extLst>
                <a:ext uri="{FF2B5EF4-FFF2-40B4-BE49-F238E27FC236}">
                  <a16:creationId xmlns:a16="http://schemas.microsoft.com/office/drawing/2014/main" id="{EFA7B93E-DE11-0C42-9FDB-635B9BB922E3}"/>
                </a:ext>
              </a:extLst>
            </p:cNvPr>
            <p:cNvGrpSpPr/>
            <p:nvPr/>
          </p:nvGrpSpPr>
          <p:grpSpPr>
            <a:xfrm>
              <a:off x="351829" y="6057199"/>
              <a:ext cx="116205" cy="82246"/>
              <a:chOff x="351829" y="6057199"/>
              <a:chExt cx="116205" cy="82246"/>
            </a:xfrm>
            <a:solidFill>
              <a:srgbClr val="CFD4D9"/>
            </a:solidFill>
          </p:grpSpPr>
          <p:sp>
            <p:nvSpPr>
              <p:cNvPr id="40" name="Freeform 39">
                <a:extLst>
                  <a:ext uri="{FF2B5EF4-FFF2-40B4-BE49-F238E27FC236}">
                    <a16:creationId xmlns:a16="http://schemas.microsoft.com/office/drawing/2014/main" id="{0870A2C9-2722-2D42-A794-AB0269D968C3}"/>
                  </a:ext>
                </a:extLst>
              </p:cNvPr>
              <p:cNvSpPr/>
              <p:nvPr/>
            </p:nvSpPr>
            <p:spPr>
              <a:xfrm>
                <a:off x="351829" y="6057199"/>
                <a:ext cx="54153" cy="82246"/>
              </a:xfrm>
              <a:custGeom>
                <a:avLst/>
                <a:gdLst>
                  <a:gd name="connsiteX0" fmla="*/ 9308 w 54153"/>
                  <a:gd name="connsiteY0" fmla="*/ 34764 h 82246"/>
                  <a:gd name="connsiteX1" fmla="*/ 14667 w 54153"/>
                  <a:gd name="connsiteY1" fmla="*/ 46917 h 82246"/>
                  <a:gd name="connsiteX2" fmla="*/ 27359 w 54153"/>
                  <a:gd name="connsiteY2" fmla="*/ 51439 h 82246"/>
                  <a:gd name="connsiteX3" fmla="*/ 39769 w 54153"/>
                  <a:gd name="connsiteY3" fmla="*/ 45504 h 82246"/>
                  <a:gd name="connsiteX4" fmla="*/ 44282 w 54153"/>
                  <a:gd name="connsiteY4" fmla="*/ 29677 h 82246"/>
                  <a:gd name="connsiteX5" fmla="*/ 39769 w 54153"/>
                  <a:gd name="connsiteY5" fmla="*/ 14414 h 82246"/>
                  <a:gd name="connsiteX6" fmla="*/ 27077 w 54153"/>
                  <a:gd name="connsiteY6" fmla="*/ 8479 h 82246"/>
                  <a:gd name="connsiteX7" fmla="*/ 20590 w 54153"/>
                  <a:gd name="connsiteY7" fmla="*/ 9610 h 82246"/>
                  <a:gd name="connsiteX8" fmla="*/ 14949 w 54153"/>
                  <a:gd name="connsiteY8" fmla="*/ 13284 h 82246"/>
                  <a:gd name="connsiteX9" fmla="*/ 11000 w 54153"/>
                  <a:gd name="connsiteY9" fmla="*/ 19219 h 82246"/>
                  <a:gd name="connsiteX10" fmla="*/ 9590 w 54153"/>
                  <a:gd name="connsiteY10" fmla="*/ 27416 h 82246"/>
                  <a:gd name="connsiteX11" fmla="*/ 9590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308" y="34764"/>
                    </a:moveTo>
                    <a:cubicBezTo>
                      <a:pt x="9308" y="40134"/>
                      <a:pt x="11000" y="44091"/>
                      <a:pt x="14667" y="46917"/>
                    </a:cubicBezTo>
                    <a:cubicBezTo>
                      <a:pt x="18333" y="49744"/>
                      <a:pt x="22564" y="51439"/>
                      <a:pt x="27359" y="51439"/>
                    </a:cubicBezTo>
                    <a:cubicBezTo>
                      <a:pt x="32718" y="51439"/>
                      <a:pt x="36667" y="49461"/>
                      <a:pt x="39769" y="45504"/>
                    </a:cubicBezTo>
                    <a:cubicBezTo>
                      <a:pt x="42872" y="41547"/>
                      <a:pt x="44282" y="36460"/>
                      <a:pt x="44282" y="29677"/>
                    </a:cubicBezTo>
                    <a:cubicBezTo>
                      <a:pt x="44282" y="23459"/>
                      <a:pt x="42872" y="18371"/>
                      <a:pt x="39769" y="14414"/>
                    </a:cubicBezTo>
                    <a:cubicBezTo>
                      <a:pt x="36667" y="10457"/>
                      <a:pt x="32436" y="8479"/>
                      <a:pt x="27077" y="8479"/>
                    </a:cubicBezTo>
                    <a:cubicBezTo>
                      <a:pt x="24821" y="8479"/>
                      <a:pt x="22564" y="8762"/>
                      <a:pt x="20590" y="9610"/>
                    </a:cubicBezTo>
                    <a:cubicBezTo>
                      <a:pt x="18615" y="10457"/>
                      <a:pt x="16641" y="11588"/>
                      <a:pt x="14949" y="13284"/>
                    </a:cubicBezTo>
                    <a:cubicBezTo>
                      <a:pt x="13256" y="14980"/>
                      <a:pt x="11846" y="16958"/>
                      <a:pt x="11000" y="19219"/>
                    </a:cubicBezTo>
                    <a:cubicBezTo>
                      <a:pt x="9872" y="21763"/>
                      <a:pt x="9590" y="24307"/>
                      <a:pt x="9590" y="27416"/>
                    </a:cubicBezTo>
                    <a:lnTo>
                      <a:pt x="9590" y="34764"/>
                    </a:lnTo>
                    <a:close/>
                    <a:moveTo>
                      <a:pt x="0" y="82247"/>
                    </a:moveTo>
                    <a:lnTo>
                      <a:pt x="0" y="1413"/>
                    </a:lnTo>
                    <a:lnTo>
                      <a:pt x="9590" y="1413"/>
                    </a:lnTo>
                    <a:lnTo>
                      <a:pt x="9590" y="9044"/>
                    </a:lnTo>
                    <a:cubicBezTo>
                      <a:pt x="11564" y="5935"/>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sp>
            <p:nvSpPr>
              <p:cNvPr id="41" name="Freeform 40">
                <a:extLst>
                  <a:ext uri="{FF2B5EF4-FFF2-40B4-BE49-F238E27FC236}">
                    <a16:creationId xmlns:a16="http://schemas.microsoft.com/office/drawing/2014/main" id="{28189C74-7479-0C4B-8B0E-4F62FF8E26F5}"/>
                  </a:ext>
                </a:extLst>
              </p:cNvPr>
              <p:cNvSpPr/>
              <p:nvPr/>
            </p:nvSpPr>
            <p:spPr>
              <a:xfrm>
                <a:off x="416701" y="6057764"/>
                <a:ext cx="51333" cy="59635"/>
              </a:xfrm>
              <a:custGeom>
                <a:avLst/>
                <a:gdLst>
                  <a:gd name="connsiteX0" fmla="*/ 26513 w 51333"/>
                  <a:gd name="connsiteY0" fmla="*/ 7914 h 59635"/>
                  <a:gd name="connsiteX1" fmla="*/ 15513 w 51333"/>
                  <a:gd name="connsiteY1" fmla="*/ 12153 h 59635"/>
                  <a:gd name="connsiteX2" fmla="*/ 9872 w 51333"/>
                  <a:gd name="connsiteY2" fmla="*/ 23176 h 59635"/>
                  <a:gd name="connsiteX3" fmla="*/ 42026 w 51333"/>
                  <a:gd name="connsiteY3" fmla="*/ 23176 h 59635"/>
                  <a:gd name="connsiteX4" fmla="*/ 38077 w 51333"/>
                  <a:gd name="connsiteY4" fmla="*/ 12153 h 59635"/>
                  <a:gd name="connsiteX5" fmla="*/ 26513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9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513" y="7914"/>
                    </a:moveTo>
                    <a:cubicBezTo>
                      <a:pt x="22000" y="7914"/>
                      <a:pt x="18333" y="9327"/>
                      <a:pt x="15513" y="12153"/>
                    </a:cubicBezTo>
                    <a:cubicBezTo>
                      <a:pt x="12410" y="14980"/>
                      <a:pt x="10718" y="18654"/>
                      <a:pt x="9872" y="23176"/>
                    </a:cubicBezTo>
                    <a:lnTo>
                      <a:pt x="42026" y="23176"/>
                    </a:lnTo>
                    <a:cubicBezTo>
                      <a:pt x="41744" y="18654"/>
                      <a:pt x="40333" y="14980"/>
                      <a:pt x="38077" y="12153"/>
                    </a:cubicBezTo>
                    <a:cubicBezTo>
                      <a:pt x="35256" y="9327"/>
                      <a:pt x="31590" y="7914"/>
                      <a:pt x="26513"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9"/>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grpSp>
        <p:sp>
          <p:nvSpPr>
            <p:cNvPr id="42" name="Freeform 41">
              <a:extLst>
                <a:ext uri="{FF2B5EF4-FFF2-40B4-BE49-F238E27FC236}">
                  <a16:creationId xmlns:a16="http://schemas.microsoft.com/office/drawing/2014/main" id="{EE55384D-3B34-9946-8EF3-4606A317DEE6}"/>
                </a:ext>
              </a:extLst>
            </p:cNvPr>
            <p:cNvSpPr/>
            <p:nvPr/>
          </p:nvSpPr>
          <p:spPr>
            <a:xfrm>
              <a:off x="482137" y="6058612"/>
              <a:ext cx="75307" cy="57374"/>
            </a:xfrm>
            <a:custGeom>
              <a:avLst/>
              <a:gdLst>
                <a:gd name="connsiteX0" fmla="*/ 75308 w 75307"/>
                <a:gd name="connsiteY0" fmla="*/ 0 h 57374"/>
                <a:gd name="connsiteX1" fmla="*/ 75308 w 75307"/>
                <a:gd name="connsiteY1" fmla="*/ 57375 h 57374"/>
                <a:gd name="connsiteX2" fmla="*/ 0 w 75307"/>
                <a:gd name="connsiteY2" fmla="*/ 57375 h 57374"/>
                <a:gd name="connsiteX3" fmla="*/ 0 w 75307"/>
                <a:gd name="connsiteY3" fmla="*/ 0 h 57374"/>
                <a:gd name="connsiteX4" fmla="*/ 9308 w 75307"/>
                <a:gd name="connsiteY4" fmla="*/ 0 h 57374"/>
                <a:gd name="connsiteX5" fmla="*/ 9308 w 75307"/>
                <a:gd name="connsiteY5" fmla="*/ 48613 h 57374"/>
                <a:gd name="connsiteX6" fmla="*/ 32718 w 75307"/>
                <a:gd name="connsiteY6" fmla="*/ 48613 h 57374"/>
                <a:gd name="connsiteX7" fmla="*/ 32718 w 75307"/>
                <a:gd name="connsiteY7" fmla="*/ 0 h 57374"/>
                <a:gd name="connsiteX8" fmla="*/ 42308 w 75307"/>
                <a:gd name="connsiteY8" fmla="*/ 0 h 57374"/>
                <a:gd name="connsiteX9" fmla="*/ 42308 w 75307"/>
                <a:gd name="connsiteY9" fmla="*/ 48613 h 57374"/>
                <a:gd name="connsiteX10" fmla="*/ 65718 w 75307"/>
                <a:gd name="connsiteY10" fmla="*/ 48613 h 57374"/>
                <a:gd name="connsiteX11" fmla="*/ 65718 w 75307"/>
                <a:gd name="connsiteY11" fmla="*/ 0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307" h="57374">
                  <a:moveTo>
                    <a:pt x="75308" y="0"/>
                  </a:moveTo>
                  <a:lnTo>
                    <a:pt x="75308" y="57375"/>
                  </a:lnTo>
                  <a:lnTo>
                    <a:pt x="0" y="57375"/>
                  </a:lnTo>
                  <a:lnTo>
                    <a:pt x="0" y="0"/>
                  </a:lnTo>
                  <a:lnTo>
                    <a:pt x="9308" y="0"/>
                  </a:lnTo>
                  <a:lnTo>
                    <a:pt x="9308" y="48613"/>
                  </a:lnTo>
                  <a:lnTo>
                    <a:pt x="32718" y="48613"/>
                  </a:lnTo>
                  <a:lnTo>
                    <a:pt x="32718" y="0"/>
                  </a:lnTo>
                  <a:lnTo>
                    <a:pt x="42308" y="0"/>
                  </a:lnTo>
                  <a:lnTo>
                    <a:pt x="42308" y="48613"/>
                  </a:lnTo>
                  <a:lnTo>
                    <a:pt x="65718" y="48613"/>
                  </a:lnTo>
                  <a:lnTo>
                    <a:pt x="65718" y="0"/>
                  </a:lnTo>
                  <a:close/>
                </a:path>
              </a:pathLst>
            </a:custGeom>
            <a:solidFill>
              <a:srgbClr val="7F8183"/>
            </a:solidFill>
            <a:ln w="2790" cap="flat">
              <a:noFill/>
              <a:prstDash val="solid"/>
              <a:miter/>
            </a:ln>
          </p:spPr>
          <p:txBody>
            <a:bodyPr rtlCol="0" anchor="ctr"/>
            <a:lstStyle/>
            <a:p>
              <a:endParaRPr lang="x-none" sz="1905"/>
            </a:p>
          </p:txBody>
        </p:sp>
        <p:sp>
          <p:nvSpPr>
            <p:cNvPr id="43" name="Freeform 42">
              <a:extLst>
                <a:ext uri="{FF2B5EF4-FFF2-40B4-BE49-F238E27FC236}">
                  <a16:creationId xmlns:a16="http://schemas.microsoft.com/office/drawing/2014/main" id="{FFB921AC-9713-554E-8CF1-4B3D02CE14F8}"/>
                </a:ext>
              </a:extLst>
            </p:cNvPr>
            <p:cNvSpPr/>
            <p:nvPr/>
          </p:nvSpPr>
          <p:spPr>
            <a:xfrm>
              <a:off x="571547" y="6057764"/>
              <a:ext cx="51333" cy="59635"/>
            </a:xfrm>
            <a:custGeom>
              <a:avLst/>
              <a:gdLst>
                <a:gd name="connsiteX0" fmla="*/ 26513 w 51333"/>
                <a:gd name="connsiteY0" fmla="*/ 7914 h 59635"/>
                <a:gd name="connsiteX1" fmla="*/ 15513 w 51333"/>
                <a:gd name="connsiteY1" fmla="*/ 12153 h 59635"/>
                <a:gd name="connsiteX2" fmla="*/ 9872 w 51333"/>
                <a:gd name="connsiteY2" fmla="*/ 23176 h 59635"/>
                <a:gd name="connsiteX3" fmla="*/ 41744 w 51333"/>
                <a:gd name="connsiteY3" fmla="*/ 23176 h 59635"/>
                <a:gd name="connsiteX4" fmla="*/ 37795 w 51333"/>
                <a:gd name="connsiteY4" fmla="*/ 12153 h 59635"/>
                <a:gd name="connsiteX5" fmla="*/ 26513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9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513" y="7914"/>
                  </a:moveTo>
                  <a:cubicBezTo>
                    <a:pt x="22000" y="7914"/>
                    <a:pt x="18333" y="9327"/>
                    <a:pt x="15513" y="12153"/>
                  </a:cubicBezTo>
                  <a:cubicBezTo>
                    <a:pt x="12410" y="14980"/>
                    <a:pt x="10718" y="18654"/>
                    <a:pt x="9872" y="23176"/>
                  </a:cubicBezTo>
                  <a:lnTo>
                    <a:pt x="41744" y="23176"/>
                  </a:lnTo>
                  <a:cubicBezTo>
                    <a:pt x="41462" y="18654"/>
                    <a:pt x="40051" y="14980"/>
                    <a:pt x="37795" y="12153"/>
                  </a:cubicBezTo>
                  <a:cubicBezTo>
                    <a:pt x="35256" y="9327"/>
                    <a:pt x="31590" y="7914"/>
                    <a:pt x="26513"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9"/>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44" name="Freeform 43">
              <a:extLst>
                <a:ext uri="{FF2B5EF4-FFF2-40B4-BE49-F238E27FC236}">
                  <a16:creationId xmlns:a16="http://schemas.microsoft.com/office/drawing/2014/main" id="{6EE2926A-3DFB-D54D-AD92-032FA5608BFB}"/>
                </a:ext>
              </a:extLst>
            </p:cNvPr>
            <p:cNvSpPr/>
            <p:nvPr/>
          </p:nvSpPr>
          <p:spPr>
            <a:xfrm>
              <a:off x="636983" y="6058612"/>
              <a:ext cx="49076" cy="57374"/>
            </a:xfrm>
            <a:custGeom>
              <a:avLst/>
              <a:gdLst>
                <a:gd name="connsiteX0" fmla="*/ 0 w 49076"/>
                <a:gd name="connsiteY0" fmla="*/ 57375 h 57374"/>
                <a:gd name="connsiteX1" fmla="*/ 0 w 49076"/>
                <a:gd name="connsiteY1" fmla="*/ 0 h 57374"/>
                <a:gd name="connsiteX2" fmla="*/ 9308 w 49076"/>
                <a:gd name="connsiteY2" fmla="*/ 0 h 57374"/>
                <a:gd name="connsiteX3" fmla="*/ 9308 w 49076"/>
                <a:gd name="connsiteY3" fmla="*/ 23459 h 57374"/>
                <a:gd name="connsiteX4" fmla="*/ 39769 w 49076"/>
                <a:gd name="connsiteY4" fmla="*/ 23459 h 57374"/>
                <a:gd name="connsiteX5" fmla="*/ 39769 w 49076"/>
                <a:gd name="connsiteY5" fmla="*/ 0 h 57374"/>
                <a:gd name="connsiteX6" fmla="*/ 49077 w 49076"/>
                <a:gd name="connsiteY6" fmla="*/ 0 h 57374"/>
                <a:gd name="connsiteX7" fmla="*/ 49077 w 49076"/>
                <a:gd name="connsiteY7" fmla="*/ 57375 h 57374"/>
                <a:gd name="connsiteX8" fmla="*/ 39769 w 49076"/>
                <a:gd name="connsiteY8" fmla="*/ 57375 h 57374"/>
                <a:gd name="connsiteX9" fmla="*/ 39769 w 49076"/>
                <a:gd name="connsiteY9" fmla="*/ 32503 h 57374"/>
                <a:gd name="connsiteX10" fmla="*/ 9308 w 49076"/>
                <a:gd name="connsiteY10" fmla="*/ 32503 h 57374"/>
                <a:gd name="connsiteX11" fmla="*/ 9308 w 49076"/>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076" h="57374">
                  <a:moveTo>
                    <a:pt x="0" y="57375"/>
                  </a:moveTo>
                  <a:lnTo>
                    <a:pt x="0" y="0"/>
                  </a:lnTo>
                  <a:lnTo>
                    <a:pt x="9308" y="0"/>
                  </a:lnTo>
                  <a:lnTo>
                    <a:pt x="9308" y="23459"/>
                  </a:lnTo>
                  <a:lnTo>
                    <a:pt x="39769" y="23459"/>
                  </a:lnTo>
                  <a:lnTo>
                    <a:pt x="39769" y="0"/>
                  </a:lnTo>
                  <a:lnTo>
                    <a:pt x="49077" y="0"/>
                  </a:lnTo>
                  <a:lnTo>
                    <a:pt x="49077" y="57375"/>
                  </a:lnTo>
                  <a:lnTo>
                    <a:pt x="39769" y="57375"/>
                  </a:lnTo>
                  <a:lnTo>
                    <a:pt x="39769" y="32503"/>
                  </a:lnTo>
                  <a:lnTo>
                    <a:pt x="9308" y="32503"/>
                  </a:lnTo>
                  <a:lnTo>
                    <a:pt x="9308" y="57375"/>
                  </a:lnTo>
                  <a:close/>
                </a:path>
              </a:pathLst>
            </a:custGeom>
            <a:solidFill>
              <a:srgbClr val="7F8183"/>
            </a:solidFill>
            <a:ln w="2790" cap="flat">
              <a:noFill/>
              <a:prstDash val="solid"/>
              <a:miter/>
            </a:ln>
          </p:spPr>
          <p:txBody>
            <a:bodyPr rtlCol="0" anchor="ctr"/>
            <a:lstStyle/>
            <a:p>
              <a:endParaRPr lang="x-none" sz="1905"/>
            </a:p>
          </p:txBody>
        </p:sp>
        <p:sp>
          <p:nvSpPr>
            <p:cNvPr id="45" name="Freeform 44">
              <a:extLst>
                <a:ext uri="{FF2B5EF4-FFF2-40B4-BE49-F238E27FC236}">
                  <a16:creationId xmlns:a16="http://schemas.microsoft.com/office/drawing/2014/main" id="{D4A249C8-809F-A44B-A673-3F0FCD684A54}"/>
                </a:ext>
              </a:extLst>
            </p:cNvPr>
            <p:cNvSpPr/>
            <p:nvPr/>
          </p:nvSpPr>
          <p:spPr>
            <a:xfrm>
              <a:off x="704111" y="6058612"/>
              <a:ext cx="47948" cy="57374"/>
            </a:xfrm>
            <a:custGeom>
              <a:avLst/>
              <a:gdLst>
                <a:gd name="connsiteX0" fmla="*/ 10154 w 47948"/>
                <a:gd name="connsiteY0" fmla="*/ 57375 h 57374"/>
                <a:gd name="connsiteX1" fmla="*/ 0 w 47948"/>
                <a:gd name="connsiteY1" fmla="*/ 57375 h 57374"/>
                <a:gd name="connsiteX2" fmla="*/ 0 w 47948"/>
                <a:gd name="connsiteY2" fmla="*/ 0 h 57374"/>
                <a:gd name="connsiteX3" fmla="*/ 9026 w 47948"/>
                <a:gd name="connsiteY3" fmla="*/ 0 h 57374"/>
                <a:gd name="connsiteX4" fmla="*/ 9026 w 47948"/>
                <a:gd name="connsiteY4" fmla="*/ 44939 h 57374"/>
                <a:gd name="connsiteX5" fmla="*/ 37513 w 47948"/>
                <a:gd name="connsiteY5" fmla="*/ 0 h 57374"/>
                <a:gd name="connsiteX6" fmla="*/ 47949 w 47948"/>
                <a:gd name="connsiteY6" fmla="*/ 0 h 57374"/>
                <a:gd name="connsiteX7" fmla="*/ 47949 w 47948"/>
                <a:gd name="connsiteY7" fmla="*/ 57375 h 57374"/>
                <a:gd name="connsiteX8" fmla="*/ 38923 w 47948"/>
                <a:gd name="connsiteY8" fmla="*/ 57375 h 57374"/>
                <a:gd name="connsiteX9" fmla="*/ 38923 w 47948"/>
                <a:gd name="connsiteY9" fmla="*/ 12153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48" h="57374">
                  <a:moveTo>
                    <a:pt x="10154" y="57375"/>
                  </a:moveTo>
                  <a:lnTo>
                    <a:pt x="0" y="57375"/>
                  </a:lnTo>
                  <a:lnTo>
                    <a:pt x="0" y="0"/>
                  </a:lnTo>
                  <a:lnTo>
                    <a:pt x="9026" y="0"/>
                  </a:lnTo>
                  <a:lnTo>
                    <a:pt x="9026" y="44939"/>
                  </a:lnTo>
                  <a:lnTo>
                    <a:pt x="37513" y="0"/>
                  </a:lnTo>
                  <a:lnTo>
                    <a:pt x="47949" y="0"/>
                  </a:lnTo>
                  <a:lnTo>
                    <a:pt x="47949" y="57375"/>
                  </a:lnTo>
                  <a:lnTo>
                    <a:pt x="38923" y="57375"/>
                  </a:lnTo>
                  <a:lnTo>
                    <a:pt x="38923" y="12153"/>
                  </a:lnTo>
                  <a:close/>
                </a:path>
              </a:pathLst>
            </a:custGeom>
            <a:solidFill>
              <a:srgbClr val="7F8183"/>
            </a:solidFill>
            <a:ln w="2790" cap="flat">
              <a:noFill/>
              <a:prstDash val="solid"/>
              <a:miter/>
            </a:ln>
          </p:spPr>
          <p:txBody>
            <a:bodyPr rtlCol="0" anchor="ctr"/>
            <a:lstStyle/>
            <a:p>
              <a:endParaRPr lang="x-none" sz="1905"/>
            </a:p>
          </p:txBody>
        </p:sp>
        <p:sp>
          <p:nvSpPr>
            <p:cNvPr id="46" name="Freeform 45">
              <a:extLst>
                <a:ext uri="{FF2B5EF4-FFF2-40B4-BE49-F238E27FC236}">
                  <a16:creationId xmlns:a16="http://schemas.microsoft.com/office/drawing/2014/main" id="{D745E468-FFD0-CF42-B9A0-224DF613E7E0}"/>
                </a:ext>
              </a:extLst>
            </p:cNvPr>
            <p:cNvSpPr/>
            <p:nvPr/>
          </p:nvSpPr>
          <p:spPr>
            <a:xfrm>
              <a:off x="770111" y="6036849"/>
              <a:ext cx="48230" cy="79137"/>
            </a:xfrm>
            <a:custGeom>
              <a:avLst/>
              <a:gdLst>
                <a:gd name="connsiteX0" fmla="*/ 24256 w 48230"/>
                <a:gd name="connsiteY0" fmla="*/ 15545 h 79137"/>
                <a:gd name="connsiteX1" fmla="*/ 11282 w 48230"/>
                <a:gd name="connsiteY1" fmla="*/ 11305 h 79137"/>
                <a:gd name="connsiteX2" fmla="*/ 7051 w 48230"/>
                <a:gd name="connsiteY2" fmla="*/ 0 h 79137"/>
                <a:gd name="connsiteX3" fmla="*/ 14949 w 48230"/>
                <a:gd name="connsiteY3" fmla="*/ 0 h 79137"/>
                <a:gd name="connsiteX4" fmla="*/ 17487 w 48230"/>
                <a:gd name="connsiteY4" fmla="*/ 6218 h 79137"/>
                <a:gd name="connsiteX5" fmla="*/ 23974 w 48230"/>
                <a:gd name="connsiteY5" fmla="*/ 8479 h 79137"/>
                <a:gd name="connsiteX6" fmla="*/ 30462 w 48230"/>
                <a:gd name="connsiteY6" fmla="*/ 6218 h 79137"/>
                <a:gd name="connsiteX7" fmla="*/ 33000 w 48230"/>
                <a:gd name="connsiteY7" fmla="*/ 0 h 79137"/>
                <a:gd name="connsiteX8" fmla="*/ 40897 w 48230"/>
                <a:gd name="connsiteY8" fmla="*/ 0 h 79137"/>
                <a:gd name="connsiteX9" fmla="*/ 36667 w 48230"/>
                <a:gd name="connsiteY9" fmla="*/ 11305 h 79137"/>
                <a:gd name="connsiteX10" fmla="*/ 24256 w 48230"/>
                <a:gd name="connsiteY10" fmla="*/ 15545 h 79137"/>
                <a:gd name="connsiteX11" fmla="*/ 10154 w 48230"/>
                <a:gd name="connsiteY11" fmla="*/ 79138 h 79137"/>
                <a:gd name="connsiteX12" fmla="*/ 0 w 48230"/>
                <a:gd name="connsiteY12" fmla="*/ 79138 h 79137"/>
                <a:gd name="connsiteX13" fmla="*/ 0 w 48230"/>
                <a:gd name="connsiteY13" fmla="*/ 21763 h 79137"/>
                <a:gd name="connsiteX14" fmla="*/ 9308 w 48230"/>
                <a:gd name="connsiteY14" fmla="*/ 21763 h 79137"/>
                <a:gd name="connsiteX15" fmla="*/ 9308 w 48230"/>
                <a:gd name="connsiteY15" fmla="*/ 66702 h 79137"/>
                <a:gd name="connsiteX16" fmla="*/ 37795 w 48230"/>
                <a:gd name="connsiteY16" fmla="*/ 21763 h 79137"/>
                <a:gd name="connsiteX17" fmla="*/ 48231 w 48230"/>
                <a:gd name="connsiteY17" fmla="*/ 21763 h 79137"/>
                <a:gd name="connsiteX18" fmla="*/ 48231 w 48230"/>
                <a:gd name="connsiteY18" fmla="*/ 79138 h 79137"/>
                <a:gd name="connsiteX19" fmla="*/ 38923 w 48230"/>
                <a:gd name="connsiteY19" fmla="*/ 79138 h 79137"/>
                <a:gd name="connsiteX20" fmla="*/ 38923 w 48230"/>
                <a:gd name="connsiteY20" fmla="*/ 33916 h 79137"/>
                <a:gd name="connsiteX21" fmla="*/ 10154 w 48230"/>
                <a:gd name="connsiteY21" fmla="*/ 79138 h 7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230" h="79137">
                  <a:moveTo>
                    <a:pt x="24256" y="15545"/>
                  </a:moveTo>
                  <a:cubicBezTo>
                    <a:pt x="18333" y="15545"/>
                    <a:pt x="14103" y="14132"/>
                    <a:pt x="11282" y="11305"/>
                  </a:cubicBezTo>
                  <a:cubicBezTo>
                    <a:pt x="8462" y="8479"/>
                    <a:pt x="7051" y="4805"/>
                    <a:pt x="7051" y="0"/>
                  </a:cubicBezTo>
                  <a:lnTo>
                    <a:pt x="14949" y="0"/>
                  </a:lnTo>
                  <a:cubicBezTo>
                    <a:pt x="15231" y="2544"/>
                    <a:pt x="16077" y="4805"/>
                    <a:pt x="17487" y="6218"/>
                  </a:cubicBezTo>
                  <a:cubicBezTo>
                    <a:pt x="18897" y="7631"/>
                    <a:pt x="21154" y="8479"/>
                    <a:pt x="23974" y="8479"/>
                  </a:cubicBezTo>
                  <a:cubicBezTo>
                    <a:pt x="26795" y="8479"/>
                    <a:pt x="29051" y="7631"/>
                    <a:pt x="30462" y="6218"/>
                  </a:cubicBezTo>
                  <a:cubicBezTo>
                    <a:pt x="31872" y="4805"/>
                    <a:pt x="32718" y="2544"/>
                    <a:pt x="33000" y="0"/>
                  </a:cubicBezTo>
                  <a:lnTo>
                    <a:pt x="40897" y="0"/>
                  </a:lnTo>
                  <a:cubicBezTo>
                    <a:pt x="40615" y="4522"/>
                    <a:pt x="39205" y="8196"/>
                    <a:pt x="36667" y="11305"/>
                  </a:cubicBezTo>
                  <a:cubicBezTo>
                    <a:pt x="34128" y="14132"/>
                    <a:pt x="29897" y="15545"/>
                    <a:pt x="24256" y="15545"/>
                  </a:cubicBezTo>
                  <a:moveTo>
                    <a:pt x="10154" y="79138"/>
                  </a:moveTo>
                  <a:lnTo>
                    <a:pt x="0" y="79138"/>
                  </a:lnTo>
                  <a:lnTo>
                    <a:pt x="0" y="21763"/>
                  </a:lnTo>
                  <a:lnTo>
                    <a:pt x="9308" y="21763"/>
                  </a:lnTo>
                  <a:lnTo>
                    <a:pt x="9308" y="66702"/>
                  </a:lnTo>
                  <a:lnTo>
                    <a:pt x="37795" y="21763"/>
                  </a:lnTo>
                  <a:lnTo>
                    <a:pt x="48231" y="21763"/>
                  </a:lnTo>
                  <a:lnTo>
                    <a:pt x="48231" y="79138"/>
                  </a:lnTo>
                  <a:lnTo>
                    <a:pt x="38923" y="79138"/>
                  </a:lnTo>
                  <a:lnTo>
                    <a:pt x="38923" y="33916"/>
                  </a:lnTo>
                  <a:lnTo>
                    <a:pt x="10154" y="79138"/>
                  </a:lnTo>
                  <a:close/>
                </a:path>
              </a:pathLst>
            </a:custGeom>
            <a:solidFill>
              <a:srgbClr val="7F8183"/>
            </a:solidFill>
            <a:ln w="2790" cap="flat">
              <a:noFill/>
              <a:prstDash val="solid"/>
              <a:miter/>
            </a:ln>
          </p:spPr>
          <p:txBody>
            <a:bodyPr rtlCol="0" anchor="ctr"/>
            <a:lstStyle/>
            <a:p>
              <a:endParaRPr lang="x-none" sz="1905"/>
            </a:p>
          </p:txBody>
        </p:sp>
        <p:sp>
          <p:nvSpPr>
            <p:cNvPr id="47" name="Freeform 46">
              <a:extLst>
                <a:ext uri="{FF2B5EF4-FFF2-40B4-BE49-F238E27FC236}">
                  <a16:creationId xmlns:a16="http://schemas.microsoft.com/office/drawing/2014/main" id="{1FC246AC-160C-4340-9035-2C36C4A6F42B}"/>
                </a:ext>
              </a:extLst>
            </p:cNvPr>
            <p:cNvSpPr/>
            <p:nvPr/>
          </p:nvSpPr>
          <p:spPr>
            <a:xfrm>
              <a:off x="346188" y="5466493"/>
              <a:ext cx="483718" cy="255784"/>
            </a:xfrm>
            <a:custGeom>
              <a:avLst/>
              <a:gdLst>
                <a:gd name="connsiteX0" fmla="*/ 483718 w 483718"/>
                <a:gd name="connsiteY0" fmla="*/ 0 h 255784"/>
                <a:gd name="connsiteX1" fmla="*/ 0 w 483718"/>
                <a:gd name="connsiteY1" fmla="*/ 212541 h 255784"/>
                <a:gd name="connsiteX2" fmla="*/ 0 w 483718"/>
                <a:gd name="connsiteY2" fmla="*/ 255784 h 255784"/>
                <a:gd name="connsiteX3" fmla="*/ 483718 w 483718"/>
                <a:gd name="connsiteY3" fmla="*/ 43243 h 255784"/>
              </a:gdLst>
              <a:ahLst/>
              <a:cxnLst>
                <a:cxn ang="0">
                  <a:pos x="connsiteX0" y="connsiteY0"/>
                </a:cxn>
                <a:cxn ang="0">
                  <a:pos x="connsiteX1" y="connsiteY1"/>
                </a:cxn>
                <a:cxn ang="0">
                  <a:pos x="connsiteX2" y="connsiteY2"/>
                </a:cxn>
                <a:cxn ang="0">
                  <a:pos x="connsiteX3" y="connsiteY3"/>
                </a:cxn>
              </a:cxnLst>
              <a:rect l="l" t="t" r="r" b="b"/>
              <a:pathLst>
                <a:path w="483718" h="255784">
                  <a:moveTo>
                    <a:pt x="483718" y="0"/>
                  </a:moveTo>
                  <a:lnTo>
                    <a:pt x="0" y="212541"/>
                  </a:lnTo>
                  <a:lnTo>
                    <a:pt x="0" y="255784"/>
                  </a:lnTo>
                  <a:lnTo>
                    <a:pt x="483718" y="43243"/>
                  </a:lnTo>
                  <a:close/>
                </a:path>
              </a:pathLst>
            </a:custGeom>
            <a:solidFill>
              <a:srgbClr val="E22B26"/>
            </a:solidFill>
            <a:ln w="2790" cap="flat">
              <a:noFill/>
              <a:prstDash val="solid"/>
              <a:miter/>
            </a:ln>
          </p:spPr>
          <p:txBody>
            <a:bodyPr rtlCol="0" anchor="ctr"/>
            <a:lstStyle/>
            <a:p>
              <a:endParaRPr lang="x-none" sz="1905"/>
            </a:p>
          </p:txBody>
        </p:sp>
      </p:grpSp>
    </p:spTree>
    <p:extLst>
      <p:ext uri="{BB962C8B-B14F-4D97-AF65-F5344CB8AC3E}">
        <p14:creationId xmlns:p14="http://schemas.microsoft.com/office/powerpoint/2010/main" val="206746805"/>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5B106E36-FD25-4E2D-B0AA-010F637433A0}" type="datetimeFigureOut">
              <a:rPr lang="ru-RU" smtClean="0"/>
              <a:pPr/>
              <a:t>12.07.2022</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725C68B6-61C2-468F-89AB-4B9F7531AA68}" type="slidenum">
              <a:rPr lang="ru-RU" smtClean="0"/>
              <a:pPr/>
              <a:t>‹#›</a:t>
            </a:fld>
            <a:endParaRPr lang="ru-RU"/>
          </a:p>
        </p:txBody>
      </p:sp>
    </p:spTree>
    <p:extLst>
      <p:ext uri="{BB962C8B-B14F-4D97-AF65-F5344CB8AC3E}">
        <p14:creationId xmlns:p14="http://schemas.microsoft.com/office/powerpoint/2010/main" val="34140936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5B106E36-FD25-4E2D-B0AA-010F637433A0}" type="datetimeFigureOut">
              <a:rPr lang="ru-RU" smtClean="0"/>
              <a:pPr/>
              <a:t>12.07.2022</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725C68B6-61C2-468F-89AB-4B9F7531AA68}" type="slidenum">
              <a:rPr lang="ru-RU" smtClean="0"/>
              <a:pPr/>
              <a:t>‹#›</a:t>
            </a:fld>
            <a:endParaRPr lang="ru-RU"/>
          </a:p>
        </p:txBody>
      </p:sp>
    </p:spTree>
    <p:extLst>
      <p:ext uri="{BB962C8B-B14F-4D97-AF65-F5344CB8AC3E}">
        <p14:creationId xmlns:p14="http://schemas.microsoft.com/office/powerpoint/2010/main" val="40516888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4" y="273049"/>
            <a:ext cx="4011084" cy="1162050"/>
          </a:xfrm>
        </p:spPr>
        <p:txBody>
          <a:bodyPr anchor="b"/>
          <a:lstStyle>
            <a:lvl1pPr algn="l">
              <a:defRPr sz="2644" b="1"/>
            </a:lvl1pPr>
          </a:lstStyle>
          <a:p>
            <a:r>
              <a:rPr lang="ru-RU"/>
              <a:t>Образец заголовка</a:t>
            </a:r>
          </a:p>
        </p:txBody>
      </p:sp>
      <p:sp>
        <p:nvSpPr>
          <p:cNvPr id="3" name="Содержимое 2"/>
          <p:cNvSpPr>
            <a:spLocks noGrp="1"/>
          </p:cNvSpPr>
          <p:nvPr>
            <p:ph idx="1"/>
          </p:nvPr>
        </p:nvSpPr>
        <p:spPr>
          <a:xfrm>
            <a:off x="4766734" y="273051"/>
            <a:ext cx="6815667" cy="5853113"/>
          </a:xfrm>
        </p:spPr>
        <p:txBody>
          <a:bodyPr/>
          <a:lstStyle>
            <a:lvl1pPr>
              <a:defRPr sz="4231"/>
            </a:lvl1pPr>
            <a:lvl2pPr>
              <a:defRPr sz="3702"/>
            </a:lvl2pPr>
            <a:lvl3pPr>
              <a:defRPr sz="3173"/>
            </a:lvl3pPr>
            <a:lvl4pPr>
              <a:defRPr sz="2644"/>
            </a:lvl4pPr>
            <a:lvl5pPr>
              <a:defRPr sz="2644"/>
            </a:lvl5pPr>
            <a:lvl6pPr>
              <a:defRPr sz="2644"/>
            </a:lvl6pPr>
            <a:lvl7pPr>
              <a:defRPr sz="2644"/>
            </a:lvl7pPr>
            <a:lvl8pPr>
              <a:defRPr sz="2644"/>
            </a:lvl8pPr>
            <a:lvl9pPr>
              <a:defRPr sz="2644"/>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609604" y="1435101"/>
            <a:ext cx="4011084" cy="4691063"/>
          </a:xfrm>
        </p:spPr>
        <p:txBody>
          <a:bodyPr/>
          <a:lstStyle>
            <a:lvl1pPr marL="0" indent="0">
              <a:buNone/>
              <a:defRPr sz="1905"/>
            </a:lvl1pPr>
            <a:lvl2pPr marL="609419" indent="0">
              <a:buNone/>
              <a:defRPr sz="1587"/>
            </a:lvl2pPr>
            <a:lvl3pPr marL="1218838" indent="0">
              <a:buNone/>
              <a:defRPr sz="1376"/>
            </a:lvl3pPr>
            <a:lvl4pPr marL="1828257" indent="0">
              <a:buNone/>
              <a:defRPr sz="1164"/>
            </a:lvl4pPr>
            <a:lvl5pPr marL="2437676" indent="0">
              <a:buNone/>
              <a:defRPr sz="1164"/>
            </a:lvl5pPr>
            <a:lvl6pPr marL="3047095" indent="0">
              <a:buNone/>
              <a:defRPr sz="1164"/>
            </a:lvl6pPr>
            <a:lvl7pPr marL="3656514" indent="0">
              <a:buNone/>
              <a:defRPr sz="1164"/>
            </a:lvl7pPr>
            <a:lvl8pPr marL="4265933" indent="0">
              <a:buNone/>
              <a:defRPr sz="1164"/>
            </a:lvl8pPr>
            <a:lvl9pPr marL="4875352" indent="0">
              <a:buNone/>
              <a:defRPr sz="1164"/>
            </a:lvl9pPr>
          </a:lstStyle>
          <a:p>
            <a:pPr lvl="0"/>
            <a:r>
              <a:rPr lang="ru-RU"/>
              <a:t>Образец текста</a:t>
            </a:r>
          </a:p>
        </p:txBody>
      </p:sp>
      <p:sp>
        <p:nvSpPr>
          <p:cNvPr id="5" name="Дата 4"/>
          <p:cNvSpPr>
            <a:spLocks noGrp="1"/>
          </p:cNvSpPr>
          <p:nvPr>
            <p:ph type="dt" sz="half" idx="10"/>
          </p:nvPr>
        </p:nvSpPr>
        <p:spPr/>
        <p:txBody>
          <a:bodyPr/>
          <a:lstStyle/>
          <a:p>
            <a:fld id="{5B106E36-FD25-4E2D-B0AA-010F637433A0}" type="datetimeFigureOut">
              <a:rPr lang="ru-RU" smtClean="0"/>
              <a:pPr/>
              <a:t>12.07.2022</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725C68B6-61C2-468F-89AB-4B9F7531AA68}" type="slidenum">
              <a:rPr lang="ru-RU" smtClean="0"/>
              <a:pPr/>
              <a:t>‹#›</a:t>
            </a:fld>
            <a:endParaRPr lang="ru-RU"/>
          </a:p>
        </p:txBody>
      </p:sp>
    </p:spTree>
    <p:extLst>
      <p:ext uri="{BB962C8B-B14F-4D97-AF65-F5344CB8AC3E}">
        <p14:creationId xmlns:p14="http://schemas.microsoft.com/office/powerpoint/2010/main" val="3708152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1"/>
            <a:ext cx="7315200" cy="566739"/>
          </a:xfrm>
        </p:spPr>
        <p:txBody>
          <a:bodyPr anchor="b"/>
          <a:lstStyle>
            <a:lvl1pPr algn="l">
              <a:defRPr sz="2644" b="1"/>
            </a:lvl1pPr>
          </a:lstStyle>
          <a:p>
            <a:r>
              <a:rPr lang="ru-RU"/>
              <a:t>Образец заголовка</a:t>
            </a:r>
          </a:p>
        </p:txBody>
      </p:sp>
      <p:sp>
        <p:nvSpPr>
          <p:cNvPr id="3" name="Рисунок 2"/>
          <p:cNvSpPr>
            <a:spLocks noGrp="1"/>
          </p:cNvSpPr>
          <p:nvPr>
            <p:ph type="pic" idx="1"/>
          </p:nvPr>
        </p:nvSpPr>
        <p:spPr>
          <a:xfrm>
            <a:off x="2389717" y="612776"/>
            <a:ext cx="7315200" cy="4114800"/>
          </a:xfrm>
        </p:spPr>
        <p:txBody>
          <a:bodyPr/>
          <a:lstStyle>
            <a:lvl1pPr marL="0" indent="0">
              <a:buNone/>
              <a:defRPr sz="4231"/>
            </a:lvl1pPr>
            <a:lvl2pPr marL="609419" indent="0">
              <a:buNone/>
              <a:defRPr sz="3702"/>
            </a:lvl2pPr>
            <a:lvl3pPr marL="1218838" indent="0">
              <a:buNone/>
              <a:defRPr sz="3173"/>
            </a:lvl3pPr>
            <a:lvl4pPr marL="1828257" indent="0">
              <a:buNone/>
              <a:defRPr sz="2644"/>
            </a:lvl4pPr>
            <a:lvl5pPr marL="2437676" indent="0">
              <a:buNone/>
              <a:defRPr sz="2644"/>
            </a:lvl5pPr>
            <a:lvl6pPr marL="3047095" indent="0">
              <a:buNone/>
              <a:defRPr sz="2644"/>
            </a:lvl6pPr>
            <a:lvl7pPr marL="3656514" indent="0">
              <a:buNone/>
              <a:defRPr sz="2644"/>
            </a:lvl7pPr>
            <a:lvl8pPr marL="4265933" indent="0">
              <a:buNone/>
              <a:defRPr sz="2644"/>
            </a:lvl8pPr>
            <a:lvl9pPr marL="4875352" indent="0">
              <a:buNone/>
              <a:defRPr sz="2644"/>
            </a:lvl9pPr>
          </a:lstStyle>
          <a:p>
            <a:endParaRPr lang="ru-RU"/>
          </a:p>
        </p:txBody>
      </p:sp>
      <p:sp>
        <p:nvSpPr>
          <p:cNvPr id="4" name="Текст 3"/>
          <p:cNvSpPr>
            <a:spLocks noGrp="1"/>
          </p:cNvSpPr>
          <p:nvPr>
            <p:ph type="body" sz="half" idx="2"/>
          </p:nvPr>
        </p:nvSpPr>
        <p:spPr>
          <a:xfrm>
            <a:off x="2389717" y="5367339"/>
            <a:ext cx="7315200" cy="804863"/>
          </a:xfrm>
        </p:spPr>
        <p:txBody>
          <a:bodyPr/>
          <a:lstStyle>
            <a:lvl1pPr marL="0" indent="0">
              <a:buNone/>
              <a:defRPr sz="1905"/>
            </a:lvl1pPr>
            <a:lvl2pPr marL="609419" indent="0">
              <a:buNone/>
              <a:defRPr sz="1587"/>
            </a:lvl2pPr>
            <a:lvl3pPr marL="1218838" indent="0">
              <a:buNone/>
              <a:defRPr sz="1376"/>
            </a:lvl3pPr>
            <a:lvl4pPr marL="1828257" indent="0">
              <a:buNone/>
              <a:defRPr sz="1164"/>
            </a:lvl4pPr>
            <a:lvl5pPr marL="2437676" indent="0">
              <a:buNone/>
              <a:defRPr sz="1164"/>
            </a:lvl5pPr>
            <a:lvl6pPr marL="3047095" indent="0">
              <a:buNone/>
              <a:defRPr sz="1164"/>
            </a:lvl6pPr>
            <a:lvl7pPr marL="3656514" indent="0">
              <a:buNone/>
              <a:defRPr sz="1164"/>
            </a:lvl7pPr>
            <a:lvl8pPr marL="4265933" indent="0">
              <a:buNone/>
              <a:defRPr sz="1164"/>
            </a:lvl8pPr>
            <a:lvl9pPr marL="4875352" indent="0">
              <a:buNone/>
              <a:defRPr sz="1164"/>
            </a:lvl9pPr>
          </a:lstStyle>
          <a:p>
            <a:pPr lvl="0"/>
            <a:r>
              <a:rPr lang="ru-RU"/>
              <a:t>Образец текста</a:t>
            </a:r>
          </a:p>
        </p:txBody>
      </p:sp>
      <p:sp>
        <p:nvSpPr>
          <p:cNvPr id="5" name="Дата 4"/>
          <p:cNvSpPr>
            <a:spLocks noGrp="1"/>
          </p:cNvSpPr>
          <p:nvPr>
            <p:ph type="dt" sz="half" idx="10"/>
          </p:nvPr>
        </p:nvSpPr>
        <p:spPr/>
        <p:txBody>
          <a:bodyPr/>
          <a:lstStyle/>
          <a:p>
            <a:fld id="{5B106E36-FD25-4E2D-B0AA-010F637433A0}" type="datetimeFigureOut">
              <a:rPr lang="ru-RU" smtClean="0"/>
              <a:pPr/>
              <a:t>12.07.2022</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725C68B6-61C2-468F-89AB-4B9F7531AA68}" type="slidenum">
              <a:rPr lang="ru-RU" smtClean="0"/>
              <a:pPr/>
              <a:t>‹#›</a:t>
            </a:fld>
            <a:endParaRPr lang="ru-RU"/>
          </a:p>
        </p:txBody>
      </p:sp>
    </p:spTree>
    <p:extLst>
      <p:ext uri="{BB962C8B-B14F-4D97-AF65-F5344CB8AC3E}">
        <p14:creationId xmlns:p14="http://schemas.microsoft.com/office/powerpoint/2010/main" val="143524602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5B106E36-FD25-4E2D-B0AA-010F637433A0}" type="datetimeFigureOut">
              <a:rPr lang="ru-RU" smtClean="0"/>
              <a:pPr/>
              <a:t>12.07.2022</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725C68B6-61C2-468F-89AB-4B9F7531AA68}" type="slidenum">
              <a:rPr lang="ru-RU" smtClean="0"/>
              <a:pPr/>
              <a:t>‹#›</a:t>
            </a:fld>
            <a:endParaRPr lang="ru-RU"/>
          </a:p>
        </p:txBody>
      </p:sp>
    </p:spTree>
    <p:extLst>
      <p:ext uri="{BB962C8B-B14F-4D97-AF65-F5344CB8AC3E}">
        <p14:creationId xmlns:p14="http://schemas.microsoft.com/office/powerpoint/2010/main" val="18029294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39200" y="274638"/>
            <a:ext cx="2743200" cy="5851526"/>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609600" y="274638"/>
            <a:ext cx="8026400" cy="5851526"/>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5B106E36-FD25-4E2D-B0AA-010F637433A0}" type="datetimeFigureOut">
              <a:rPr lang="ru-RU" smtClean="0"/>
              <a:pPr/>
              <a:t>12.07.2022</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725C68B6-61C2-468F-89AB-4B9F7531AA68}" type="slidenum">
              <a:rPr lang="ru-RU" smtClean="0"/>
              <a:pPr/>
              <a:t>‹#›</a:t>
            </a:fld>
            <a:endParaRPr lang="ru-RU"/>
          </a:p>
        </p:txBody>
      </p:sp>
    </p:spTree>
    <p:extLst>
      <p:ext uri="{BB962C8B-B14F-4D97-AF65-F5344CB8AC3E}">
        <p14:creationId xmlns:p14="http://schemas.microsoft.com/office/powerpoint/2010/main" val="267940077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2.14 Фото и текст">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DB3FB19-848E-CB42-A250-50BFE3733C90}"/>
              </a:ext>
            </a:extLst>
          </p:cNvPr>
          <p:cNvSpPr>
            <a:spLocks noGrp="1"/>
          </p:cNvSpPr>
          <p:nvPr>
            <p:ph type="pic" sz="quarter" idx="21" hasCustomPrompt="1"/>
          </p:nvPr>
        </p:nvSpPr>
        <p:spPr>
          <a:xfrm>
            <a:off x="8115121" y="1256685"/>
            <a:ext cx="3689661" cy="5219923"/>
          </a:xfrm>
          <a:prstGeom prst="rect">
            <a:avLst/>
          </a:prstGeom>
        </p:spPr>
        <p:txBody>
          <a:bodyPr anchor="ctr"/>
          <a:lstStyle>
            <a:lvl1pPr algn="ctr">
              <a:buFontTx/>
              <a:buNone/>
              <a:defRPr sz="3173"/>
            </a:lvl1pPr>
          </a:lstStyle>
          <a:p>
            <a:r>
              <a:rPr lang="ru-RU" dirty="0"/>
              <a:t>Место для фото</a:t>
            </a:r>
            <a:endParaRPr lang="x-none" dirty="0"/>
          </a:p>
        </p:txBody>
      </p:sp>
      <p:sp>
        <p:nvSpPr>
          <p:cNvPr id="12" name="Text Placeholder 8">
            <a:extLst>
              <a:ext uri="{FF2B5EF4-FFF2-40B4-BE49-F238E27FC236}">
                <a16:creationId xmlns:a16="http://schemas.microsoft.com/office/drawing/2014/main" id="{0B784A6F-340A-2941-87C9-A4B20857D781}"/>
              </a:ext>
            </a:extLst>
          </p:cNvPr>
          <p:cNvSpPr>
            <a:spLocks noGrp="1"/>
          </p:cNvSpPr>
          <p:nvPr>
            <p:ph type="body" sz="quarter" idx="11" hasCustomPrompt="1"/>
          </p:nvPr>
        </p:nvSpPr>
        <p:spPr>
          <a:xfrm>
            <a:off x="1180902" y="1256689"/>
            <a:ext cx="6774084" cy="1029869"/>
          </a:xfrm>
          <a:prstGeom prst="rect">
            <a:avLst/>
          </a:prstGeom>
        </p:spPr>
        <p:txBody>
          <a:bodyPr/>
          <a:lstStyle>
            <a:lvl1pPr marL="0" indent="0">
              <a:buFontTx/>
              <a:buNone/>
              <a:defRPr sz="3702"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Текст слайда</a:t>
            </a:r>
            <a:endParaRPr lang="x-none" dirty="0"/>
          </a:p>
        </p:txBody>
      </p:sp>
      <p:sp>
        <p:nvSpPr>
          <p:cNvPr id="13" name="Text Placeholder 8">
            <a:extLst>
              <a:ext uri="{FF2B5EF4-FFF2-40B4-BE49-F238E27FC236}">
                <a16:creationId xmlns:a16="http://schemas.microsoft.com/office/drawing/2014/main" id="{2C246C5F-8780-7248-AE97-EF179949CD2B}"/>
              </a:ext>
            </a:extLst>
          </p:cNvPr>
          <p:cNvSpPr>
            <a:spLocks noGrp="1"/>
          </p:cNvSpPr>
          <p:nvPr>
            <p:ph type="body" sz="quarter" idx="27" hasCustomPrompt="1"/>
          </p:nvPr>
        </p:nvSpPr>
        <p:spPr>
          <a:xfrm>
            <a:off x="1188178" y="2483683"/>
            <a:ext cx="6774084" cy="2964751"/>
          </a:xfrm>
          <a:prstGeom prst="rect">
            <a:avLst/>
          </a:prstGeom>
        </p:spPr>
        <p:txBody>
          <a:bodyPr/>
          <a:lstStyle>
            <a:lvl1pPr marL="0" indent="0">
              <a:buFontTx/>
              <a:buNone/>
              <a:defRPr sz="1693"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Текст слайда</a:t>
            </a:r>
            <a:endParaRPr lang="x-none" dirty="0"/>
          </a:p>
        </p:txBody>
      </p:sp>
      <p:cxnSp>
        <p:nvCxnSpPr>
          <p:cNvPr id="14" name="Straight Connector 13">
            <a:extLst>
              <a:ext uri="{FF2B5EF4-FFF2-40B4-BE49-F238E27FC236}">
                <a16:creationId xmlns:a16="http://schemas.microsoft.com/office/drawing/2014/main" id="{65C7CCEA-8174-CC41-9238-A0D3EA01F3F5}"/>
              </a:ext>
            </a:extLst>
          </p:cNvPr>
          <p:cNvCxnSpPr>
            <a:cxnSpLocks/>
          </p:cNvCxnSpPr>
          <p:nvPr userDrawn="1"/>
        </p:nvCxnSpPr>
        <p:spPr>
          <a:xfrm>
            <a:off x="381316" y="376804"/>
            <a:ext cx="11429371"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15" name="Text Placeholder 13">
            <a:extLst>
              <a:ext uri="{FF2B5EF4-FFF2-40B4-BE49-F238E27FC236}">
                <a16:creationId xmlns:a16="http://schemas.microsoft.com/office/drawing/2014/main" id="{4845C9DD-5C7A-874F-8368-FFFC6465A620}"/>
              </a:ext>
            </a:extLst>
          </p:cNvPr>
          <p:cNvSpPr>
            <a:spLocks noGrp="1"/>
          </p:cNvSpPr>
          <p:nvPr>
            <p:ph type="body" sz="quarter" idx="14" hasCustomPrompt="1"/>
          </p:nvPr>
        </p:nvSpPr>
        <p:spPr>
          <a:xfrm>
            <a:off x="295484" y="393666"/>
            <a:ext cx="2590255" cy="288127"/>
          </a:xfrm>
          <a:prstGeom prst="rect">
            <a:avLst/>
          </a:prstGeom>
        </p:spPr>
        <p:txBody>
          <a:bodyPr/>
          <a:lstStyle>
            <a:lvl1pPr marL="0" indent="0" algn="l">
              <a:buFontTx/>
              <a:buNone/>
              <a:defRPr sz="1480"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Заголовок раздела</a:t>
            </a:r>
          </a:p>
        </p:txBody>
      </p:sp>
      <p:sp>
        <p:nvSpPr>
          <p:cNvPr id="18" name="Text Placeholder 13">
            <a:extLst>
              <a:ext uri="{FF2B5EF4-FFF2-40B4-BE49-F238E27FC236}">
                <a16:creationId xmlns:a16="http://schemas.microsoft.com/office/drawing/2014/main" id="{0591D277-AA9C-EC41-A110-AE8469C88BF9}"/>
              </a:ext>
            </a:extLst>
          </p:cNvPr>
          <p:cNvSpPr>
            <a:spLocks noGrp="1"/>
          </p:cNvSpPr>
          <p:nvPr>
            <p:ph type="body" sz="quarter" idx="25" hasCustomPrompt="1"/>
          </p:nvPr>
        </p:nvSpPr>
        <p:spPr>
          <a:xfrm>
            <a:off x="10020021" y="6319802"/>
            <a:ext cx="1790669" cy="374160"/>
          </a:xfrm>
          <a:prstGeom prst="rect">
            <a:avLst/>
          </a:prstGeom>
        </p:spPr>
        <p:txBody>
          <a:bodyPr/>
          <a:lstStyle>
            <a:lvl1pPr marL="0" indent="0" algn="r">
              <a:buFontTx/>
              <a:buNone/>
              <a:defRPr sz="1058"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Название презентации</a:t>
            </a:r>
            <a:endParaRPr lang="x-none" dirty="0"/>
          </a:p>
        </p:txBody>
      </p:sp>
      <p:sp>
        <p:nvSpPr>
          <p:cNvPr id="19" name="Slide Number Placeholder 1">
            <a:extLst>
              <a:ext uri="{FF2B5EF4-FFF2-40B4-BE49-F238E27FC236}">
                <a16:creationId xmlns:a16="http://schemas.microsoft.com/office/drawing/2014/main" id="{21F144B7-C152-F244-9A00-75D92A833EF2}"/>
              </a:ext>
            </a:extLst>
          </p:cNvPr>
          <p:cNvSpPr txBox="1">
            <a:spLocks/>
          </p:cNvSpPr>
          <p:nvPr userDrawn="1"/>
        </p:nvSpPr>
        <p:spPr>
          <a:xfrm>
            <a:off x="11108820" y="395812"/>
            <a:ext cx="701867" cy="288126"/>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480"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480"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874816338"/>
      </p:ext>
    </p:extLst>
  </p:cSld>
  <p:clrMapOvr>
    <a:masterClrMapping/>
  </p:clrMapOvr>
  <p:transition>
    <p:fade/>
  </p:transition>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19 Сопровождающий текст">
    <p:bg>
      <p:bgPr>
        <a:solidFill>
          <a:srgbClr val="FFFFFF"/>
        </a:solidFill>
        <a:effectLst/>
      </p:bgPr>
    </p:bg>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EB572FF-CA06-4849-8D94-3C3994A45B70}"/>
              </a:ext>
            </a:extLst>
          </p:cNvPr>
          <p:cNvSpPr>
            <a:spLocks noGrp="1"/>
          </p:cNvSpPr>
          <p:nvPr>
            <p:ph type="body" sz="quarter" idx="11" hasCustomPrompt="1"/>
          </p:nvPr>
        </p:nvSpPr>
        <p:spPr>
          <a:xfrm>
            <a:off x="381316" y="1278514"/>
            <a:ext cx="11429370" cy="1029869"/>
          </a:xfrm>
          <a:prstGeom prst="rect">
            <a:avLst/>
          </a:prstGeom>
        </p:spPr>
        <p:txBody>
          <a:bodyPr/>
          <a:lstStyle>
            <a:lvl1pPr marL="0" indent="0">
              <a:buFontTx/>
              <a:buNone/>
              <a:defRPr sz="2963"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Заголовок слайда</a:t>
            </a:r>
            <a:endParaRPr lang="x-none" dirty="0"/>
          </a:p>
        </p:txBody>
      </p:sp>
      <p:sp>
        <p:nvSpPr>
          <p:cNvPr id="8" name="Text Placeholder 8">
            <a:extLst>
              <a:ext uri="{FF2B5EF4-FFF2-40B4-BE49-F238E27FC236}">
                <a16:creationId xmlns:a16="http://schemas.microsoft.com/office/drawing/2014/main" id="{252C4B7C-9670-DF42-BC56-B170DECD75DC}"/>
              </a:ext>
            </a:extLst>
          </p:cNvPr>
          <p:cNvSpPr>
            <a:spLocks noGrp="1"/>
          </p:cNvSpPr>
          <p:nvPr>
            <p:ph type="body" sz="quarter" idx="27" hasCustomPrompt="1"/>
          </p:nvPr>
        </p:nvSpPr>
        <p:spPr>
          <a:xfrm>
            <a:off x="388590" y="2477729"/>
            <a:ext cx="11429370" cy="3842056"/>
          </a:xfrm>
          <a:prstGeom prst="rect">
            <a:avLst/>
          </a:prstGeom>
        </p:spPr>
        <p:txBody>
          <a:bodyPr/>
          <a:lstStyle>
            <a:lvl1pPr marL="0" indent="0">
              <a:buFontTx/>
              <a:buNone/>
              <a:defRPr sz="1376"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Текст слайда</a:t>
            </a:r>
            <a:endParaRPr lang="x-none" dirty="0"/>
          </a:p>
        </p:txBody>
      </p:sp>
      <p:cxnSp>
        <p:nvCxnSpPr>
          <p:cNvPr id="10" name="Straight Connector 9">
            <a:extLst>
              <a:ext uri="{FF2B5EF4-FFF2-40B4-BE49-F238E27FC236}">
                <a16:creationId xmlns:a16="http://schemas.microsoft.com/office/drawing/2014/main" id="{E508586F-874B-374D-83C3-AE2D248221F4}"/>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11" name="Text Placeholder 13">
            <a:extLst>
              <a:ext uri="{FF2B5EF4-FFF2-40B4-BE49-F238E27FC236}">
                <a16:creationId xmlns:a16="http://schemas.microsoft.com/office/drawing/2014/main" id="{598649D2-E782-5D48-8FCD-B39D7C72EF41}"/>
              </a:ext>
            </a:extLst>
          </p:cNvPr>
          <p:cNvSpPr>
            <a:spLocks noGrp="1"/>
          </p:cNvSpPr>
          <p:nvPr>
            <p:ph type="body" sz="quarter" idx="14" hasCustomPrompt="1"/>
          </p:nvPr>
        </p:nvSpPr>
        <p:spPr>
          <a:xfrm>
            <a:off x="295484"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Заголовок раздела</a:t>
            </a:r>
          </a:p>
        </p:txBody>
      </p:sp>
      <p:sp>
        <p:nvSpPr>
          <p:cNvPr id="13" name="Slide Number Placeholder 1">
            <a:extLst>
              <a:ext uri="{FF2B5EF4-FFF2-40B4-BE49-F238E27FC236}">
                <a16:creationId xmlns:a16="http://schemas.microsoft.com/office/drawing/2014/main" id="{9C321D37-B46B-774E-8AD4-106329636C69}"/>
              </a:ext>
            </a:extLst>
          </p:cNvPr>
          <p:cNvSpPr txBox="1">
            <a:spLocks/>
          </p:cNvSpPr>
          <p:nvPr userDrawn="1"/>
        </p:nvSpPr>
        <p:spPr>
          <a:xfrm>
            <a:off x="11108818" y="395812"/>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13">
            <a:extLst>
              <a:ext uri="{FF2B5EF4-FFF2-40B4-BE49-F238E27FC236}">
                <a16:creationId xmlns:a16="http://schemas.microsoft.com/office/drawing/2014/main" id="{875E4949-D1C2-3648-90A7-64A1873880BB}"/>
              </a:ext>
            </a:extLst>
          </p:cNvPr>
          <p:cNvSpPr>
            <a:spLocks noGrp="1"/>
          </p:cNvSpPr>
          <p:nvPr>
            <p:ph type="body" sz="quarter" idx="25" hasCustomPrompt="1"/>
          </p:nvPr>
        </p:nvSpPr>
        <p:spPr>
          <a:xfrm>
            <a:off x="10020017" y="6319801"/>
            <a:ext cx="1790667" cy="374160"/>
          </a:xfrm>
          <a:prstGeom prst="rect">
            <a:avLst/>
          </a:prstGeom>
        </p:spPr>
        <p:txBody>
          <a:bodyPr/>
          <a:lstStyle>
            <a:lvl1pPr marL="0" indent="0" algn="r">
              <a:buFontTx/>
              <a:buNone/>
              <a:defRPr sz="845"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Название презентации</a:t>
            </a:r>
            <a:endParaRPr lang="x-none" dirty="0"/>
          </a:p>
        </p:txBody>
      </p:sp>
    </p:spTree>
    <p:extLst>
      <p:ext uri="{BB962C8B-B14F-4D97-AF65-F5344CB8AC3E}">
        <p14:creationId xmlns:p14="http://schemas.microsoft.com/office/powerpoint/2010/main" val="3229745233"/>
      </p:ext>
    </p:extLst>
  </p:cSld>
  <p:clrMapOvr>
    <a:masterClrMapping/>
  </p:clrMapOvr>
  <p:transition>
    <p:fade/>
  </p:transition>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4_Content">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B144694-7FC2-824B-ACAA-93D4B0E2FE77}"/>
              </a:ext>
            </a:extLst>
          </p:cNvPr>
          <p:cNvSpPr>
            <a:spLocks noGrp="1"/>
          </p:cNvSpPr>
          <p:nvPr>
            <p:ph type="body" sz="quarter" idx="11" hasCustomPrompt="1"/>
          </p:nvPr>
        </p:nvSpPr>
        <p:spPr>
          <a:xfrm>
            <a:off x="228456" y="1409575"/>
            <a:ext cx="6744404" cy="4038860"/>
          </a:xfrm>
          <a:prstGeom prst="rect">
            <a:avLst/>
          </a:prstGeom>
        </p:spPr>
        <p:txBody>
          <a:bodyPr anchor="ctr"/>
          <a:lstStyle>
            <a:lvl1pPr marL="0" indent="0">
              <a:buFontTx/>
              <a:buNone/>
              <a:defRPr sz="5816"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orem ipsum dolor sit </a:t>
            </a:r>
            <a:r>
              <a:rPr lang="en-US" dirty="0" err="1"/>
              <a:t>amet</a:t>
            </a:r>
            <a:r>
              <a:rPr lang="en-US" dirty="0"/>
              <a:t>, </a:t>
            </a:r>
            <a:r>
              <a:rPr lang="en-US" dirty="0" err="1"/>
              <a:t>consectetuer</a:t>
            </a:r>
            <a:endParaRPr lang="x-none" dirty="0"/>
          </a:p>
        </p:txBody>
      </p:sp>
      <p:sp>
        <p:nvSpPr>
          <p:cNvPr id="6" name="Picture Placeholder 5">
            <a:extLst>
              <a:ext uri="{FF2B5EF4-FFF2-40B4-BE49-F238E27FC236}">
                <a16:creationId xmlns:a16="http://schemas.microsoft.com/office/drawing/2014/main" id="{888A7F86-BC36-3241-91E5-D03882836D21}"/>
              </a:ext>
            </a:extLst>
          </p:cNvPr>
          <p:cNvSpPr>
            <a:spLocks noGrp="1"/>
          </p:cNvSpPr>
          <p:nvPr>
            <p:ph type="pic" sz="quarter" idx="16"/>
          </p:nvPr>
        </p:nvSpPr>
        <p:spPr>
          <a:xfrm>
            <a:off x="7124039" y="1409572"/>
            <a:ext cx="4686645" cy="4038859"/>
          </a:xfrm>
          <a:prstGeom prst="rect">
            <a:avLst/>
          </a:prstGeom>
        </p:spPr>
        <p:txBody>
          <a:bodyPr anchor="ctr"/>
          <a:lstStyle>
            <a:lvl1pPr algn="ctr">
              <a:buFontTx/>
              <a:buNone/>
              <a:defRPr sz="2963"/>
            </a:lvl1pPr>
          </a:lstStyle>
          <a:p>
            <a:endParaRPr lang="x-none"/>
          </a:p>
        </p:txBody>
      </p:sp>
      <p:cxnSp>
        <p:nvCxnSpPr>
          <p:cNvPr id="11" name="Straight Connector 10">
            <a:extLst>
              <a:ext uri="{FF2B5EF4-FFF2-40B4-BE49-F238E27FC236}">
                <a16:creationId xmlns:a16="http://schemas.microsoft.com/office/drawing/2014/main" id="{69D176CE-8965-5349-9FBA-5A96377315FB}"/>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12" name="Text Placeholder 13">
            <a:extLst>
              <a:ext uri="{FF2B5EF4-FFF2-40B4-BE49-F238E27FC236}">
                <a16:creationId xmlns:a16="http://schemas.microsoft.com/office/drawing/2014/main" id="{301B00CD-A1FA-E242-8C42-584DF7EACB1C}"/>
              </a:ext>
            </a:extLst>
          </p:cNvPr>
          <p:cNvSpPr>
            <a:spLocks noGrp="1"/>
          </p:cNvSpPr>
          <p:nvPr>
            <p:ph type="body" sz="quarter" idx="14" hasCustomPrompt="1"/>
          </p:nvPr>
        </p:nvSpPr>
        <p:spPr>
          <a:xfrm>
            <a:off x="295485"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14" name="Slide Number Placeholder 1">
            <a:extLst>
              <a:ext uri="{FF2B5EF4-FFF2-40B4-BE49-F238E27FC236}">
                <a16:creationId xmlns:a16="http://schemas.microsoft.com/office/drawing/2014/main" id="{45546C9A-5E11-424E-858D-8C2913D9A7B7}"/>
              </a:ext>
            </a:extLst>
          </p:cNvPr>
          <p:cNvSpPr txBox="1">
            <a:spLocks/>
          </p:cNvSpPr>
          <p:nvPr userDrawn="1"/>
        </p:nvSpPr>
        <p:spPr>
          <a:xfrm>
            <a:off x="11108818" y="395813"/>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Text Placeholder 13">
            <a:extLst>
              <a:ext uri="{FF2B5EF4-FFF2-40B4-BE49-F238E27FC236}">
                <a16:creationId xmlns:a16="http://schemas.microsoft.com/office/drawing/2014/main" id="{24CD8EB8-EB60-2F4E-88CC-EAA88C251C92}"/>
              </a:ext>
            </a:extLst>
          </p:cNvPr>
          <p:cNvSpPr>
            <a:spLocks noGrp="1"/>
          </p:cNvSpPr>
          <p:nvPr>
            <p:ph type="body" sz="quarter" idx="25" hasCustomPrompt="1"/>
          </p:nvPr>
        </p:nvSpPr>
        <p:spPr>
          <a:xfrm>
            <a:off x="10020017" y="6319802"/>
            <a:ext cx="1790667" cy="374160"/>
          </a:xfrm>
          <a:prstGeom prst="rect">
            <a:avLst/>
          </a:prstGeom>
        </p:spPr>
        <p:txBody>
          <a:bodyPr/>
          <a:lstStyle>
            <a:lvl1pPr marL="0" indent="0" algn="r">
              <a:buFontTx/>
              <a:buNone/>
              <a:defRPr sz="844"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spTree>
    <p:extLst>
      <p:ext uri="{BB962C8B-B14F-4D97-AF65-F5344CB8AC3E}">
        <p14:creationId xmlns:p14="http://schemas.microsoft.com/office/powerpoint/2010/main" val="2533899696"/>
      </p:ext>
    </p:extLst>
  </p:cSld>
  <p:clrMapOvr>
    <a:masterClrMapping/>
  </p:clrMapOvr>
  <p:transition>
    <p:fade/>
  </p:transition>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1" y="1122363"/>
            <a:ext cx="9144000" cy="2387600"/>
          </a:xfrm>
        </p:spPr>
        <p:txBody>
          <a:bodyPr anchor="b"/>
          <a:lstStyle>
            <a:lvl1pPr algn="ctr">
              <a:defRPr sz="5997"/>
            </a:lvl1pPr>
          </a:lstStyle>
          <a:p>
            <a:r>
              <a:rPr lang="ru-RU"/>
              <a:t>Образец заголовка</a:t>
            </a:r>
          </a:p>
        </p:txBody>
      </p:sp>
      <p:sp>
        <p:nvSpPr>
          <p:cNvPr id="3" name="Подзаголовок 2"/>
          <p:cNvSpPr>
            <a:spLocks noGrp="1"/>
          </p:cNvSpPr>
          <p:nvPr>
            <p:ph type="subTitle" idx="1"/>
          </p:nvPr>
        </p:nvSpPr>
        <p:spPr>
          <a:xfrm>
            <a:off x="1524001" y="3602038"/>
            <a:ext cx="9144000" cy="1655762"/>
          </a:xfrm>
        </p:spPr>
        <p:txBody>
          <a:bodyPr/>
          <a:lstStyle>
            <a:lvl1pPr marL="0" indent="0" algn="ctr">
              <a:buNone/>
              <a:defRPr sz="2400"/>
            </a:lvl1pPr>
            <a:lvl2pPr marL="457016" indent="0" algn="ctr">
              <a:buNone/>
              <a:defRPr sz="2000"/>
            </a:lvl2pPr>
            <a:lvl3pPr marL="914032" indent="0" algn="ctr">
              <a:buNone/>
              <a:defRPr sz="1800"/>
            </a:lvl3pPr>
            <a:lvl4pPr marL="1371048" indent="0" algn="ctr">
              <a:buNone/>
              <a:defRPr sz="1600"/>
            </a:lvl4pPr>
            <a:lvl5pPr marL="1828063" indent="0" algn="ctr">
              <a:buNone/>
              <a:defRPr sz="1600"/>
            </a:lvl5pPr>
            <a:lvl6pPr marL="2285079" indent="0" algn="ctr">
              <a:buNone/>
              <a:defRPr sz="1600"/>
            </a:lvl6pPr>
            <a:lvl7pPr marL="2742096" indent="0" algn="ctr">
              <a:buNone/>
              <a:defRPr sz="1600"/>
            </a:lvl7pPr>
            <a:lvl8pPr marL="3199111" indent="0" algn="ctr">
              <a:buNone/>
              <a:defRPr sz="1600"/>
            </a:lvl8pPr>
            <a:lvl9pPr marL="3656127"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p>
            <a:fld id="{5EDD093D-997D-492A-A2A9-C1329F9A9824}" type="datetimeFigureOut">
              <a:rPr lang="ru-RU" smtClean="0">
                <a:solidFill>
                  <a:prstClr val="black">
                    <a:tint val="75000"/>
                  </a:prstClr>
                </a:solidFill>
              </a:rPr>
              <a:pPr/>
              <a:t>12.07.2022</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68345350-E766-4B14-8537-AACDB5C93B8D}"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6012018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p:bg>
      <p:bgPr>
        <a:solidFill>
          <a:srgbClr val="FFFFFF"/>
        </a:solidFill>
        <a:effectLst/>
      </p:bgPr>
    </p:bg>
    <p:spTree>
      <p:nvGrpSpPr>
        <p:cNvPr id="1" name=""/>
        <p:cNvGrpSpPr/>
        <p:nvPr/>
      </p:nvGrpSpPr>
      <p:grpSpPr>
        <a:xfrm>
          <a:off x="0" y="0"/>
          <a:ext cx="0" cy="0"/>
          <a:chOff x="0" y="0"/>
          <a:chExt cx="0" cy="0"/>
        </a:xfrm>
      </p:grpSpPr>
      <p:sp>
        <p:nvSpPr>
          <p:cNvPr id="13" name="Slide Number Placeholder 1"/>
          <p:cNvSpPr txBox="1">
            <a:spLocks/>
          </p:cNvSpPr>
          <p:nvPr userDrawn="1"/>
        </p:nvSpPr>
        <p:spPr>
          <a:xfrm>
            <a:off x="11108818" y="395811"/>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cxnSp>
        <p:nvCxnSpPr>
          <p:cNvPr id="5" name="Straight Connector 4">
            <a:extLst>
              <a:ext uri="{FF2B5EF4-FFF2-40B4-BE49-F238E27FC236}">
                <a16:creationId xmlns:a16="http://schemas.microsoft.com/office/drawing/2014/main" id="{0CF2470D-FE3A-D142-BD29-D6DCE3FC6B06}"/>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9B9D7150-06E9-6947-AA7E-D44BB26EF6FE}"/>
              </a:ext>
            </a:extLst>
          </p:cNvPr>
          <p:cNvSpPr>
            <a:spLocks noGrp="1"/>
          </p:cNvSpPr>
          <p:nvPr>
            <p:ph type="body" sz="quarter" idx="10" hasCustomPrompt="1"/>
          </p:nvPr>
        </p:nvSpPr>
        <p:spPr>
          <a:xfrm>
            <a:off x="302757" y="2071523"/>
            <a:ext cx="1869227" cy="1588328"/>
          </a:xfrm>
          <a:prstGeom prst="rect">
            <a:avLst/>
          </a:prstGeom>
        </p:spPr>
        <p:txBody>
          <a:bodyPr lIns="36000" rIns="36000" anchor="b"/>
          <a:lstStyle>
            <a:lvl1pPr marL="0" indent="0">
              <a:buFontTx/>
              <a:buNone/>
              <a:defRPr sz="9417" b="0" i="0">
                <a:solidFill>
                  <a:srgbClr val="E41910"/>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1.</a:t>
            </a:r>
            <a:endParaRPr lang="x-none" dirty="0"/>
          </a:p>
        </p:txBody>
      </p:sp>
      <p:sp>
        <p:nvSpPr>
          <p:cNvPr id="9" name="Text Placeholder 8">
            <a:extLst>
              <a:ext uri="{FF2B5EF4-FFF2-40B4-BE49-F238E27FC236}">
                <a16:creationId xmlns:a16="http://schemas.microsoft.com/office/drawing/2014/main" id="{AB144694-7FC2-824B-ACAA-93D4B0E2FE77}"/>
              </a:ext>
            </a:extLst>
          </p:cNvPr>
          <p:cNvSpPr>
            <a:spLocks noGrp="1"/>
          </p:cNvSpPr>
          <p:nvPr>
            <p:ph type="body" sz="quarter" idx="11" hasCustomPrompt="1"/>
          </p:nvPr>
        </p:nvSpPr>
        <p:spPr>
          <a:xfrm>
            <a:off x="2193808" y="2569379"/>
            <a:ext cx="8692399" cy="2765376"/>
          </a:xfrm>
          <a:prstGeom prst="rect">
            <a:avLst/>
          </a:prstGeom>
        </p:spPr>
        <p:txBody>
          <a:bodyPr anchor="t"/>
          <a:lstStyle>
            <a:lvl1pPr marL="0" indent="0">
              <a:buFontTx/>
              <a:buNone/>
              <a:defRPr sz="5820"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orem ipsum dolor sit </a:t>
            </a:r>
            <a:r>
              <a:rPr lang="en-US" dirty="0" err="1"/>
              <a:t>amet</a:t>
            </a:r>
            <a:r>
              <a:rPr lang="en-US" dirty="0"/>
              <a:t>, </a:t>
            </a:r>
            <a:r>
              <a:rPr lang="en-US" dirty="0" err="1"/>
              <a:t>consectetuer</a:t>
            </a:r>
            <a:endParaRPr lang="x-none" dirty="0"/>
          </a:p>
        </p:txBody>
      </p:sp>
      <p:sp>
        <p:nvSpPr>
          <p:cNvPr id="8" name="Text Placeholder 13">
            <a:extLst>
              <a:ext uri="{FF2B5EF4-FFF2-40B4-BE49-F238E27FC236}">
                <a16:creationId xmlns:a16="http://schemas.microsoft.com/office/drawing/2014/main" id="{D354AB68-1687-054E-852E-E8222B1E3C60}"/>
              </a:ext>
            </a:extLst>
          </p:cNvPr>
          <p:cNvSpPr>
            <a:spLocks noGrp="1"/>
          </p:cNvSpPr>
          <p:nvPr>
            <p:ph type="body" sz="quarter" idx="14" hasCustomPrompt="1"/>
          </p:nvPr>
        </p:nvSpPr>
        <p:spPr>
          <a:xfrm>
            <a:off x="295483"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10" name="Text Placeholder 13">
            <a:extLst>
              <a:ext uri="{FF2B5EF4-FFF2-40B4-BE49-F238E27FC236}">
                <a16:creationId xmlns:a16="http://schemas.microsoft.com/office/drawing/2014/main" id="{121886E4-4545-DE4F-B871-DC9883391B7A}"/>
              </a:ext>
            </a:extLst>
          </p:cNvPr>
          <p:cNvSpPr>
            <a:spLocks noGrp="1"/>
          </p:cNvSpPr>
          <p:nvPr>
            <p:ph type="body" sz="quarter" idx="25" hasCustomPrompt="1"/>
          </p:nvPr>
        </p:nvSpPr>
        <p:spPr>
          <a:xfrm>
            <a:off x="10020017" y="6319800"/>
            <a:ext cx="1790667" cy="374160"/>
          </a:xfrm>
          <a:prstGeom prst="rect">
            <a:avLst/>
          </a:prstGeom>
        </p:spPr>
        <p:txBody>
          <a:bodyPr/>
          <a:lstStyle>
            <a:lvl1pPr marL="0" indent="0" algn="r">
              <a:buFontTx/>
              <a:buNone/>
              <a:defRPr sz="846"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spTree>
    <p:extLst>
      <p:ext uri="{BB962C8B-B14F-4D97-AF65-F5344CB8AC3E}">
        <p14:creationId xmlns:p14="http://schemas.microsoft.com/office/powerpoint/2010/main" val="184095737"/>
      </p:ext>
    </p:extLst>
  </p:cSld>
  <p:clrMapOvr>
    <a:masterClrMapping/>
  </p:clrMapOvr>
  <p:transition>
    <p:fade/>
  </p:transition>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5EDD093D-997D-492A-A2A9-C1329F9A9824}" type="datetimeFigureOut">
              <a:rPr lang="ru-RU" smtClean="0">
                <a:solidFill>
                  <a:prstClr val="black">
                    <a:tint val="75000"/>
                  </a:prstClr>
                </a:solidFill>
              </a:rPr>
              <a:pPr/>
              <a:t>12.07.2022</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68345350-E766-4B14-8537-AACDB5C93B8D}"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4004959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50" y="1709740"/>
            <a:ext cx="10515600" cy="2852737"/>
          </a:xfrm>
        </p:spPr>
        <p:txBody>
          <a:bodyPr anchor="b"/>
          <a:lstStyle>
            <a:lvl1pPr>
              <a:defRPr sz="5997"/>
            </a:lvl1pPr>
          </a:lstStyle>
          <a:p>
            <a:r>
              <a:rPr lang="ru-RU"/>
              <a:t>Образец заголовка</a:t>
            </a:r>
          </a:p>
        </p:txBody>
      </p:sp>
      <p:sp>
        <p:nvSpPr>
          <p:cNvPr id="3" name="Текст 2"/>
          <p:cNvSpPr>
            <a:spLocks noGrp="1"/>
          </p:cNvSpPr>
          <p:nvPr>
            <p:ph type="body" idx="1"/>
          </p:nvPr>
        </p:nvSpPr>
        <p:spPr>
          <a:xfrm>
            <a:off x="831850" y="4589465"/>
            <a:ext cx="10515600" cy="1500187"/>
          </a:xfrm>
        </p:spPr>
        <p:txBody>
          <a:bodyPr/>
          <a:lstStyle>
            <a:lvl1pPr marL="0" indent="0">
              <a:buNone/>
              <a:defRPr sz="2400">
                <a:solidFill>
                  <a:schemeClr val="tx1">
                    <a:tint val="75000"/>
                  </a:schemeClr>
                </a:solidFill>
              </a:defRPr>
            </a:lvl1pPr>
            <a:lvl2pPr marL="457016" indent="0">
              <a:buNone/>
              <a:defRPr sz="2000">
                <a:solidFill>
                  <a:schemeClr val="tx1">
                    <a:tint val="75000"/>
                  </a:schemeClr>
                </a:solidFill>
              </a:defRPr>
            </a:lvl2pPr>
            <a:lvl3pPr marL="914032" indent="0">
              <a:buNone/>
              <a:defRPr sz="1800">
                <a:solidFill>
                  <a:schemeClr val="tx1">
                    <a:tint val="75000"/>
                  </a:schemeClr>
                </a:solidFill>
              </a:defRPr>
            </a:lvl3pPr>
            <a:lvl4pPr marL="1371048" indent="0">
              <a:buNone/>
              <a:defRPr sz="1600">
                <a:solidFill>
                  <a:schemeClr val="tx1">
                    <a:tint val="75000"/>
                  </a:schemeClr>
                </a:solidFill>
              </a:defRPr>
            </a:lvl4pPr>
            <a:lvl5pPr marL="1828063" indent="0">
              <a:buNone/>
              <a:defRPr sz="1600">
                <a:solidFill>
                  <a:schemeClr val="tx1">
                    <a:tint val="75000"/>
                  </a:schemeClr>
                </a:solidFill>
              </a:defRPr>
            </a:lvl5pPr>
            <a:lvl6pPr marL="2285079" indent="0">
              <a:buNone/>
              <a:defRPr sz="1600">
                <a:solidFill>
                  <a:schemeClr val="tx1">
                    <a:tint val="75000"/>
                  </a:schemeClr>
                </a:solidFill>
              </a:defRPr>
            </a:lvl6pPr>
            <a:lvl7pPr marL="2742096" indent="0">
              <a:buNone/>
              <a:defRPr sz="1600">
                <a:solidFill>
                  <a:schemeClr val="tx1">
                    <a:tint val="75000"/>
                  </a:schemeClr>
                </a:solidFill>
              </a:defRPr>
            </a:lvl7pPr>
            <a:lvl8pPr marL="3199111" indent="0">
              <a:buNone/>
              <a:defRPr sz="1600">
                <a:solidFill>
                  <a:schemeClr val="tx1">
                    <a:tint val="75000"/>
                  </a:schemeClr>
                </a:solidFill>
              </a:defRPr>
            </a:lvl8pPr>
            <a:lvl9pPr marL="3656127"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fld id="{5EDD093D-997D-492A-A2A9-C1329F9A9824}" type="datetimeFigureOut">
              <a:rPr lang="ru-RU" smtClean="0">
                <a:solidFill>
                  <a:prstClr val="black">
                    <a:tint val="75000"/>
                  </a:prstClr>
                </a:solidFill>
              </a:rPr>
              <a:pPr/>
              <a:t>12.07.2022</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68345350-E766-4B14-8537-AACDB5C93B8D}"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28065961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838200" y="1825624"/>
            <a:ext cx="5181600" cy="4351339"/>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6172200" y="1825624"/>
            <a:ext cx="5181600" cy="4351339"/>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5EDD093D-997D-492A-A2A9-C1329F9A9824}" type="datetimeFigureOut">
              <a:rPr lang="ru-RU" smtClean="0">
                <a:solidFill>
                  <a:prstClr val="black">
                    <a:tint val="75000"/>
                  </a:prstClr>
                </a:solidFill>
              </a:rPr>
              <a:pPr/>
              <a:t>12.07.2022</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68345350-E766-4B14-8537-AACDB5C93B8D}"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20447763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365127"/>
            <a:ext cx="10515600" cy="1325563"/>
          </a:xfrm>
        </p:spPr>
        <p:txBody>
          <a:bodyPr/>
          <a:lstStyle/>
          <a:p>
            <a:r>
              <a:rPr lang="ru-RU"/>
              <a:t>Образец заголовка</a:t>
            </a:r>
          </a:p>
        </p:txBody>
      </p:sp>
      <p:sp>
        <p:nvSpPr>
          <p:cNvPr id="3" name="Текст 2"/>
          <p:cNvSpPr>
            <a:spLocks noGrp="1"/>
          </p:cNvSpPr>
          <p:nvPr>
            <p:ph type="body" idx="1"/>
          </p:nvPr>
        </p:nvSpPr>
        <p:spPr>
          <a:xfrm>
            <a:off x="839790" y="1681163"/>
            <a:ext cx="5157787" cy="823912"/>
          </a:xfrm>
        </p:spPr>
        <p:txBody>
          <a:bodyPr anchor="b"/>
          <a:lstStyle>
            <a:lvl1pPr marL="0" indent="0">
              <a:buNone/>
              <a:defRPr sz="2400" b="1"/>
            </a:lvl1pPr>
            <a:lvl2pPr marL="457016" indent="0">
              <a:buNone/>
              <a:defRPr sz="2000" b="1"/>
            </a:lvl2pPr>
            <a:lvl3pPr marL="914032" indent="0">
              <a:buNone/>
              <a:defRPr sz="1800" b="1"/>
            </a:lvl3pPr>
            <a:lvl4pPr marL="1371048" indent="0">
              <a:buNone/>
              <a:defRPr sz="1600" b="1"/>
            </a:lvl4pPr>
            <a:lvl5pPr marL="1828063" indent="0">
              <a:buNone/>
              <a:defRPr sz="1600" b="1"/>
            </a:lvl5pPr>
            <a:lvl6pPr marL="2285079" indent="0">
              <a:buNone/>
              <a:defRPr sz="1600" b="1"/>
            </a:lvl6pPr>
            <a:lvl7pPr marL="2742096" indent="0">
              <a:buNone/>
              <a:defRPr sz="1600" b="1"/>
            </a:lvl7pPr>
            <a:lvl8pPr marL="3199111" indent="0">
              <a:buNone/>
              <a:defRPr sz="1600" b="1"/>
            </a:lvl8pPr>
            <a:lvl9pPr marL="3656127" indent="0">
              <a:buNone/>
              <a:defRPr sz="1600" b="1"/>
            </a:lvl9pPr>
          </a:lstStyle>
          <a:p>
            <a:pPr lvl="0"/>
            <a:r>
              <a:rPr lang="ru-RU"/>
              <a:t>Образец текста</a:t>
            </a:r>
          </a:p>
        </p:txBody>
      </p:sp>
      <p:sp>
        <p:nvSpPr>
          <p:cNvPr id="4" name="Объект 3"/>
          <p:cNvSpPr>
            <a:spLocks noGrp="1"/>
          </p:cNvSpPr>
          <p:nvPr>
            <p:ph sz="half" idx="2"/>
          </p:nvPr>
        </p:nvSpPr>
        <p:spPr>
          <a:xfrm>
            <a:off x="839790" y="2505075"/>
            <a:ext cx="5157787" cy="3684587"/>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6172200" y="1681163"/>
            <a:ext cx="5183188" cy="823912"/>
          </a:xfrm>
        </p:spPr>
        <p:txBody>
          <a:bodyPr anchor="b"/>
          <a:lstStyle>
            <a:lvl1pPr marL="0" indent="0">
              <a:buNone/>
              <a:defRPr sz="2400" b="1"/>
            </a:lvl1pPr>
            <a:lvl2pPr marL="457016" indent="0">
              <a:buNone/>
              <a:defRPr sz="2000" b="1"/>
            </a:lvl2pPr>
            <a:lvl3pPr marL="914032" indent="0">
              <a:buNone/>
              <a:defRPr sz="1800" b="1"/>
            </a:lvl3pPr>
            <a:lvl4pPr marL="1371048" indent="0">
              <a:buNone/>
              <a:defRPr sz="1600" b="1"/>
            </a:lvl4pPr>
            <a:lvl5pPr marL="1828063" indent="0">
              <a:buNone/>
              <a:defRPr sz="1600" b="1"/>
            </a:lvl5pPr>
            <a:lvl6pPr marL="2285079" indent="0">
              <a:buNone/>
              <a:defRPr sz="1600" b="1"/>
            </a:lvl6pPr>
            <a:lvl7pPr marL="2742096" indent="0">
              <a:buNone/>
              <a:defRPr sz="1600" b="1"/>
            </a:lvl7pPr>
            <a:lvl8pPr marL="3199111" indent="0">
              <a:buNone/>
              <a:defRPr sz="1600" b="1"/>
            </a:lvl8pPr>
            <a:lvl9pPr marL="3656127" indent="0">
              <a:buNone/>
              <a:defRPr sz="1600" b="1"/>
            </a:lvl9pPr>
          </a:lstStyle>
          <a:p>
            <a:pPr lvl="0"/>
            <a:r>
              <a:rPr lang="ru-RU"/>
              <a:t>Образец текста</a:t>
            </a:r>
          </a:p>
        </p:txBody>
      </p:sp>
      <p:sp>
        <p:nvSpPr>
          <p:cNvPr id="6" name="Объект 5"/>
          <p:cNvSpPr>
            <a:spLocks noGrp="1"/>
          </p:cNvSpPr>
          <p:nvPr>
            <p:ph sz="quarter" idx="4"/>
          </p:nvPr>
        </p:nvSpPr>
        <p:spPr>
          <a:xfrm>
            <a:off x="6172200" y="2505075"/>
            <a:ext cx="5183188" cy="3684587"/>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fld id="{5EDD093D-997D-492A-A2A9-C1329F9A9824}" type="datetimeFigureOut">
              <a:rPr lang="ru-RU" smtClean="0">
                <a:solidFill>
                  <a:prstClr val="black">
                    <a:tint val="75000"/>
                  </a:prstClr>
                </a:solidFill>
              </a:rPr>
              <a:pPr/>
              <a:t>12.07.2022</a:t>
            </a:fld>
            <a:endParaRPr lang="ru-RU">
              <a:solidFill>
                <a:prstClr val="black">
                  <a:tint val="75000"/>
                </a:prstClr>
              </a:solidFill>
            </a:endParaRPr>
          </a:p>
        </p:txBody>
      </p:sp>
      <p:sp>
        <p:nvSpPr>
          <p:cNvPr id="8" name="Нижний колонтитул 7"/>
          <p:cNvSpPr>
            <a:spLocks noGrp="1"/>
          </p:cNvSpPr>
          <p:nvPr>
            <p:ph type="ftr" sz="quarter" idx="11"/>
          </p:nvPr>
        </p:nvSpPr>
        <p:spPr/>
        <p:txBody>
          <a:bodyPr/>
          <a:lstStyle/>
          <a:p>
            <a:endParaRPr lang="ru-RU">
              <a:solidFill>
                <a:prstClr val="black">
                  <a:tint val="75000"/>
                </a:prstClr>
              </a:solidFill>
            </a:endParaRPr>
          </a:p>
        </p:txBody>
      </p:sp>
      <p:sp>
        <p:nvSpPr>
          <p:cNvPr id="9" name="Номер слайда 8"/>
          <p:cNvSpPr>
            <a:spLocks noGrp="1"/>
          </p:cNvSpPr>
          <p:nvPr>
            <p:ph type="sldNum" sz="quarter" idx="12"/>
          </p:nvPr>
        </p:nvSpPr>
        <p:spPr/>
        <p:txBody>
          <a:bodyPr/>
          <a:lstStyle/>
          <a:p>
            <a:fld id="{68345350-E766-4B14-8537-AACDB5C93B8D}"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9583775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5EDD093D-997D-492A-A2A9-C1329F9A9824}" type="datetimeFigureOut">
              <a:rPr lang="ru-RU" smtClean="0">
                <a:solidFill>
                  <a:prstClr val="black">
                    <a:tint val="75000"/>
                  </a:prstClr>
                </a:solidFill>
              </a:rPr>
              <a:pPr/>
              <a:t>12.07.2022</a:t>
            </a:fld>
            <a:endParaRPr lang="ru-RU">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a:solidFill>
                <a:prstClr val="black">
                  <a:tint val="75000"/>
                </a:prstClr>
              </a:solidFill>
            </a:endParaRPr>
          </a:p>
        </p:txBody>
      </p:sp>
      <p:sp>
        <p:nvSpPr>
          <p:cNvPr id="5" name="Номер слайда 4"/>
          <p:cNvSpPr>
            <a:spLocks noGrp="1"/>
          </p:cNvSpPr>
          <p:nvPr>
            <p:ph type="sldNum" sz="quarter" idx="12"/>
          </p:nvPr>
        </p:nvSpPr>
        <p:spPr/>
        <p:txBody>
          <a:bodyPr/>
          <a:lstStyle/>
          <a:p>
            <a:fld id="{68345350-E766-4B14-8537-AACDB5C93B8D}"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73300484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5EDD093D-997D-492A-A2A9-C1329F9A9824}" type="datetimeFigureOut">
              <a:rPr lang="ru-RU" smtClean="0">
                <a:solidFill>
                  <a:prstClr val="black">
                    <a:tint val="75000"/>
                  </a:prstClr>
                </a:solidFill>
              </a:rPr>
              <a:pPr/>
              <a:t>12.07.2022</a:t>
            </a:fld>
            <a:endParaRPr lang="ru-RU">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a:solidFill>
                <a:prstClr val="black">
                  <a:tint val="75000"/>
                </a:prstClr>
              </a:solidFill>
            </a:endParaRPr>
          </a:p>
        </p:txBody>
      </p:sp>
      <p:sp>
        <p:nvSpPr>
          <p:cNvPr id="4" name="Номер слайда 3"/>
          <p:cNvSpPr>
            <a:spLocks noGrp="1"/>
          </p:cNvSpPr>
          <p:nvPr>
            <p:ph type="sldNum" sz="quarter" idx="12"/>
          </p:nvPr>
        </p:nvSpPr>
        <p:spPr/>
        <p:txBody>
          <a:bodyPr/>
          <a:lstStyle/>
          <a:p>
            <a:fld id="{68345350-E766-4B14-8537-AACDB5C93B8D}"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23952594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90" y="457202"/>
            <a:ext cx="3932237" cy="16002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839790" y="2057400"/>
            <a:ext cx="3932237" cy="3811588"/>
          </a:xfrm>
        </p:spPr>
        <p:txBody>
          <a:bodyPr/>
          <a:lstStyle>
            <a:lvl1pPr marL="0" indent="0">
              <a:buNone/>
              <a:defRPr sz="1600"/>
            </a:lvl1pPr>
            <a:lvl2pPr marL="457016" indent="0">
              <a:buNone/>
              <a:defRPr sz="1400"/>
            </a:lvl2pPr>
            <a:lvl3pPr marL="914032" indent="0">
              <a:buNone/>
              <a:defRPr sz="1200"/>
            </a:lvl3pPr>
            <a:lvl4pPr marL="1371048" indent="0">
              <a:buNone/>
              <a:defRPr sz="1000"/>
            </a:lvl4pPr>
            <a:lvl5pPr marL="1828063" indent="0">
              <a:buNone/>
              <a:defRPr sz="1000"/>
            </a:lvl5pPr>
            <a:lvl6pPr marL="2285079" indent="0">
              <a:buNone/>
              <a:defRPr sz="1000"/>
            </a:lvl6pPr>
            <a:lvl7pPr marL="2742096" indent="0">
              <a:buNone/>
              <a:defRPr sz="1000"/>
            </a:lvl7pPr>
            <a:lvl8pPr marL="3199111" indent="0">
              <a:buNone/>
              <a:defRPr sz="1000"/>
            </a:lvl8pPr>
            <a:lvl9pPr marL="3656127" indent="0">
              <a:buNone/>
              <a:defRPr sz="1000"/>
            </a:lvl9pPr>
          </a:lstStyle>
          <a:p>
            <a:pPr lvl="0"/>
            <a:r>
              <a:rPr lang="ru-RU"/>
              <a:t>Образец текста</a:t>
            </a:r>
          </a:p>
        </p:txBody>
      </p:sp>
      <p:sp>
        <p:nvSpPr>
          <p:cNvPr id="5" name="Дата 4"/>
          <p:cNvSpPr>
            <a:spLocks noGrp="1"/>
          </p:cNvSpPr>
          <p:nvPr>
            <p:ph type="dt" sz="half" idx="10"/>
          </p:nvPr>
        </p:nvSpPr>
        <p:spPr/>
        <p:txBody>
          <a:bodyPr/>
          <a:lstStyle/>
          <a:p>
            <a:fld id="{5EDD093D-997D-492A-A2A9-C1329F9A9824}" type="datetimeFigureOut">
              <a:rPr lang="ru-RU" smtClean="0">
                <a:solidFill>
                  <a:prstClr val="black">
                    <a:tint val="75000"/>
                  </a:prstClr>
                </a:solidFill>
              </a:rPr>
              <a:pPr/>
              <a:t>12.07.2022</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68345350-E766-4B14-8537-AACDB5C93B8D}"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9852050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90" y="457202"/>
            <a:ext cx="3932237" cy="16002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5183188" y="987427"/>
            <a:ext cx="6172200" cy="4873625"/>
          </a:xfrm>
        </p:spPr>
        <p:txBody>
          <a:bodyPr/>
          <a:lstStyle>
            <a:lvl1pPr marL="0" indent="0">
              <a:buNone/>
              <a:defRPr sz="3200"/>
            </a:lvl1pPr>
            <a:lvl2pPr marL="457016" indent="0">
              <a:buNone/>
              <a:defRPr sz="2800"/>
            </a:lvl2pPr>
            <a:lvl3pPr marL="914032" indent="0">
              <a:buNone/>
              <a:defRPr sz="2400"/>
            </a:lvl3pPr>
            <a:lvl4pPr marL="1371048" indent="0">
              <a:buNone/>
              <a:defRPr sz="2000"/>
            </a:lvl4pPr>
            <a:lvl5pPr marL="1828063" indent="0">
              <a:buNone/>
              <a:defRPr sz="2000"/>
            </a:lvl5pPr>
            <a:lvl6pPr marL="2285079" indent="0">
              <a:buNone/>
              <a:defRPr sz="2000"/>
            </a:lvl6pPr>
            <a:lvl7pPr marL="2742096" indent="0">
              <a:buNone/>
              <a:defRPr sz="2000"/>
            </a:lvl7pPr>
            <a:lvl8pPr marL="3199111" indent="0">
              <a:buNone/>
              <a:defRPr sz="2000"/>
            </a:lvl8pPr>
            <a:lvl9pPr marL="3656127" indent="0">
              <a:buNone/>
              <a:defRPr sz="2000"/>
            </a:lvl9pPr>
          </a:lstStyle>
          <a:p>
            <a:endParaRPr lang="ru-RU"/>
          </a:p>
        </p:txBody>
      </p:sp>
      <p:sp>
        <p:nvSpPr>
          <p:cNvPr id="4" name="Текст 3"/>
          <p:cNvSpPr>
            <a:spLocks noGrp="1"/>
          </p:cNvSpPr>
          <p:nvPr>
            <p:ph type="body" sz="half" idx="2"/>
          </p:nvPr>
        </p:nvSpPr>
        <p:spPr>
          <a:xfrm>
            <a:off x="839790" y="2057400"/>
            <a:ext cx="3932237" cy="3811588"/>
          </a:xfrm>
        </p:spPr>
        <p:txBody>
          <a:bodyPr/>
          <a:lstStyle>
            <a:lvl1pPr marL="0" indent="0">
              <a:buNone/>
              <a:defRPr sz="1600"/>
            </a:lvl1pPr>
            <a:lvl2pPr marL="457016" indent="0">
              <a:buNone/>
              <a:defRPr sz="1400"/>
            </a:lvl2pPr>
            <a:lvl3pPr marL="914032" indent="0">
              <a:buNone/>
              <a:defRPr sz="1200"/>
            </a:lvl3pPr>
            <a:lvl4pPr marL="1371048" indent="0">
              <a:buNone/>
              <a:defRPr sz="1000"/>
            </a:lvl4pPr>
            <a:lvl5pPr marL="1828063" indent="0">
              <a:buNone/>
              <a:defRPr sz="1000"/>
            </a:lvl5pPr>
            <a:lvl6pPr marL="2285079" indent="0">
              <a:buNone/>
              <a:defRPr sz="1000"/>
            </a:lvl6pPr>
            <a:lvl7pPr marL="2742096" indent="0">
              <a:buNone/>
              <a:defRPr sz="1000"/>
            </a:lvl7pPr>
            <a:lvl8pPr marL="3199111" indent="0">
              <a:buNone/>
              <a:defRPr sz="1000"/>
            </a:lvl8pPr>
            <a:lvl9pPr marL="3656127" indent="0">
              <a:buNone/>
              <a:defRPr sz="1000"/>
            </a:lvl9pPr>
          </a:lstStyle>
          <a:p>
            <a:pPr lvl="0"/>
            <a:r>
              <a:rPr lang="ru-RU"/>
              <a:t>Образец текста</a:t>
            </a:r>
          </a:p>
        </p:txBody>
      </p:sp>
      <p:sp>
        <p:nvSpPr>
          <p:cNvPr id="5" name="Дата 4"/>
          <p:cNvSpPr>
            <a:spLocks noGrp="1"/>
          </p:cNvSpPr>
          <p:nvPr>
            <p:ph type="dt" sz="half" idx="10"/>
          </p:nvPr>
        </p:nvSpPr>
        <p:spPr/>
        <p:txBody>
          <a:bodyPr/>
          <a:lstStyle/>
          <a:p>
            <a:fld id="{5EDD093D-997D-492A-A2A9-C1329F9A9824}" type="datetimeFigureOut">
              <a:rPr lang="ru-RU" smtClean="0">
                <a:solidFill>
                  <a:prstClr val="black">
                    <a:tint val="75000"/>
                  </a:prstClr>
                </a:solidFill>
              </a:rPr>
              <a:pPr/>
              <a:t>12.07.2022</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68345350-E766-4B14-8537-AACDB5C93B8D}"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49431580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5EDD093D-997D-492A-A2A9-C1329F9A9824}" type="datetimeFigureOut">
              <a:rPr lang="ru-RU" smtClean="0">
                <a:solidFill>
                  <a:prstClr val="black">
                    <a:tint val="75000"/>
                  </a:prstClr>
                </a:solidFill>
              </a:rPr>
              <a:pPr/>
              <a:t>12.07.2022</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68345350-E766-4B14-8537-AACDB5C93B8D}"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0900020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5EDD093D-997D-492A-A2A9-C1329F9A9824}" type="datetimeFigureOut">
              <a:rPr lang="ru-RU" smtClean="0">
                <a:solidFill>
                  <a:prstClr val="black">
                    <a:tint val="75000"/>
                  </a:prstClr>
                </a:solidFill>
              </a:rPr>
              <a:pPr/>
              <a:t>12.07.2022</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68345350-E766-4B14-8537-AACDB5C93B8D}"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393939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4_Content">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B144694-7FC2-824B-ACAA-93D4B0E2FE77}"/>
              </a:ext>
            </a:extLst>
          </p:cNvPr>
          <p:cNvSpPr>
            <a:spLocks noGrp="1"/>
          </p:cNvSpPr>
          <p:nvPr>
            <p:ph type="body" sz="quarter" idx="11" hasCustomPrompt="1"/>
          </p:nvPr>
        </p:nvSpPr>
        <p:spPr>
          <a:xfrm>
            <a:off x="228454" y="1409573"/>
            <a:ext cx="6744404" cy="4038860"/>
          </a:xfrm>
          <a:prstGeom prst="rect">
            <a:avLst/>
          </a:prstGeom>
        </p:spPr>
        <p:txBody>
          <a:bodyPr anchor="ctr"/>
          <a:lstStyle>
            <a:lvl1pPr marL="0" indent="0">
              <a:buFontTx/>
              <a:buNone/>
              <a:defRPr sz="5820"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orem ipsum dolor sit </a:t>
            </a:r>
            <a:r>
              <a:rPr lang="en-US" dirty="0" err="1"/>
              <a:t>amet</a:t>
            </a:r>
            <a:r>
              <a:rPr lang="en-US" dirty="0"/>
              <a:t>, </a:t>
            </a:r>
            <a:r>
              <a:rPr lang="en-US" dirty="0" err="1"/>
              <a:t>consectetuer</a:t>
            </a:r>
            <a:endParaRPr lang="x-none" dirty="0"/>
          </a:p>
        </p:txBody>
      </p:sp>
      <p:sp>
        <p:nvSpPr>
          <p:cNvPr id="6" name="Picture Placeholder 5">
            <a:extLst>
              <a:ext uri="{FF2B5EF4-FFF2-40B4-BE49-F238E27FC236}">
                <a16:creationId xmlns:a16="http://schemas.microsoft.com/office/drawing/2014/main" id="{888A7F86-BC36-3241-91E5-D03882836D21}"/>
              </a:ext>
            </a:extLst>
          </p:cNvPr>
          <p:cNvSpPr>
            <a:spLocks noGrp="1"/>
          </p:cNvSpPr>
          <p:nvPr>
            <p:ph type="pic" sz="quarter" idx="16"/>
          </p:nvPr>
        </p:nvSpPr>
        <p:spPr>
          <a:xfrm>
            <a:off x="7124039" y="1409572"/>
            <a:ext cx="4686645" cy="4038859"/>
          </a:xfrm>
          <a:prstGeom prst="rect">
            <a:avLst/>
          </a:prstGeom>
        </p:spPr>
        <p:txBody>
          <a:bodyPr anchor="ctr"/>
          <a:lstStyle>
            <a:lvl1pPr algn="ctr">
              <a:buFontTx/>
              <a:buNone/>
              <a:defRPr sz="2963"/>
            </a:lvl1pPr>
          </a:lstStyle>
          <a:p>
            <a:endParaRPr lang="x-none"/>
          </a:p>
        </p:txBody>
      </p:sp>
      <p:cxnSp>
        <p:nvCxnSpPr>
          <p:cNvPr id="11" name="Straight Connector 10">
            <a:extLst>
              <a:ext uri="{FF2B5EF4-FFF2-40B4-BE49-F238E27FC236}">
                <a16:creationId xmlns:a16="http://schemas.microsoft.com/office/drawing/2014/main" id="{69D176CE-8965-5349-9FBA-5A96377315FB}"/>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12" name="Text Placeholder 13">
            <a:extLst>
              <a:ext uri="{FF2B5EF4-FFF2-40B4-BE49-F238E27FC236}">
                <a16:creationId xmlns:a16="http://schemas.microsoft.com/office/drawing/2014/main" id="{301B00CD-A1FA-E242-8C42-584DF7EACB1C}"/>
              </a:ext>
            </a:extLst>
          </p:cNvPr>
          <p:cNvSpPr>
            <a:spLocks noGrp="1"/>
          </p:cNvSpPr>
          <p:nvPr>
            <p:ph type="body" sz="quarter" idx="14" hasCustomPrompt="1"/>
          </p:nvPr>
        </p:nvSpPr>
        <p:spPr>
          <a:xfrm>
            <a:off x="295483"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14" name="Slide Number Placeholder 1">
            <a:extLst>
              <a:ext uri="{FF2B5EF4-FFF2-40B4-BE49-F238E27FC236}">
                <a16:creationId xmlns:a16="http://schemas.microsoft.com/office/drawing/2014/main" id="{45546C9A-5E11-424E-858D-8C2913D9A7B7}"/>
              </a:ext>
            </a:extLst>
          </p:cNvPr>
          <p:cNvSpPr txBox="1">
            <a:spLocks/>
          </p:cNvSpPr>
          <p:nvPr userDrawn="1"/>
        </p:nvSpPr>
        <p:spPr>
          <a:xfrm>
            <a:off x="11108818" y="395811"/>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Text Placeholder 13">
            <a:extLst>
              <a:ext uri="{FF2B5EF4-FFF2-40B4-BE49-F238E27FC236}">
                <a16:creationId xmlns:a16="http://schemas.microsoft.com/office/drawing/2014/main" id="{24CD8EB8-EB60-2F4E-88CC-EAA88C251C92}"/>
              </a:ext>
            </a:extLst>
          </p:cNvPr>
          <p:cNvSpPr>
            <a:spLocks noGrp="1"/>
          </p:cNvSpPr>
          <p:nvPr>
            <p:ph type="body" sz="quarter" idx="25" hasCustomPrompt="1"/>
          </p:nvPr>
        </p:nvSpPr>
        <p:spPr>
          <a:xfrm>
            <a:off x="10020017" y="6319800"/>
            <a:ext cx="1790667" cy="374160"/>
          </a:xfrm>
          <a:prstGeom prst="rect">
            <a:avLst/>
          </a:prstGeom>
        </p:spPr>
        <p:txBody>
          <a:bodyPr/>
          <a:lstStyle>
            <a:lvl1pPr marL="0" indent="0" algn="r">
              <a:buFontTx/>
              <a:buNone/>
              <a:defRPr sz="846"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spTree>
    <p:extLst>
      <p:ext uri="{BB962C8B-B14F-4D97-AF65-F5344CB8AC3E}">
        <p14:creationId xmlns:p14="http://schemas.microsoft.com/office/powerpoint/2010/main" val="1761059329"/>
      </p:ext>
    </p:extLst>
  </p:cSld>
  <p:clrMapOvr>
    <a:masterClrMapping/>
  </p:clrMapOvr>
  <p:transition>
    <p:fade/>
  </p:transition>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Пустой слайд">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56949" y="71448"/>
            <a:ext cx="9714740" cy="369332"/>
          </a:xfrm>
          <a:prstGeom prst="rect">
            <a:avLst/>
          </a:prstGeom>
        </p:spPr>
        <p:txBody>
          <a:bodyPr/>
          <a:lstStyle/>
          <a:p>
            <a:r>
              <a:rPr lang="ru-RU"/>
              <a:t>Образец заголовка</a:t>
            </a:r>
          </a:p>
        </p:txBody>
      </p:sp>
      <p:sp>
        <p:nvSpPr>
          <p:cNvPr id="3" name="Номер слайда 2"/>
          <p:cNvSpPr>
            <a:spLocks noGrp="1"/>
          </p:cNvSpPr>
          <p:nvPr>
            <p:ph type="sldNum" sz="quarter" idx="10"/>
          </p:nvPr>
        </p:nvSpPr>
        <p:spPr>
          <a:xfrm>
            <a:off x="11714751" y="6532422"/>
            <a:ext cx="477252" cy="160255"/>
          </a:xfrm>
        </p:spPr>
        <p:txBody>
          <a:bodyPr/>
          <a:lstStyle/>
          <a:p>
            <a:fld id="{1E5EB7E5-F709-4EF6-8A34-B7FBD607401D}"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4243801368"/>
      </p:ext>
    </p:extLst>
  </p:cSld>
  <p:clrMapOvr>
    <a:masterClrMapping/>
  </p:clrMapOvr>
  <p:extLst>
    <p:ext uri="{DCECCB84-F9BA-43D5-87BE-67443E8EF086}">
      <p15:sldGuideLst xmlns:p15="http://schemas.microsoft.com/office/powerpoint/2012/main">
        <p15:guide id="1" orient="horz" pos="73">
          <p15:clr>
            <a:srgbClr val="FBAE40"/>
          </p15:clr>
        </p15:guide>
        <p15:guide id="2" pos="75">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1" y="1122363"/>
            <a:ext cx="9144000" cy="2387600"/>
          </a:xfrm>
        </p:spPr>
        <p:txBody>
          <a:bodyPr anchor="b"/>
          <a:lstStyle>
            <a:lvl1pPr algn="ctr">
              <a:defRPr sz="5997"/>
            </a:lvl1pPr>
          </a:lstStyle>
          <a:p>
            <a:r>
              <a:rPr lang="ru-RU"/>
              <a:t>Образец заголовка</a:t>
            </a:r>
          </a:p>
        </p:txBody>
      </p:sp>
      <p:sp>
        <p:nvSpPr>
          <p:cNvPr id="3" name="Подзаголовок 2"/>
          <p:cNvSpPr>
            <a:spLocks noGrp="1"/>
          </p:cNvSpPr>
          <p:nvPr>
            <p:ph type="subTitle" idx="1"/>
          </p:nvPr>
        </p:nvSpPr>
        <p:spPr>
          <a:xfrm>
            <a:off x="1524001" y="3602038"/>
            <a:ext cx="9144000" cy="1655762"/>
          </a:xfrm>
        </p:spPr>
        <p:txBody>
          <a:bodyPr/>
          <a:lstStyle>
            <a:lvl1pPr marL="0" indent="0" algn="ctr">
              <a:buNone/>
              <a:defRPr sz="2400"/>
            </a:lvl1pPr>
            <a:lvl2pPr marL="457016" indent="0" algn="ctr">
              <a:buNone/>
              <a:defRPr sz="2000"/>
            </a:lvl2pPr>
            <a:lvl3pPr marL="914032" indent="0" algn="ctr">
              <a:buNone/>
              <a:defRPr sz="1800"/>
            </a:lvl3pPr>
            <a:lvl4pPr marL="1371048" indent="0" algn="ctr">
              <a:buNone/>
              <a:defRPr sz="1600"/>
            </a:lvl4pPr>
            <a:lvl5pPr marL="1828063" indent="0" algn="ctr">
              <a:buNone/>
              <a:defRPr sz="1600"/>
            </a:lvl5pPr>
            <a:lvl6pPr marL="2285079" indent="0" algn="ctr">
              <a:buNone/>
              <a:defRPr sz="1600"/>
            </a:lvl6pPr>
            <a:lvl7pPr marL="2742096" indent="0" algn="ctr">
              <a:buNone/>
              <a:defRPr sz="1600"/>
            </a:lvl7pPr>
            <a:lvl8pPr marL="3199111" indent="0" algn="ctr">
              <a:buNone/>
              <a:defRPr sz="1600"/>
            </a:lvl8pPr>
            <a:lvl9pPr marL="3656127" indent="0" algn="ctr">
              <a:buNone/>
              <a:defRPr sz="1600"/>
            </a:lvl9pPr>
          </a:lstStyle>
          <a:p>
            <a:r>
              <a:rPr lang="ru-RU"/>
              <a:t>Образец подзаголовка</a:t>
            </a:r>
          </a:p>
        </p:txBody>
      </p:sp>
      <p:sp>
        <p:nvSpPr>
          <p:cNvPr id="4" name="Дата 3"/>
          <p:cNvSpPr>
            <a:spLocks noGrp="1"/>
          </p:cNvSpPr>
          <p:nvPr>
            <p:ph type="dt" sz="half" idx="10"/>
          </p:nvPr>
        </p:nvSpPr>
        <p:spPr/>
        <p:txBody>
          <a:bodyPr/>
          <a:lstStyle/>
          <a:p>
            <a:fld id="{5EDD093D-997D-492A-A2A9-C1329F9A9824}" type="datetimeFigureOut">
              <a:rPr lang="ru-RU" smtClean="0">
                <a:solidFill>
                  <a:prstClr val="black">
                    <a:tint val="75000"/>
                  </a:prstClr>
                </a:solidFill>
              </a:rPr>
              <a:pPr/>
              <a:t>12.07.2022</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68345350-E766-4B14-8537-AACDB5C93B8D}"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9208782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5EDD093D-997D-492A-A2A9-C1329F9A9824}" type="datetimeFigureOut">
              <a:rPr lang="ru-RU" smtClean="0">
                <a:solidFill>
                  <a:prstClr val="black">
                    <a:tint val="75000"/>
                  </a:prstClr>
                </a:solidFill>
              </a:rPr>
              <a:pPr/>
              <a:t>12.07.2022</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68345350-E766-4B14-8537-AACDB5C93B8D}"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3834399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50" y="1709740"/>
            <a:ext cx="10515600" cy="2852737"/>
          </a:xfrm>
        </p:spPr>
        <p:txBody>
          <a:bodyPr anchor="b"/>
          <a:lstStyle>
            <a:lvl1pPr>
              <a:defRPr sz="5997"/>
            </a:lvl1pPr>
          </a:lstStyle>
          <a:p>
            <a:r>
              <a:rPr lang="ru-RU"/>
              <a:t>Образец заголовка</a:t>
            </a:r>
          </a:p>
        </p:txBody>
      </p:sp>
      <p:sp>
        <p:nvSpPr>
          <p:cNvPr id="3" name="Текст 2"/>
          <p:cNvSpPr>
            <a:spLocks noGrp="1"/>
          </p:cNvSpPr>
          <p:nvPr>
            <p:ph type="body" idx="1"/>
          </p:nvPr>
        </p:nvSpPr>
        <p:spPr>
          <a:xfrm>
            <a:off x="831850" y="4589465"/>
            <a:ext cx="10515600" cy="1500187"/>
          </a:xfrm>
        </p:spPr>
        <p:txBody>
          <a:bodyPr/>
          <a:lstStyle>
            <a:lvl1pPr marL="0" indent="0">
              <a:buNone/>
              <a:defRPr sz="2400">
                <a:solidFill>
                  <a:schemeClr val="tx1">
                    <a:tint val="75000"/>
                  </a:schemeClr>
                </a:solidFill>
              </a:defRPr>
            </a:lvl1pPr>
            <a:lvl2pPr marL="457016" indent="0">
              <a:buNone/>
              <a:defRPr sz="2000">
                <a:solidFill>
                  <a:schemeClr val="tx1">
                    <a:tint val="75000"/>
                  </a:schemeClr>
                </a:solidFill>
              </a:defRPr>
            </a:lvl2pPr>
            <a:lvl3pPr marL="914032" indent="0">
              <a:buNone/>
              <a:defRPr sz="1800">
                <a:solidFill>
                  <a:schemeClr val="tx1">
                    <a:tint val="75000"/>
                  </a:schemeClr>
                </a:solidFill>
              </a:defRPr>
            </a:lvl3pPr>
            <a:lvl4pPr marL="1371048" indent="0">
              <a:buNone/>
              <a:defRPr sz="1600">
                <a:solidFill>
                  <a:schemeClr val="tx1">
                    <a:tint val="75000"/>
                  </a:schemeClr>
                </a:solidFill>
              </a:defRPr>
            </a:lvl4pPr>
            <a:lvl5pPr marL="1828063" indent="0">
              <a:buNone/>
              <a:defRPr sz="1600">
                <a:solidFill>
                  <a:schemeClr val="tx1">
                    <a:tint val="75000"/>
                  </a:schemeClr>
                </a:solidFill>
              </a:defRPr>
            </a:lvl5pPr>
            <a:lvl6pPr marL="2285079" indent="0">
              <a:buNone/>
              <a:defRPr sz="1600">
                <a:solidFill>
                  <a:schemeClr val="tx1">
                    <a:tint val="75000"/>
                  </a:schemeClr>
                </a:solidFill>
              </a:defRPr>
            </a:lvl6pPr>
            <a:lvl7pPr marL="2742096" indent="0">
              <a:buNone/>
              <a:defRPr sz="1600">
                <a:solidFill>
                  <a:schemeClr val="tx1">
                    <a:tint val="75000"/>
                  </a:schemeClr>
                </a:solidFill>
              </a:defRPr>
            </a:lvl7pPr>
            <a:lvl8pPr marL="3199111" indent="0">
              <a:buNone/>
              <a:defRPr sz="1600">
                <a:solidFill>
                  <a:schemeClr val="tx1">
                    <a:tint val="75000"/>
                  </a:schemeClr>
                </a:solidFill>
              </a:defRPr>
            </a:lvl8pPr>
            <a:lvl9pPr marL="3656127" indent="0">
              <a:buNone/>
              <a:defRPr sz="1600">
                <a:solidFill>
                  <a:schemeClr val="tx1">
                    <a:tint val="75000"/>
                  </a:schemeClr>
                </a:solidFill>
              </a:defRPr>
            </a:lvl9pPr>
          </a:lstStyle>
          <a:p>
            <a:pPr lvl="0"/>
            <a:r>
              <a:rPr lang="ru-RU"/>
              <a:t>Образец текста</a:t>
            </a:r>
          </a:p>
        </p:txBody>
      </p:sp>
      <p:sp>
        <p:nvSpPr>
          <p:cNvPr id="4" name="Дата 3"/>
          <p:cNvSpPr>
            <a:spLocks noGrp="1"/>
          </p:cNvSpPr>
          <p:nvPr>
            <p:ph type="dt" sz="half" idx="10"/>
          </p:nvPr>
        </p:nvSpPr>
        <p:spPr/>
        <p:txBody>
          <a:bodyPr/>
          <a:lstStyle/>
          <a:p>
            <a:fld id="{5EDD093D-997D-492A-A2A9-C1329F9A9824}" type="datetimeFigureOut">
              <a:rPr lang="ru-RU" smtClean="0">
                <a:solidFill>
                  <a:prstClr val="black">
                    <a:tint val="75000"/>
                  </a:prstClr>
                </a:solidFill>
              </a:rPr>
              <a:pPr/>
              <a:t>12.07.2022</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68345350-E766-4B14-8537-AACDB5C93B8D}"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22658505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838200" y="1825624"/>
            <a:ext cx="5181600" cy="4351339"/>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6172200" y="1825624"/>
            <a:ext cx="5181600" cy="4351339"/>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5EDD093D-997D-492A-A2A9-C1329F9A9824}" type="datetimeFigureOut">
              <a:rPr lang="ru-RU" smtClean="0">
                <a:solidFill>
                  <a:prstClr val="black">
                    <a:tint val="75000"/>
                  </a:prstClr>
                </a:solidFill>
              </a:rPr>
              <a:pPr/>
              <a:t>12.07.2022</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68345350-E766-4B14-8537-AACDB5C93B8D}"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28448031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365127"/>
            <a:ext cx="10515600" cy="1325563"/>
          </a:xfrm>
        </p:spPr>
        <p:txBody>
          <a:bodyPr/>
          <a:lstStyle/>
          <a:p>
            <a:r>
              <a:rPr lang="ru-RU"/>
              <a:t>Образец заголовка</a:t>
            </a:r>
          </a:p>
        </p:txBody>
      </p:sp>
      <p:sp>
        <p:nvSpPr>
          <p:cNvPr id="3" name="Текст 2"/>
          <p:cNvSpPr>
            <a:spLocks noGrp="1"/>
          </p:cNvSpPr>
          <p:nvPr>
            <p:ph type="body" idx="1"/>
          </p:nvPr>
        </p:nvSpPr>
        <p:spPr>
          <a:xfrm>
            <a:off x="839790" y="1681163"/>
            <a:ext cx="5157787" cy="823912"/>
          </a:xfrm>
        </p:spPr>
        <p:txBody>
          <a:bodyPr anchor="b"/>
          <a:lstStyle>
            <a:lvl1pPr marL="0" indent="0">
              <a:buNone/>
              <a:defRPr sz="2400" b="1"/>
            </a:lvl1pPr>
            <a:lvl2pPr marL="457016" indent="0">
              <a:buNone/>
              <a:defRPr sz="2000" b="1"/>
            </a:lvl2pPr>
            <a:lvl3pPr marL="914032" indent="0">
              <a:buNone/>
              <a:defRPr sz="1800" b="1"/>
            </a:lvl3pPr>
            <a:lvl4pPr marL="1371048" indent="0">
              <a:buNone/>
              <a:defRPr sz="1600" b="1"/>
            </a:lvl4pPr>
            <a:lvl5pPr marL="1828063" indent="0">
              <a:buNone/>
              <a:defRPr sz="1600" b="1"/>
            </a:lvl5pPr>
            <a:lvl6pPr marL="2285079" indent="0">
              <a:buNone/>
              <a:defRPr sz="1600" b="1"/>
            </a:lvl6pPr>
            <a:lvl7pPr marL="2742096" indent="0">
              <a:buNone/>
              <a:defRPr sz="1600" b="1"/>
            </a:lvl7pPr>
            <a:lvl8pPr marL="3199111" indent="0">
              <a:buNone/>
              <a:defRPr sz="1600" b="1"/>
            </a:lvl8pPr>
            <a:lvl9pPr marL="3656127" indent="0">
              <a:buNone/>
              <a:defRPr sz="1600" b="1"/>
            </a:lvl9pPr>
          </a:lstStyle>
          <a:p>
            <a:pPr lvl="0"/>
            <a:r>
              <a:rPr lang="ru-RU"/>
              <a:t>Образец текста</a:t>
            </a:r>
          </a:p>
        </p:txBody>
      </p:sp>
      <p:sp>
        <p:nvSpPr>
          <p:cNvPr id="4" name="Объект 3"/>
          <p:cNvSpPr>
            <a:spLocks noGrp="1"/>
          </p:cNvSpPr>
          <p:nvPr>
            <p:ph sz="half" idx="2"/>
          </p:nvPr>
        </p:nvSpPr>
        <p:spPr>
          <a:xfrm>
            <a:off x="839790" y="2505075"/>
            <a:ext cx="5157787" cy="3684587"/>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6172200" y="1681163"/>
            <a:ext cx="5183188" cy="823912"/>
          </a:xfrm>
        </p:spPr>
        <p:txBody>
          <a:bodyPr anchor="b"/>
          <a:lstStyle>
            <a:lvl1pPr marL="0" indent="0">
              <a:buNone/>
              <a:defRPr sz="2400" b="1"/>
            </a:lvl1pPr>
            <a:lvl2pPr marL="457016" indent="0">
              <a:buNone/>
              <a:defRPr sz="2000" b="1"/>
            </a:lvl2pPr>
            <a:lvl3pPr marL="914032" indent="0">
              <a:buNone/>
              <a:defRPr sz="1800" b="1"/>
            </a:lvl3pPr>
            <a:lvl4pPr marL="1371048" indent="0">
              <a:buNone/>
              <a:defRPr sz="1600" b="1"/>
            </a:lvl4pPr>
            <a:lvl5pPr marL="1828063" indent="0">
              <a:buNone/>
              <a:defRPr sz="1600" b="1"/>
            </a:lvl5pPr>
            <a:lvl6pPr marL="2285079" indent="0">
              <a:buNone/>
              <a:defRPr sz="1600" b="1"/>
            </a:lvl6pPr>
            <a:lvl7pPr marL="2742096" indent="0">
              <a:buNone/>
              <a:defRPr sz="1600" b="1"/>
            </a:lvl7pPr>
            <a:lvl8pPr marL="3199111" indent="0">
              <a:buNone/>
              <a:defRPr sz="1600" b="1"/>
            </a:lvl8pPr>
            <a:lvl9pPr marL="3656127" indent="0">
              <a:buNone/>
              <a:defRPr sz="1600" b="1"/>
            </a:lvl9pPr>
          </a:lstStyle>
          <a:p>
            <a:pPr lvl="0"/>
            <a:r>
              <a:rPr lang="ru-RU"/>
              <a:t>Образец текста</a:t>
            </a:r>
          </a:p>
        </p:txBody>
      </p:sp>
      <p:sp>
        <p:nvSpPr>
          <p:cNvPr id="6" name="Объект 5"/>
          <p:cNvSpPr>
            <a:spLocks noGrp="1"/>
          </p:cNvSpPr>
          <p:nvPr>
            <p:ph sz="quarter" idx="4"/>
          </p:nvPr>
        </p:nvSpPr>
        <p:spPr>
          <a:xfrm>
            <a:off x="6172200" y="2505075"/>
            <a:ext cx="5183188" cy="3684587"/>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p>
            <a:fld id="{5EDD093D-997D-492A-A2A9-C1329F9A9824}" type="datetimeFigureOut">
              <a:rPr lang="ru-RU" smtClean="0">
                <a:solidFill>
                  <a:prstClr val="black">
                    <a:tint val="75000"/>
                  </a:prstClr>
                </a:solidFill>
              </a:rPr>
              <a:pPr/>
              <a:t>12.07.2022</a:t>
            </a:fld>
            <a:endParaRPr lang="ru-RU">
              <a:solidFill>
                <a:prstClr val="black">
                  <a:tint val="75000"/>
                </a:prstClr>
              </a:solidFill>
            </a:endParaRPr>
          </a:p>
        </p:txBody>
      </p:sp>
      <p:sp>
        <p:nvSpPr>
          <p:cNvPr id="8" name="Нижний колонтитул 7"/>
          <p:cNvSpPr>
            <a:spLocks noGrp="1"/>
          </p:cNvSpPr>
          <p:nvPr>
            <p:ph type="ftr" sz="quarter" idx="11"/>
          </p:nvPr>
        </p:nvSpPr>
        <p:spPr/>
        <p:txBody>
          <a:bodyPr/>
          <a:lstStyle/>
          <a:p>
            <a:endParaRPr lang="ru-RU">
              <a:solidFill>
                <a:prstClr val="black">
                  <a:tint val="75000"/>
                </a:prstClr>
              </a:solidFill>
            </a:endParaRPr>
          </a:p>
        </p:txBody>
      </p:sp>
      <p:sp>
        <p:nvSpPr>
          <p:cNvPr id="9" name="Номер слайда 8"/>
          <p:cNvSpPr>
            <a:spLocks noGrp="1"/>
          </p:cNvSpPr>
          <p:nvPr>
            <p:ph type="sldNum" sz="quarter" idx="12"/>
          </p:nvPr>
        </p:nvSpPr>
        <p:spPr/>
        <p:txBody>
          <a:bodyPr/>
          <a:lstStyle/>
          <a:p>
            <a:fld id="{68345350-E766-4B14-8537-AACDB5C93B8D}"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64822935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p>
            <a:fld id="{5EDD093D-997D-492A-A2A9-C1329F9A9824}" type="datetimeFigureOut">
              <a:rPr lang="ru-RU" smtClean="0">
                <a:solidFill>
                  <a:prstClr val="black">
                    <a:tint val="75000"/>
                  </a:prstClr>
                </a:solidFill>
              </a:rPr>
              <a:pPr/>
              <a:t>12.07.2022</a:t>
            </a:fld>
            <a:endParaRPr lang="ru-RU">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a:solidFill>
                <a:prstClr val="black">
                  <a:tint val="75000"/>
                </a:prstClr>
              </a:solidFill>
            </a:endParaRPr>
          </a:p>
        </p:txBody>
      </p:sp>
      <p:sp>
        <p:nvSpPr>
          <p:cNvPr id="5" name="Номер слайда 4"/>
          <p:cNvSpPr>
            <a:spLocks noGrp="1"/>
          </p:cNvSpPr>
          <p:nvPr>
            <p:ph type="sldNum" sz="quarter" idx="12"/>
          </p:nvPr>
        </p:nvSpPr>
        <p:spPr/>
        <p:txBody>
          <a:bodyPr/>
          <a:lstStyle/>
          <a:p>
            <a:fld id="{68345350-E766-4B14-8537-AACDB5C93B8D}"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77202962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5EDD093D-997D-492A-A2A9-C1329F9A9824}" type="datetimeFigureOut">
              <a:rPr lang="ru-RU" smtClean="0">
                <a:solidFill>
                  <a:prstClr val="black">
                    <a:tint val="75000"/>
                  </a:prstClr>
                </a:solidFill>
              </a:rPr>
              <a:pPr/>
              <a:t>12.07.2022</a:t>
            </a:fld>
            <a:endParaRPr lang="ru-RU">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a:solidFill>
                <a:prstClr val="black">
                  <a:tint val="75000"/>
                </a:prstClr>
              </a:solidFill>
            </a:endParaRPr>
          </a:p>
        </p:txBody>
      </p:sp>
      <p:sp>
        <p:nvSpPr>
          <p:cNvPr id="4" name="Номер слайда 3"/>
          <p:cNvSpPr>
            <a:spLocks noGrp="1"/>
          </p:cNvSpPr>
          <p:nvPr>
            <p:ph type="sldNum" sz="quarter" idx="12"/>
          </p:nvPr>
        </p:nvSpPr>
        <p:spPr/>
        <p:txBody>
          <a:bodyPr/>
          <a:lstStyle/>
          <a:p>
            <a:fld id="{68345350-E766-4B14-8537-AACDB5C93B8D}"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13100955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90" y="457202"/>
            <a:ext cx="3932237" cy="1600200"/>
          </a:xfrm>
        </p:spPr>
        <p:txBody>
          <a:bodyPr anchor="b"/>
          <a:lstStyle>
            <a:lvl1pPr>
              <a:defRPr sz="3200"/>
            </a:lvl1pPr>
          </a:lstStyle>
          <a:p>
            <a:r>
              <a:rPr lang="ru-RU"/>
              <a:t>Образец заголовка</a:t>
            </a:r>
          </a:p>
        </p:txBody>
      </p:sp>
      <p:sp>
        <p:nvSpPr>
          <p:cNvPr id="3" name="Объект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839790" y="2057400"/>
            <a:ext cx="3932237" cy="3811588"/>
          </a:xfrm>
        </p:spPr>
        <p:txBody>
          <a:bodyPr/>
          <a:lstStyle>
            <a:lvl1pPr marL="0" indent="0">
              <a:buNone/>
              <a:defRPr sz="1600"/>
            </a:lvl1pPr>
            <a:lvl2pPr marL="457016" indent="0">
              <a:buNone/>
              <a:defRPr sz="1400"/>
            </a:lvl2pPr>
            <a:lvl3pPr marL="914032" indent="0">
              <a:buNone/>
              <a:defRPr sz="1200"/>
            </a:lvl3pPr>
            <a:lvl4pPr marL="1371048" indent="0">
              <a:buNone/>
              <a:defRPr sz="1000"/>
            </a:lvl4pPr>
            <a:lvl5pPr marL="1828063" indent="0">
              <a:buNone/>
              <a:defRPr sz="1000"/>
            </a:lvl5pPr>
            <a:lvl6pPr marL="2285079" indent="0">
              <a:buNone/>
              <a:defRPr sz="1000"/>
            </a:lvl6pPr>
            <a:lvl7pPr marL="2742096" indent="0">
              <a:buNone/>
              <a:defRPr sz="1000"/>
            </a:lvl7pPr>
            <a:lvl8pPr marL="3199111" indent="0">
              <a:buNone/>
              <a:defRPr sz="1000"/>
            </a:lvl8pPr>
            <a:lvl9pPr marL="3656127" indent="0">
              <a:buNone/>
              <a:defRPr sz="1000"/>
            </a:lvl9pPr>
          </a:lstStyle>
          <a:p>
            <a:pPr lvl="0"/>
            <a:r>
              <a:rPr lang="ru-RU"/>
              <a:t>Образец текста</a:t>
            </a:r>
          </a:p>
        </p:txBody>
      </p:sp>
      <p:sp>
        <p:nvSpPr>
          <p:cNvPr id="5" name="Дата 4"/>
          <p:cNvSpPr>
            <a:spLocks noGrp="1"/>
          </p:cNvSpPr>
          <p:nvPr>
            <p:ph type="dt" sz="half" idx="10"/>
          </p:nvPr>
        </p:nvSpPr>
        <p:spPr/>
        <p:txBody>
          <a:bodyPr/>
          <a:lstStyle/>
          <a:p>
            <a:fld id="{5EDD093D-997D-492A-A2A9-C1329F9A9824}" type="datetimeFigureOut">
              <a:rPr lang="ru-RU" smtClean="0">
                <a:solidFill>
                  <a:prstClr val="black">
                    <a:tint val="75000"/>
                  </a:prstClr>
                </a:solidFill>
              </a:rPr>
              <a:pPr/>
              <a:t>12.07.2022</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68345350-E766-4B14-8537-AACDB5C93B8D}"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95844000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90" y="457202"/>
            <a:ext cx="3932237" cy="1600200"/>
          </a:xfrm>
        </p:spPr>
        <p:txBody>
          <a:bodyPr anchor="b"/>
          <a:lstStyle>
            <a:lvl1pPr>
              <a:defRPr sz="3200"/>
            </a:lvl1pPr>
          </a:lstStyle>
          <a:p>
            <a:r>
              <a:rPr lang="ru-RU"/>
              <a:t>Образец заголовка</a:t>
            </a:r>
          </a:p>
        </p:txBody>
      </p:sp>
      <p:sp>
        <p:nvSpPr>
          <p:cNvPr id="3" name="Рисунок 2"/>
          <p:cNvSpPr>
            <a:spLocks noGrp="1"/>
          </p:cNvSpPr>
          <p:nvPr>
            <p:ph type="pic" idx="1"/>
          </p:nvPr>
        </p:nvSpPr>
        <p:spPr>
          <a:xfrm>
            <a:off x="5183188" y="987427"/>
            <a:ext cx="6172200" cy="4873625"/>
          </a:xfrm>
        </p:spPr>
        <p:txBody>
          <a:bodyPr/>
          <a:lstStyle>
            <a:lvl1pPr marL="0" indent="0">
              <a:buNone/>
              <a:defRPr sz="3200"/>
            </a:lvl1pPr>
            <a:lvl2pPr marL="457016" indent="0">
              <a:buNone/>
              <a:defRPr sz="2800"/>
            </a:lvl2pPr>
            <a:lvl3pPr marL="914032" indent="0">
              <a:buNone/>
              <a:defRPr sz="2400"/>
            </a:lvl3pPr>
            <a:lvl4pPr marL="1371048" indent="0">
              <a:buNone/>
              <a:defRPr sz="2000"/>
            </a:lvl4pPr>
            <a:lvl5pPr marL="1828063" indent="0">
              <a:buNone/>
              <a:defRPr sz="2000"/>
            </a:lvl5pPr>
            <a:lvl6pPr marL="2285079" indent="0">
              <a:buNone/>
              <a:defRPr sz="2000"/>
            </a:lvl6pPr>
            <a:lvl7pPr marL="2742096" indent="0">
              <a:buNone/>
              <a:defRPr sz="2000"/>
            </a:lvl7pPr>
            <a:lvl8pPr marL="3199111" indent="0">
              <a:buNone/>
              <a:defRPr sz="2000"/>
            </a:lvl8pPr>
            <a:lvl9pPr marL="3656127" indent="0">
              <a:buNone/>
              <a:defRPr sz="2000"/>
            </a:lvl9pPr>
          </a:lstStyle>
          <a:p>
            <a:endParaRPr lang="ru-RU"/>
          </a:p>
        </p:txBody>
      </p:sp>
      <p:sp>
        <p:nvSpPr>
          <p:cNvPr id="4" name="Текст 3"/>
          <p:cNvSpPr>
            <a:spLocks noGrp="1"/>
          </p:cNvSpPr>
          <p:nvPr>
            <p:ph type="body" sz="half" idx="2"/>
          </p:nvPr>
        </p:nvSpPr>
        <p:spPr>
          <a:xfrm>
            <a:off x="839790" y="2057400"/>
            <a:ext cx="3932237" cy="3811588"/>
          </a:xfrm>
        </p:spPr>
        <p:txBody>
          <a:bodyPr/>
          <a:lstStyle>
            <a:lvl1pPr marL="0" indent="0">
              <a:buNone/>
              <a:defRPr sz="1600"/>
            </a:lvl1pPr>
            <a:lvl2pPr marL="457016" indent="0">
              <a:buNone/>
              <a:defRPr sz="1400"/>
            </a:lvl2pPr>
            <a:lvl3pPr marL="914032" indent="0">
              <a:buNone/>
              <a:defRPr sz="1200"/>
            </a:lvl3pPr>
            <a:lvl4pPr marL="1371048" indent="0">
              <a:buNone/>
              <a:defRPr sz="1000"/>
            </a:lvl4pPr>
            <a:lvl5pPr marL="1828063" indent="0">
              <a:buNone/>
              <a:defRPr sz="1000"/>
            </a:lvl5pPr>
            <a:lvl6pPr marL="2285079" indent="0">
              <a:buNone/>
              <a:defRPr sz="1000"/>
            </a:lvl6pPr>
            <a:lvl7pPr marL="2742096" indent="0">
              <a:buNone/>
              <a:defRPr sz="1000"/>
            </a:lvl7pPr>
            <a:lvl8pPr marL="3199111" indent="0">
              <a:buNone/>
              <a:defRPr sz="1000"/>
            </a:lvl8pPr>
            <a:lvl9pPr marL="3656127" indent="0">
              <a:buNone/>
              <a:defRPr sz="1000"/>
            </a:lvl9pPr>
          </a:lstStyle>
          <a:p>
            <a:pPr lvl="0"/>
            <a:r>
              <a:rPr lang="ru-RU"/>
              <a:t>Образец текста</a:t>
            </a:r>
          </a:p>
        </p:txBody>
      </p:sp>
      <p:sp>
        <p:nvSpPr>
          <p:cNvPr id="5" name="Дата 4"/>
          <p:cNvSpPr>
            <a:spLocks noGrp="1"/>
          </p:cNvSpPr>
          <p:nvPr>
            <p:ph type="dt" sz="half" idx="10"/>
          </p:nvPr>
        </p:nvSpPr>
        <p:spPr/>
        <p:txBody>
          <a:bodyPr/>
          <a:lstStyle/>
          <a:p>
            <a:fld id="{5EDD093D-997D-492A-A2A9-C1329F9A9824}" type="datetimeFigureOut">
              <a:rPr lang="ru-RU" smtClean="0">
                <a:solidFill>
                  <a:prstClr val="black">
                    <a:tint val="75000"/>
                  </a:prstClr>
                </a:solidFill>
              </a:rPr>
              <a:pPr/>
              <a:t>12.07.2022</a:t>
            </a:fld>
            <a:endParaRPr lang="ru-RU">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a:solidFill>
                <a:prstClr val="black">
                  <a:tint val="75000"/>
                </a:prstClr>
              </a:solidFill>
            </a:endParaRPr>
          </a:p>
        </p:txBody>
      </p:sp>
      <p:sp>
        <p:nvSpPr>
          <p:cNvPr id="7" name="Номер слайда 6"/>
          <p:cNvSpPr>
            <a:spLocks noGrp="1"/>
          </p:cNvSpPr>
          <p:nvPr>
            <p:ph type="sldNum" sz="quarter" idx="12"/>
          </p:nvPr>
        </p:nvSpPr>
        <p:spPr/>
        <p:txBody>
          <a:bodyPr/>
          <a:lstStyle/>
          <a:p>
            <a:fld id="{68345350-E766-4B14-8537-AACDB5C93B8D}"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32533150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Content">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B144694-7FC2-824B-ACAA-93D4B0E2FE77}"/>
              </a:ext>
            </a:extLst>
          </p:cNvPr>
          <p:cNvSpPr>
            <a:spLocks noGrp="1"/>
          </p:cNvSpPr>
          <p:nvPr>
            <p:ph type="body" sz="quarter" idx="11" hasCustomPrompt="1"/>
          </p:nvPr>
        </p:nvSpPr>
        <p:spPr>
          <a:xfrm>
            <a:off x="2339395" y="1416840"/>
            <a:ext cx="7527760" cy="906682"/>
          </a:xfrm>
          <a:prstGeom prst="rect">
            <a:avLst/>
          </a:prstGeom>
        </p:spPr>
        <p:txBody>
          <a:bodyPr/>
          <a:lstStyle>
            <a:lvl1pPr marL="0" indent="0">
              <a:buFontTx/>
              <a:buNone/>
              <a:defRPr sz="359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ist text slide</a:t>
            </a:r>
            <a:endParaRPr lang="x-none" dirty="0"/>
          </a:p>
        </p:txBody>
      </p:sp>
      <p:sp>
        <p:nvSpPr>
          <p:cNvPr id="12" name="Text Placeholder 6">
            <a:extLst>
              <a:ext uri="{FF2B5EF4-FFF2-40B4-BE49-F238E27FC236}">
                <a16:creationId xmlns:a16="http://schemas.microsoft.com/office/drawing/2014/main" id="{9E234472-3A79-734B-9127-2E39BF170448}"/>
              </a:ext>
            </a:extLst>
          </p:cNvPr>
          <p:cNvSpPr>
            <a:spLocks noGrp="1"/>
          </p:cNvSpPr>
          <p:nvPr>
            <p:ph type="body" sz="quarter" idx="10" hasCustomPrompt="1"/>
          </p:nvPr>
        </p:nvSpPr>
        <p:spPr>
          <a:xfrm>
            <a:off x="1347645" y="1421473"/>
            <a:ext cx="827561" cy="902049"/>
          </a:xfrm>
          <a:prstGeom prst="rect">
            <a:avLst/>
          </a:prstGeom>
        </p:spPr>
        <p:txBody>
          <a:bodyPr lIns="36000" rIns="36000"/>
          <a:lstStyle>
            <a:lvl1pPr marL="0" indent="0">
              <a:buFontTx/>
              <a:buNone/>
              <a:defRPr sz="3809" b="0" i="0">
                <a:solidFill>
                  <a:srgbClr val="FF0000"/>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01</a:t>
            </a:r>
            <a:endParaRPr lang="x-none" dirty="0"/>
          </a:p>
        </p:txBody>
      </p:sp>
      <p:cxnSp>
        <p:nvCxnSpPr>
          <p:cNvPr id="14" name="Straight Connector 13">
            <a:extLst>
              <a:ext uri="{FF2B5EF4-FFF2-40B4-BE49-F238E27FC236}">
                <a16:creationId xmlns:a16="http://schemas.microsoft.com/office/drawing/2014/main" id="{0F8A3B24-DB1D-D348-9CC0-41A5E0834DF9}"/>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15" name="Text Placeholder 13">
            <a:extLst>
              <a:ext uri="{FF2B5EF4-FFF2-40B4-BE49-F238E27FC236}">
                <a16:creationId xmlns:a16="http://schemas.microsoft.com/office/drawing/2014/main" id="{E4CB1BE9-50A2-7C4D-9CF7-3464B2DF4FFE}"/>
              </a:ext>
            </a:extLst>
          </p:cNvPr>
          <p:cNvSpPr>
            <a:spLocks noGrp="1"/>
          </p:cNvSpPr>
          <p:nvPr>
            <p:ph type="body" sz="quarter" idx="14" hasCustomPrompt="1"/>
          </p:nvPr>
        </p:nvSpPr>
        <p:spPr>
          <a:xfrm>
            <a:off x="295483"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22" name="Slide Number Placeholder 1">
            <a:extLst>
              <a:ext uri="{FF2B5EF4-FFF2-40B4-BE49-F238E27FC236}">
                <a16:creationId xmlns:a16="http://schemas.microsoft.com/office/drawing/2014/main" id="{5FAF87A9-D7BE-BB43-9797-C43BB67B41B6}"/>
              </a:ext>
            </a:extLst>
          </p:cNvPr>
          <p:cNvSpPr txBox="1">
            <a:spLocks/>
          </p:cNvSpPr>
          <p:nvPr userDrawn="1"/>
        </p:nvSpPr>
        <p:spPr>
          <a:xfrm>
            <a:off x="11108818" y="395811"/>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23" name="Text Placeholder 8">
            <a:extLst>
              <a:ext uri="{FF2B5EF4-FFF2-40B4-BE49-F238E27FC236}">
                <a16:creationId xmlns:a16="http://schemas.microsoft.com/office/drawing/2014/main" id="{92BE3C1B-5529-D447-AB7F-DAD05252039F}"/>
              </a:ext>
            </a:extLst>
          </p:cNvPr>
          <p:cNvSpPr>
            <a:spLocks noGrp="1"/>
          </p:cNvSpPr>
          <p:nvPr>
            <p:ph type="body" sz="quarter" idx="15" hasCustomPrompt="1"/>
          </p:nvPr>
        </p:nvSpPr>
        <p:spPr>
          <a:xfrm>
            <a:off x="2339395" y="2479143"/>
            <a:ext cx="7527760" cy="906682"/>
          </a:xfrm>
          <a:prstGeom prst="rect">
            <a:avLst/>
          </a:prstGeom>
        </p:spPr>
        <p:txBody>
          <a:bodyPr/>
          <a:lstStyle>
            <a:lvl1pPr marL="0" indent="0">
              <a:buFontTx/>
              <a:buNone/>
              <a:defRPr sz="359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ist text slide</a:t>
            </a:r>
            <a:endParaRPr lang="x-none" dirty="0"/>
          </a:p>
        </p:txBody>
      </p:sp>
      <p:sp>
        <p:nvSpPr>
          <p:cNvPr id="24" name="Text Placeholder 6">
            <a:extLst>
              <a:ext uri="{FF2B5EF4-FFF2-40B4-BE49-F238E27FC236}">
                <a16:creationId xmlns:a16="http://schemas.microsoft.com/office/drawing/2014/main" id="{C5D355C5-5EF1-264B-BB84-8EE513EF865E}"/>
              </a:ext>
            </a:extLst>
          </p:cNvPr>
          <p:cNvSpPr>
            <a:spLocks noGrp="1"/>
          </p:cNvSpPr>
          <p:nvPr>
            <p:ph type="body" sz="quarter" idx="16" hasCustomPrompt="1"/>
          </p:nvPr>
        </p:nvSpPr>
        <p:spPr>
          <a:xfrm>
            <a:off x="1347645" y="2483776"/>
            <a:ext cx="827561" cy="902049"/>
          </a:xfrm>
          <a:prstGeom prst="rect">
            <a:avLst/>
          </a:prstGeom>
        </p:spPr>
        <p:txBody>
          <a:bodyPr lIns="36000" rIns="36000"/>
          <a:lstStyle>
            <a:lvl1pPr marL="0" indent="0">
              <a:buFontTx/>
              <a:buNone/>
              <a:defRPr sz="3809" b="0" i="0">
                <a:solidFill>
                  <a:srgbClr val="FF0000"/>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02</a:t>
            </a:r>
            <a:endParaRPr lang="x-none" dirty="0"/>
          </a:p>
        </p:txBody>
      </p:sp>
      <p:sp>
        <p:nvSpPr>
          <p:cNvPr id="25" name="Text Placeholder 8">
            <a:extLst>
              <a:ext uri="{FF2B5EF4-FFF2-40B4-BE49-F238E27FC236}">
                <a16:creationId xmlns:a16="http://schemas.microsoft.com/office/drawing/2014/main" id="{3E908FB7-7107-9144-9347-A345944ECA48}"/>
              </a:ext>
            </a:extLst>
          </p:cNvPr>
          <p:cNvSpPr>
            <a:spLocks noGrp="1"/>
          </p:cNvSpPr>
          <p:nvPr>
            <p:ph type="body" sz="quarter" idx="17" hasCustomPrompt="1"/>
          </p:nvPr>
        </p:nvSpPr>
        <p:spPr>
          <a:xfrm>
            <a:off x="2339395" y="3512342"/>
            <a:ext cx="7527760" cy="906682"/>
          </a:xfrm>
          <a:prstGeom prst="rect">
            <a:avLst/>
          </a:prstGeom>
        </p:spPr>
        <p:txBody>
          <a:bodyPr/>
          <a:lstStyle>
            <a:lvl1pPr marL="0" indent="0">
              <a:buFontTx/>
              <a:buNone/>
              <a:defRPr sz="359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ist text slide</a:t>
            </a:r>
            <a:endParaRPr lang="x-none" dirty="0"/>
          </a:p>
        </p:txBody>
      </p:sp>
      <p:sp>
        <p:nvSpPr>
          <p:cNvPr id="26" name="Text Placeholder 6">
            <a:extLst>
              <a:ext uri="{FF2B5EF4-FFF2-40B4-BE49-F238E27FC236}">
                <a16:creationId xmlns:a16="http://schemas.microsoft.com/office/drawing/2014/main" id="{C22DB187-9EE2-FA49-9AB7-1C9430B1C1E5}"/>
              </a:ext>
            </a:extLst>
          </p:cNvPr>
          <p:cNvSpPr>
            <a:spLocks noGrp="1"/>
          </p:cNvSpPr>
          <p:nvPr>
            <p:ph type="body" sz="quarter" idx="18" hasCustomPrompt="1"/>
          </p:nvPr>
        </p:nvSpPr>
        <p:spPr>
          <a:xfrm>
            <a:off x="1347645" y="3516975"/>
            <a:ext cx="827561" cy="902049"/>
          </a:xfrm>
          <a:prstGeom prst="rect">
            <a:avLst/>
          </a:prstGeom>
        </p:spPr>
        <p:txBody>
          <a:bodyPr lIns="36000" rIns="36000"/>
          <a:lstStyle>
            <a:lvl1pPr marL="0" indent="0">
              <a:buFontTx/>
              <a:buNone/>
              <a:defRPr sz="3809" b="0" i="0">
                <a:solidFill>
                  <a:srgbClr val="FF0000"/>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03</a:t>
            </a:r>
            <a:endParaRPr lang="x-none" dirty="0"/>
          </a:p>
        </p:txBody>
      </p:sp>
      <p:sp>
        <p:nvSpPr>
          <p:cNvPr id="27" name="Text Placeholder 8">
            <a:extLst>
              <a:ext uri="{FF2B5EF4-FFF2-40B4-BE49-F238E27FC236}">
                <a16:creationId xmlns:a16="http://schemas.microsoft.com/office/drawing/2014/main" id="{668AFE12-336C-8147-938D-A97B4AFA6992}"/>
              </a:ext>
            </a:extLst>
          </p:cNvPr>
          <p:cNvSpPr>
            <a:spLocks noGrp="1"/>
          </p:cNvSpPr>
          <p:nvPr>
            <p:ph type="body" sz="quarter" idx="19" hasCustomPrompt="1"/>
          </p:nvPr>
        </p:nvSpPr>
        <p:spPr>
          <a:xfrm>
            <a:off x="2339395" y="4538263"/>
            <a:ext cx="7527760" cy="906682"/>
          </a:xfrm>
          <a:prstGeom prst="rect">
            <a:avLst/>
          </a:prstGeom>
        </p:spPr>
        <p:txBody>
          <a:bodyPr/>
          <a:lstStyle>
            <a:lvl1pPr marL="0" indent="0">
              <a:buFontTx/>
              <a:buNone/>
              <a:defRPr sz="359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ist text slide</a:t>
            </a:r>
            <a:endParaRPr lang="x-none" dirty="0"/>
          </a:p>
        </p:txBody>
      </p:sp>
      <p:sp>
        <p:nvSpPr>
          <p:cNvPr id="28" name="Text Placeholder 6">
            <a:extLst>
              <a:ext uri="{FF2B5EF4-FFF2-40B4-BE49-F238E27FC236}">
                <a16:creationId xmlns:a16="http://schemas.microsoft.com/office/drawing/2014/main" id="{780448E5-AEF3-5C44-9DA9-9E7E00671044}"/>
              </a:ext>
            </a:extLst>
          </p:cNvPr>
          <p:cNvSpPr>
            <a:spLocks noGrp="1"/>
          </p:cNvSpPr>
          <p:nvPr>
            <p:ph type="body" sz="quarter" idx="20" hasCustomPrompt="1"/>
          </p:nvPr>
        </p:nvSpPr>
        <p:spPr>
          <a:xfrm>
            <a:off x="1347645" y="4542897"/>
            <a:ext cx="827561" cy="902049"/>
          </a:xfrm>
          <a:prstGeom prst="rect">
            <a:avLst/>
          </a:prstGeom>
        </p:spPr>
        <p:txBody>
          <a:bodyPr lIns="36000" rIns="36000"/>
          <a:lstStyle>
            <a:lvl1pPr marL="0" indent="0">
              <a:buFontTx/>
              <a:buNone/>
              <a:defRPr sz="3809" b="0" i="0">
                <a:solidFill>
                  <a:srgbClr val="FF0000"/>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04</a:t>
            </a:r>
            <a:endParaRPr lang="x-none" dirty="0"/>
          </a:p>
        </p:txBody>
      </p:sp>
      <p:sp>
        <p:nvSpPr>
          <p:cNvPr id="30" name="Text Placeholder 13">
            <a:extLst>
              <a:ext uri="{FF2B5EF4-FFF2-40B4-BE49-F238E27FC236}">
                <a16:creationId xmlns:a16="http://schemas.microsoft.com/office/drawing/2014/main" id="{05E0B9DD-EF5B-2140-9D97-C7B87DE0EE63}"/>
              </a:ext>
            </a:extLst>
          </p:cNvPr>
          <p:cNvSpPr>
            <a:spLocks noGrp="1"/>
          </p:cNvSpPr>
          <p:nvPr>
            <p:ph type="body" sz="quarter" idx="25" hasCustomPrompt="1"/>
          </p:nvPr>
        </p:nvSpPr>
        <p:spPr>
          <a:xfrm>
            <a:off x="10020017" y="6319800"/>
            <a:ext cx="1790667" cy="374160"/>
          </a:xfrm>
          <a:prstGeom prst="rect">
            <a:avLst/>
          </a:prstGeom>
        </p:spPr>
        <p:txBody>
          <a:bodyPr/>
          <a:lstStyle>
            <a:lvl1pPr marL="0" indent="0" algn="r">
              <a:buFontTx/>
              <a:buNone/>
              <a:defRPr sz="846"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spTree>
    <p:extLst>
      <p:ext uri="{BB962C8B-B14F-4D97-AF65-F5344CB8AC3E}">
        <p14:creationId xmlns:p14="http://schemas.microsoft.com/office/powerpoint/2010/main" val="3807790293"/>
      </p:ext>
    </p:extLst>
  </p:cSld>
  <p:clrMapOvr>
    <a:masterClrMapping/>
  </p:clrMapOvr>
  <p:transition>
    <p:fade/>
  </p:transition>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5EDD093D-997D-492A-A2A9-C1329F9A9824}" type="datetimeFigureOut">
              <a:rPr lang="ru-RU" smtClean="0">
                <a:solidFill>
                  <a:prstClr val="black">
                    <a:tint val="75000"/>
                  </a:prstClr>
                </a:solidFill>
              </a:rPr>
              <a:pPr/>
              <a:t>12.07.2022</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68345350-E766-4B14-8537-AACDB5C93B8D}"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66187023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5EDD093D-997D-492A-A2A9-C1329F9A9824}" type="datetimeFigureOut">
              <a:rPr lang="ru-RU" smtClean="0">
                <a:solidFill>
                  <a:prstClr val="black">
                    <a:tint val="75000"/>
                  </a:prstClr>
                </a:solidFill>
              </a:rPr>
              <a:pPr/>
              <a:t>12.07.2022</a:t>
            </a:fld>
            <a:endParaRPr lang="ru-RU">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a:solidFill>
                <a:prstClr val="black">
                  <a:tint val="75000"/>
                </a:prstClr>
              </a:solidFill>
            </a:endParaRPr>
          </a:p>
        </p:txBody>
      </p:sp>
      <p:sp>
        <p:nvSpPr>
          <p:cNvPr id="6" name="Номер слайда 5"/>
          <p:cNvSpPr>
            <a:spLocks noGrp="1"/>
          </p:cNvSpPr>
          <p:nvPr>
            <p:ph type="sldNum" sz="quarter" idx="12"/>
          </p:nvPr>
        </p:nvSpPr>
        <p:spPr/>
        <p:txBody>
          <a:bodyPr/>
          <a:lstStyle/>
          <a:p>
            <a:fld id="{68345350-E766-4B14-8537-AACDB5C93B8D}"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25021570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Пустой слайд">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56949" y="71448"/>
            <a:ext cx="9714740" cy="369332"/>
          </a:xfrm>
          <a:prstGeom prst="rect">
            <a:avLst/>
          </a:prstGeom>
        </p:spPr>
        <p:txBody>
          <a:bodyPr/>
          <a:lstStyle/>
          <a:p>
            <a:r>
              <a:rPr lang="ru-RU"/>
              <a:t>Образец заголовка</a:t>
            </a:r>
          </a:p>
        </p:txBody>
      </p:sp>
      <p:sp>
        <p:nvSpPr>
          <p:cNvPr id="3" name="Номер слайда 2"/>
          <p:cNvSpPr>
            <a:spLocks noGrp="1"/>
          </p:cNvSpPr>
          <p:nvPr>
            <p:ph type="sldNum" sz="quarter" idx="10"/>
          </p:nvPr>
        </p:nvSpPr>
        <p:spPr>
          <a:xfrm>
            <a:off x="11714751" y="6532422"/>
            <a:ext cx="477252" cy="160255"/>
          </a:xfrm>
        </p:spPr>
        <p:txBody>
          <a:bodyPr/>
          <a:lstStyle/>
          <a:p>
            <a:fld id="{1E5EB7E5-F709-4EF6-8A34-B7FBD607401D}"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095552504"/>
      </p:ext>
    </p:extLst>
  </p:cSld>
  <p:clrMapOvr>
    <a:masterClrMapping/>
  </p:clrMapOvr>
  <p:extLst>
    <p:ext uri="{DCECCB84-F9BA-43D5-87BE-67443E8EF086}">
      <p15:sldGuideLst xmlns:p15="http://schemas.microsoft.com/office/powerpoint/2012/main">
        <p15:guide id="1" orient="horz" pos="73">
          <p15:clr>
            <a:srgbClr val="FBAE40"/>
          </p15:clr>
        </p15:guide>
        <p15:guide id="2" pos="75">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19 Сопровождающий текст">
    <p:bg>
      <p:bgPr>
        <a:solidFill>
          <a:srgbClr val="FFFFFF"/>
        </a:solidFill>
        <a:effectLst/>
      </p:bgPr>
    </p:bg>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EB572FF-CA06-4849-8D94-3C3994A45B70}"/>
              </a:ext>
            </a:extLst>
          </p:cNvPr>
          <p:cNvSpPr>
            <a:spLocks noGrp="1"/>
          </p:cNvSpPr>
          <p:nvPr>
            <p:ph type="body" sz="quarter" idx="11" hasCustomPrompt="1"/>
          </p:nvPr>
        </p:nvSpPr>
        <p:spPr>
          <a:xfrm>
            <a:off x="381316" y="1278514"/>
            <a:ext cx="11429370" cy="1029869"/>
          </a:xfrm>
          <a:prstGeom prst="rect">
            <a:avLst/>
          </a:prstGeom>
        </p:spPr>
        <p:txBody>
          <a:bodyPr/>
          <a:lstStyle>
            <a:lvl1pPr marL="0" indent="0">
              <a:buFontTx/>
              <a:buNone/>
              <a:defRPr sz="2963"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Заголовок слайда</a:t>
            </a:r>
            <a:endParaRPr lang="x-none" dirty="0"/>
          </a:p>
        </p:txBody>
      </p:sp>
      <p:sp>
        <p:nvSpPr>
          <p:cNvPr id="8" name="Text Placeholder 8">
            <a:extLst>
              <a:ext uri="{FF2B5EF4-FFF2-40B4-BE49-F238E27FC236}">
                <a16:creationId xmlns:a16="http://schemas.microsoft.com/office/drawing/2014/main" id="{252C4B7C-9670-DF42-BC56-B170DECD75DC}"/>
              </a:ext>
            </a:extLst>
          </p:cNvPr>
          <p:cNvSpPr>
            <a:spLocks noGrp="1"/>
          </p:cNvSpPr>
          <p:nvPr>
            <p:ph type="body" sz="quarter" idx="27" hasCustomPrompt="1"/>
          </p:nvPr>
        </p:nvSpPr>
        <p:spPr>
          <a:xfrm>
            <a:off x="388590" y="2477729"/>
            <a:ext cx="11429370" cy="3842056"/>
          </a:xfrm>
          <a:prstGeom prst="rect">
            <a:avLst/>
          </a:prstGeom>
        </p:spPr>
        <p:txBody>
          <a:bodyPr/>
          <a:lstStyle>
            <a:lvl1pPr marL="0" indent="0">
              <a:buFontTx/>
              <a:buNone/>
              <a:defRPr sz="1376"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Текст слайда</a:t>
            </a:r>
            <a:endParaRPr lang="x-none" dirty="0"/>
          </a:p>
        </p:txBody>
      </p:sp>
      <p:cxnSp>
        <p:nvCxnSpPr>
          <p:cNvPr id="10" name="Straight Connector 9">
            <a:extLst>
              <a:ext uri="{FF2B5EF4-FFF2-40B4-BE49-F238E27FC236}">
                <a16:creationId xmlns:a16="http://schemas.microsoft.com/office/drawing/2014/main" id="{E508586F-874B-374D-83C3-AE2D248221F4}"/>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11" name="Text Placeholder 13">
            <a:extLst>
              <a:ext uri="{FF2B5EF4-FFF2-40B4-BE49-F238E27FC236}">
                <a16:creationId xmlns:a16="http://schemas.microsoft.com/office/drawing/2014/main" id="{598649D2-E782-5D48-8FCD-B39D7C72EF41}"/>
              </a:ext>
            </a:extLst>
          </p:cNvPr>
          <p:cNvSpPr>
            <a:spLocks noGrp="1"/>
          </p:cNvSpPr>
          <p:nvPr>
            <p:ph type="body" sz="quarter" idx="14" hasCustomPrompt="1"/>
          </p:nvPr>
        </p:nvSpPr>
        <p:spPr>
          <a:xfrm>
            <a:off x="295484"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Заголовок раздела</a:t>
            </a:r>
          </a:p>
        </p:txBody>
      </p:sp>
      <p:sp>
        <p:nvSpPr>
          <p:cNvPr id="13" name="Slide Number Placeholder 1">
            <a:extLst>
              <a:ext uri="{FF2B5EF4-FFF2-40B4-BE49-F238E27FC236}">
                <a16:creationId xmlns:a16="http://schemas.microsoft.com/office/drawing/2014/main" id="{9C321D37-B46B-774E-8AD4-106329636C69}"/>
              </a:ext>
            </a:extLst>
          </p:cNvPr>
          <p:cNvSpPr txBox="1">
            <a:spLocks/>
          </p:cNvSpPr>
          <p:nvPr userDrawn="1"/>
        </p:nvSpPr>
        <p:spPr>
          <a:xfrm>
            <a:off x="11108818" y="395812"/>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13">
            <a:extLst>
              <a:ext uri="{FF2B5EF4-FFF2-40B4-BE49-F238E27FC236}">
                <a16:creationId xmlns:a16="http://schemas.microsoft.com/office/drawing/2014/main" id="{875E4949-D1C2-3648-90A7-64A1873880BB}"/>
              </a:ext>
            </a:extLst>
          </p:cNvPr>
          <p:cNvSpPr>
            <a:spLocks noGrp="1"/>
          </p:cNvSpPr>
          <p:nvPr>
            <p:ph type="body" sz="quarter" idx="25" hasCustomPrompt="1"/>
          </p:nvPr>
        </p:nvSpPr>
        <p:spPr>
          <a:xfrm>
            <a:off x="10020017" y="6319801"/>
            <a:ext cx="1790667" cy="374160"/>
          </a:xfrm>
          <a:prstGeom prst="rect">
            <a:avLst/>
          </a:prstGeom>
        </p:spPr>
        <p:txBody>
          <a:bodyPr/>
          <a:lstStyle>
            <a:lvl1pPr marL="0" indent="0" algn="r">
              <a:buFontTx/>
              <a:buNone/>
              <a:defRPr sz="845"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Название презентации</a:t>
            </a:r>
            <a:endParaRPr lang="x-none" dirty="0"/>
          </a:p>
        </p:txBody>
      </p:sp>
    </p:spTree>
    <p:extLst>
      <p:ext uri="{BB962C8B-B14F-4D97-AF65-F5344CB8AC3E}">
        <p14:creationId xmlns:p14="http://schemas.microsoft.com/office/powerpoint/2010/main" val="1911523995"/>
      </p:ext>
    </p:extLst>
  </p:cSld>
  <p:clrMapOvr>
    <a:masterClrMapping/>
  </p:clrMapOvr>
  <p:transition>
    <p:fade/>
  </p:transition>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p:bg>
      <p:bgPr>
        <a:solidFill>
          <a:srgbClr val="FFFFFF"/>
        </a:solidFill>
        <a:effectLst/>
      </p:bgPr>
    </p:bg>
    <p:spTree>
      <p:nvGrpSpPr>
        <p:cNvPr id="1" name=""/>
        <p:cNvGrpSpPr/>
        <p:nvPr/>
      </p:nvGrpSpPr>
      <p:grpSpPr>
        <a:xfrm>
          <a:off x="0" y="0"/>
          <a:ext cx="0" cy="0"/>
          <a:chOff x="0" y="0"/>
          <a:chExt cx="0" cy="0"/>
        </a:xfrm>
      </p:grpSpPr>
      <p:sp>
        <p:nvSpPr>
          <p:cNvPr id="23" name="Title 1"/>
          <p:cNvSpPr>
            <a:spLocks noGrp="1"/>
          </p:cNvSpPr>
          <p:nvPr>
            <p:ph type="ctrTitle" hasCustomPrompt="1"/>
          </p:nvPr>
        </p:nvSpPr>
        <p:spPr>
          <a:xfrm>
            <a:off x="3124431" y="1028736"/>
            <a:ext cx="8686255" cy="2476276"/>
          </a:xfrm>
          <a:prstGeom prst="rect">
            <a:avLst/>
          </a:prstGeom>
          <a:noFill/>
        </p:spPr>
        <p:txBody>
          <a:bodyPr lIns="180000" tIns="180000" rIns="864000" bIns="36000" anchor="b" anchorCtr="0">
            <a:noAutofit/>
          </a:bodyPr>
          <a:lstStyle>
            <a:lvl1pPr algn="l">
              <a:lnSpc>
                <a:spcPct val="100000"/>
              </a:lnSpc>
              <a:defRPr sz="5818" b="0" i="0" cap="none" spc="212" baseline="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Title slide header</a:t>
            </a:r>
            <a:r>
              <a:rPr lang="mr-IN" dirty="0"/>
              <a:t>…</a:t>
            </a:r>
            <a:endParaRPr lang="en-US" dirty="0"/>
          </a:p>
        </p:txBody>
      </p:sp>
      <p:sp>
        <p:nvSpPr>
          <p:cNvPr id="11" name="Text Placeholder 10">
            <a:extLst>
              <a:ext uri="{FF2B5EF4-FFF2-40B4-BE49-F238E27FC236}">
                <a16:creationId xmlns:a16="http://schemas.microsoft.com/office/drawing/2014/main" id="{49BCE9F6-2934-314B-BF78-430EC028CA66}"/>
              </a:ext>
            </a:extLst>
          </p:cNvPr>
          <p:cNvSpPr>
            <a:spLocks noGrp="1"/>
          </p:cNvSpPr>
          <p:nvPr>
            <p:ph type="body" sz="quarter" idx="10" hasCustomPrompt="1"/>
          </p:nvPr>
        </p:nvSpPr>
        <p:spPr>
          <a:xfrm>
            <a:off x="7925887" y="5668806"/>
            <a:ext cx="4837829" cy="888610"/>
          </a:xfrm>
          <a:prstGeom prst="rect">
            <a:avLst/>
          </a:prstGeom>
        </p:spPr>
        <p:txBody>
          <a:bodyPr lIns="180000" rIns="864000" anchor="b"/>
          <a:lstStyle>
            <a:lvl1pPr marL="0" indent="0">
              <a:buFontTx/>
              <a:buNone/>
              <a:defRPr sz="1376" b="0" i="0">
                <a:solidFill>
                  <a:srgbClr val="E41910"/>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Subtitle</a:t>
            </a:r>
            <a:endParaRPr lang="x-none" dirty="0"/>
          </a:p>
        </p:txBody>
      </p:sp>
      <p:sp>
        <p:nvSpPr>
          <p:cNvPr id="15" name="Text Placeholder 10">
            <a:extLst>
              <a:ext uri="{FF2B5EF4-FFF2-40B4-BE49-F238E27FC236}">
                <a16:creationId xmlns:a16="http://schemas.microsoft.com/office/drawing/2014/main" id="{7E236611-2C19-7C49-A7D4-5478F7BB8173}"/>
              </a:ext>
            </a:extLst>
          </p:cNvPr>
          <p:cNvSpPr>
            <a:spLocks noGrp="1"/>
          </p:cNvSpPr>
          <p:nvPr>
            <p:ph type="body" sz="quarter" idx="11" hasCustomPrompt="1"/>
          </p:nvPr>
        </p:nvSpPr>
        <p:spPr>
          <a:xfrm>
            <a:off x="3088055" y="5661530"/>
            <a:ext cx="3884802" cy="888610"/>
          </a:xfrm>
          <a:prstGeom prst="rect">
            <a:avLst/>
          </a:prstGeom>
        </p:spPr>
        <p:txBody>
          <a:bodyPr lIns="180000" rIns="864000" anchor="b"/>
          <a:lstStyle>
            <a:lvl1pPr marL="0" indent="0">
              <a:buFontTx/>
              <a:buNone/>
              <a:defRPr sz="1376"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Докладчик</a:t>
            </a:r>
            <a:br>
              <a:rPr lang="ru-RU" dirty="0"/>
            </a:br>
            <a:r>
              <a:rPr lang="ru-RU" dirty="0"/>
              <a:t>Фамилия Имя Отчество</a:t>
            </a:r>
            <a:endParaRPr lang="x-none" dirty="0"/>
          </a:p>
        </p:txBody>
      </p:sp>
      <p:sp>
        <p:nvSpPr>
          <p:cNvPr id="16" name="Text Placeholder 10">
            <a:extLst>
              <a:ext uri="{FF2B5EF4-FFF2-40B4-BE49-F238E27FC236}">
                <a16:creationId xmlns:a16="http://schemas.microsoft.com/office/drawing/2014/main" id="{935039F0-13FC-3745-B58A-56E53B716FB6}"/>
              </a:ext>
            </a:extLst>
          </p:cNvPr>
          <p:cNvSpPr>
            <a:spLocks noGrp="1"/>
          </p:cNvSpPr>
          <p:nvPr>
            <p:ph type="body" sz="quarter" idx="12" hasCustomPrompt="1"/>
          </p:nvPr>
        </p:nvSpPr>
        <p:spPr>
          <a:xfrm>
            <a:off x="3073509" y="3475910"/>
            <a:ext cx="6515827" cy="1028831"/>
          </a:xfrm>
          <a:prstGeom prst="rect">
            <a:avLst/>
          </a:prstGeom>
        </p:spPr>
        <p:txBody>
          <a:bodyPr lIns="180000" rIns="864000" anchor="b"/>
          <a:lstStyle>
            <a:lvl1pPr marL="0" indent="0">
              <a:buFontTx/>
              <a:buNone/>
              <a:defRPr sz="253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orem ipsum dolor sit </a:t>
            </a:r>
            <a:r>
              <a:rPr lang="en-US" dirty="0" err="1"/>
              <a:t>amet</a:t>
            </a:r>
            <a:endParaRPr lang="x-none" dirty="0"/>
          </a:p>
        </p:txBody>
      </p:sp>
      <p:grpSp>
        <p:nvGrpSpPr>
          <p:cNvPr id="8" name="Graphic 2">
            <a:extLst>
              <a:ext uri="{FF2B5EF4-FFF2-40B4-BE49-F238E27FC236}">
                <a16:creationId xmlns:a16="http://schemas.microsoft.com/office/drawing/2014/main" id="{D6D8F973-D1EF-5E4E-BB8B-634825B411FA}"/>
              </a:ext>
            </a:extLst>
          </p:cNvPr>
          <p:cNvGrpSpPr/>
          <p:nvPr userDrawn="1"/>
        </p:nvGrpSpPr>
        <p:grpSpPr>
          <a:xfrm>
            <a:off x="1341054" y="2462731"/>
            <a:ext cx="838222" cy="890667"/>
            <a:chOff x="4522787" y="1925637"/>
            <a:chExt cx="2472690" cy="2627001"/>
          </a:xfrm>
        </p:grpSpPr>
        <p:sp>
          <p:nvSpPr>
            <p:cNvPr id="10" name="Freeform 9">
              <a:extLst>
                <a:ext uri="{FF2B5EF4-FFF2-40B4-BE49-F238E27FC236}">
                  <a16:creationId xmlns:a16="http://schemas.microsoft.com/office/drawing/2014/main" id="{EB7C66DE-BB92-9B43-80E1-81CAC5A6BA7D}"/>
                </a:ext>
              </a:extLst>
            </p:cNvPr>
            <p:cNvSpPr/>
            <p:nvPr/>
          </p:nvSpPr>
          <p:spPr>
            <a:xfrm>
              <a:off x="4522787" y="1925637"/>
              <a:ext cx="2472690" cy="1641876"/>
            </a:xfrm>
            <a:custGeom>
              <a:avLst/>
              <a:gdLst>
                <a:gd name="connsiteX0" fmla="*/ 700088 w 2472690"/>
                <a:gd name="connsiteY0" fmla="*/ 820938 h 1641876"/>
                <a:gd name="connsiteX1" fmla="*/ 1235393 w 2472690"/>
                <a:gd name="connsiteY1" fmla="*/ 287566 h 1641876"/>
                <a:gd name="connsiteX2" fmla="*/ 1497330 w 2472690"/>
                <a:gd name="connsiteY2" fmla="*/ 355898 h 1641876"/>
                <a:gd name="connsiteX3" fmla="*/ 1497330 w 2472690"/>
                <a:gd name="connsiteY3" fmla="*/ 0 h 1641876"/>
                <a:gd name="connsiteX4" fmla="*/ 0 w 2472690"/>
                <a:gd name="connsiteY4" fmla="*/ 647260 h 1641876"/>
                <a:gd name="connsiteX5" fmla="*/ 0 w 2472690"/>
                <a:gd name="connsiteY5" fmla="*/ 1641876 h 1641876"/>
                <a:gd name="connsiteX6" fmla="*/ 914400 w 2472690"/>
                <a:gd name="connsiteY6" fmla="*/ 1247067 h 1641876"/>
                <a:gd name="connsiteX7" fmla="*/ 700088 w 2472690"/>
                <a:gd name="connsiteY7" fmla="*/ 820938 h 1641876"/>
                <a:gd name="connsiteX8" fmla="*/ 1558290 w 2472690"/>
                <a:gd name="connsiteY8" fmla="*/ 394810 h 1641876"/>
                <a:gd name="connsiteX9" fmla="*/ 1771650 w 2472690"/>
                <a:gd name="connsiteY9" fmla="*/ 820938 h 1641876"/>
                <a:gd name="connsiteX10" fmla="*/ 1236345 w 2472690"/>
                <a:gd name="connsiteY10" fmla="*/ 1354311 h 1641876"/>
                <a:gd name="connsiteX11" fmla="*/ 974408 w 2472690"/>
                <a:gd name="connsiteY11" fmla="*/ 1285978 h 1641876"/>
                <a:gd name="connsiteX12" fmla="*/ 974408 w 2472690"/>
                <a:gd name="connsiteY12" fmla="*/ 1641876 h 1641876"/>
                <a:gd name="connsiteX13" fmla="*/ 2472690 w 2472690"/>
                <a:gd name="connsiteY13" fmla="*/ 994616 h 1641876"/>
                <a:gd name="connsiteX14" fmla="*/ 2472690 w 2472690"/>
                <a:gd name="connsiteY14" fmla="*/ 0 h 1641876"/>
                <a:gd name="connsiteX15" fmla="*/ 1558290 w 2472690"/>
                <a:gd name="connsiteY15" fmla="*/ 394810 h 164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72690" h="1641876">
                  <a:moveTo>
                    <a:pt x="700088" y="820938"/>
                  </a:moveTo>
                  <a:cubicBezTo>
                    <a:pt x="700088" y="525780"/>
                    <a:pt x="940118" y="287566"/>
                    <a:pt x="1235393" y="287566"/>
                  </a:cubicBezTo>
                  <a:cubicBezTo>
                    <a:pt x="1330643" y="287566"/>
                    <a:pt x="1420178" y="312241"/>
                    <a:pt x="1497330" y="355898"/>
                  </a:cubicBezTo>
                  <a:lnTo>
                    <a:pt x="1497330" y="0"/>
                  </a:lnTo>
                  <a:lnTo>
                    <a:pt x="0" y="647260"/>
                  </a:lnTo>
                  <a:lnTo>
                    <a:pt x="0" y="1641876"/>
                  </a:lnTo>
                  <a:lnTo>
                    <a:pt x="914400" y="1247067"/>
                  </a:lnTo>
                  <a:cubicBezTo>
                    <a:pt x="784860" y="1150262"/>
                    <a:pt x="700088" y="995565"/>
                    <a:pt x="700088" y="820938"/>
                  </a:cubicBezTo>
                  <a:close/>
                  <a:moveTo>
                    <a:pt x="1558290" y="394810"/>
                  </a:moveTo>
                  <a:cubicBezTo>
                    <a:pt x="1687830" y="491614"/>
                    <a:pt x="1771650" y="647260"/>
                    <a:pt x="1771650" y="820938"/>
                  </a:cubicBezTo>
                  <a:cubicBezTo>
                    <a:pt x="1771650" y="1116096"/>
                    <a:pt x="1531620" y="1354311"/>
                    <a:pt x="1236345" y="1354311"/>
                  </a:cubicBezTo>
                  <a:cubicBezTo>
                    <a:pt x="1141095" y="1354311"/>
                    <a:pt x="1051560" y="1329635"/>
                    <a:pt x="974408" y="1285978"/>
                  </a:cubicBezTo>
                  <a:lnTo>
                    <a:pt x="974408" y="1641876"/>
                  </a:lnTo>
                  <a:lnTo>
                    <a:pt x="2472690" y="994616"/>
                  </a:lnTo>
                  <a:lnTo>
                    <a:pt x="2472690" y="0"/>
                  </a:lnTo>
                  <a:lnTo>
                    <a:pt x="1558290" y="394810"/>
                  </a:lnTo>
                  <a:close/>
                </a:path>
              </a:pathLst>
            </a:custGeom>
            <a:solidFill>
              <a:srgbClr val="7F8183"/>
            </a:solidFill>
            <a:ln w="9525" cap="flat">
              <a:noFill/>
              <a:prstDash val="solid"/>
              <a:miter/>
            </a:ln>
          </p:spPr>
          <p:txBody>
            <a:bodyPr rtlCol="0" anchor="ctr"/>
            <a:lstStyle/>
            <a:p>
              <a:endParaRPr lang="x-none" sz="1905"/>
            </a:p>
          </p:txBody>
        </p:sp>
        <p:sp>
          <p:nvSpPr>
            <p:cNvPr id="12" name="Freeform 11">
              <a:extLst>
                <a:ext uri="{FF2B5EF4-FFF2-40B4-BE49-F238E27FC236}">
                  <a16:creationId xmlns:a16="http://schemas.microsoft.com/office/drawing/2014/main" id="{50F69C82-6455-834F-8DC3-B7DD6441B7A8}"/>
                </a:ext>
              </a:extLst>
            </p:cNvPr>
            <p:cNvSpPr/>
            <p:nvPr/>
          </p:nvSpPr>
          <p:spPr>
            <a:xfrm>
              <a:off x="5470524" y="2459009"/>
              <a:ext cx="577215" cy="575131"/>
            </a:xfrm>
            <a:custGeom>
              <a:avLst/>
              <a:gdLst>
                <a:gd name="connsiteX0" fmla="*/ 577215 w 577215"/>
                <a:gd name="connsiteY0" fmla="*/ 287566 h 575131"/>
                <a:gd name="connsiteX1" fmla="*/ 288608 w 577215"/>
                <a:gd name="connsiteY1" fmla="*/ 575131 h 575131"/>
                <a:gd name="connsiteX2" fmla="*/ 0 w 577215"/>
                <a:gd name="connsiteY2" fmla="*/ 287566 h 575131"/>
                <a:gd name="connsiteX3" fmla="*/ 288608 w 577215"/>
                <a:gd name="connsiteY3" fmla="*/ 0 h 575131"/>
                <a:gd name="connsiteX4" fmla="*/ 577215 w 577215"/>
                <a:gd name="connsiteY4" fmla="*/ 287566 h 57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15" h="575131">
                  <a:moveTo>
                    <a:pt x="577215" y="287566"/>
                  </a:moveTo>
                  <a:cubicBezTo>
                    <a:pt x="577215" y="446059"/>
                    <a:pt x="447675" y="575131"/>
                    <a:pt x="288608" y="575131"/>
                  </a:cubicBezTo>
                  <a:cubicBezTo>
                    <a:pt x="129540" y="575131"/>
                    <a:pt x="0" y="446059"/>
                    <a:pt x="0" y="287566"/>
                  </a:cubicBezTo>
                  <a:cubicBezTo>
                    <a:pt x="0" y="129072"/>
                    <a:pt x="129540" y="0"/>
                    <a:pt x="288608" y="0"/>
                  </a:cubicBezTo>
                  <a:cubicBezTo>
                    <a:pt x="447675" y="0"/>
                    <a:pt x="577215" y="129072"/>
                    <a:pt x="577215" y="287566"/>
                  </a:cubicBezTo>
                  <a:close/>
                </a:path>
              </a:pathLst>
            </a:custGeom>
            <a:solidFill>
              <a:srgbClr val="E72B2B"/>
            </a:solidFill>
            <a:ln w="9525" cap="flat">
              <a:noFill/>
              <a:prstDash val="solid"/>
              <a:miter/>
            </a:ln>
          </p:spPr>
          <p:txBody>
            <a:bodyPr rtlCol="0" anchor="ctr"/>
            <a:lstStyle/>
            <a:p>
              <a:endParaRPr lang="x-none" sz="1905"/>
            </a:p>
          </p:txBody>
        </p:sp>
        <p:sp>
          <p:nvSpPr>
            <p:cNvPr id="13" name="Freeform 12">
              <a:extLst>
                <a:ext uri="{FF2B5EF4-FFF2-40B4-BE49-F238E27FC236}">
                  <a16:creationId xmlns:a16="http://schemas.microsoft.com/office/drawing/2014/main" id="{C15D4B86-70E0-6D4C-A3AA-BE3BE305C020}"/>
                </a:ext>
              </a:extLst>
            </p:cNvPr>
            <p:cNvSpPr/>
            <p:nvPr/>
          </p:nvSpPr>
          <p:spPr>
            <a:xfrm>
              <a:off x="4522787" y="3863620"/>
              <a:ext cx="2472690" cy="689018"/>
            </a:xfrm>
            <a:custGeom>
              <a:avLst/>
              <a:gdLst>
                <a:gd name="connsiteX0" fmla="*/ 345758 w 2472690"/>
                <a:gd name="connsiteY0" fmla="*/ 0 h 689018"/>
                <a:gd name="connsiteX1" fmla="*/ 0 w 2472690"/>
                <a:gd name="connsiteY1" fmla="*/ 344509 h 689018"/>
                <a:gd name="connsiteX2" fmla="*/ 345758 w 2472690"/>
                <a:gd name="connsiteY2" fmla="*/ 689019 h 689018"/>
                <a:gd name="connsiteX3" fmla="*/ 691515 w 2472690"/>
                <a:gd name="connsiteY3" fmla="*/ 344509 h 689018"/>
                <a:gd name="connsiteX4" fmla="*/ 345758 w 2472690"/>
                <a:gd name="connsiteY4" fmla="*/ 0 h 689018"/>
                <a:gd name="connsiteX5" fmla="*/ 345758 w 2472690"/>
                <a:gd name="connsiteY5" fmla="*/ 525780 h 689018"/>
                <a:gd name="connsiteX6" fmla="*/ 164783 w 2472690"/>
                <a:gd name="connsiteY6" fmla="*/ 345458 h 689018"/>
                <a:gd name="connsiteX7" fmla="*/ 345758 w 2472690"/>
                <a:gd name="connsiteY7" fmla="*/ 165137 h 689018"/>
                <a:gd name="connsiteX8" fmla="*/ 526733 w 2472690"/>
                <a:gd name="connsiteY8" fmla="*/ 345458 h 689018"/>
                <a:gd name="connsiteX9" fmla="*/ 345758 w 2472690"/>
                <a:gd name="connsiteY9" fmla="*/ 525780 h 689018"/>
                <a:gd name="connsiteX10" fmla="*/ 1253490 w 2472690"/>
                <a:gd name="connsiteY10" fmla="*/ 284718 h 689018"/>
                <a:gd name="connsiteX11" fmla="*/ 1063943 w 2472690"/>
                <a:gd name="connsiteY11" fmla="*/ 17083 h 689018"/>
                <a:gd name="connsiteX12" fmla="*/ 899160 w 2472690"/>
                <a:gd name="connsiteY12" fmla="*/ 17083 h 689018"/>
                <a:gd name="connsiteX13" fmla="*/ 899160 w 2472690"/>
                <a:gd name="connsiteY13" fmla="*/ 673834 h 689018"/>
                <a:gd name="connsiteX14" fmla="*/ 1063943 w 2472690"/>
                <a:gd name="connsiteY14" fmla="*/ 673834 h 689018"/>
                <a:gd name="connsiteX15" fmla="*/ 1063943 w 2472690"/>
                <a:gd name="connsiteY15" fmla="*/ 301802 h 689018"/>
                <a:gd name="connsiteX16" fmla="*/ 1152525 w 2472690"/>
                <a:gd name="connsiteY16" fmla="*/ 427078 h 689018"/>
                <a:gd name="connsiteX17" fmla="*/ 1253490 w 2472690"/>
                <a:gd name="connsiteY17" fmla="*/ 569437 h 689018"/>
                <a:gd name="connsiteX18" fmla="*/ 1354455 w 2472690"/>
                <a:gd name="connsiteY18" fmla="*/ 427078 h 689018"/>
                <a:gd name="connsiteX19" fmla="*/ 1443038 w 2472690"/>
                <a:gd name="connsiteY19" fmla="*/ 301802 h 689018"/>
                <a:gd name="connsiteX20" fmla="*/ 1443038 w 2472690"/>
                <a:gd name="connsiteY20" fmla="*/ 673834 h 689018"/>
                <a:gd name="connsiteX21" fmla="*/ 1607820 w 2472690"/>
                <a:gd name="connsiteY21" fmla="*/ 673834 h 689018"/>
                <a:gd name="connsiteX22" fmla="*/ 1607820 w 2472690"/>
                <a:gd name="connsiteY22" fmla="*/ 17083 h 689018"/>
                <a:gd name="connsiteX23" fmla="*/ 1443038 w 2472690"/>
                <a:gd name="connsiteY23" fmla="*/ 17083 h 689018"/>
                <a:gd name="connsiteX24" fmla="*/ 1253490 w 2472690"/>
                <a:gd name="connsiteY24" fmla="*/ 284718 h 689018"/>
                <a:gd name="connsiteX25" fmla="*/ 2472690 w 2472690"/>
                <a:gd name="connsiteY25" fmla="*/ 18032 h 689018"/>
                <a:gd name="connsiteX26" fmla="*/ 2270760 w 2472690"/>
                <a:gd name="connsiteY26" fmla="*/ 18032 h 689018"/>
                <a:gd name="connsiteX27" fmla="*/ 2037398 w 2472690"/>
                <a:gd name="connsiteY27" fmla="*/ 336917 h 689018"/>
                <a:gd name="connsiteX28" fmla="*/ 2037398 w 2472690"/>
                <a:gd name="connsiteY28" fmla="*/ 18032 h 689018"/>
                <a:gd name="connsiteX29" fmla="*/ 1872615 w 2472690"/>
                <a:gd name="connsiteY29" fmla="*/ 18032 h 689018"/>
                <a:gd name="connsiteX30" fmla="*/ 1872615 w 2472690"/>
                <a:gd name="connsiteY30" fmla="*/ 674783 h 689018"/>
                <a:gd name="connsiteX31" fmla="*/ 2037398 w 2472690"/>
                <a:gd name="connsiteY31" fmla="*/ 674783 h 689018"/>
                <a:gd name="connsiteX32" fmla="*/ 2037398 w 2472690"/>
                <a:gd name="connsiteY32" fmla="*/ 354000 h 689018"/>
                <a:gd name="connsiteX33" fmla="*/ 2270760 w 2472690"/>
                <a:gd name="connsiteY33" fmla="*/ 674783 h 689018"/>
                <a:gd name="connsiteX34" fmla="*/ 2472690 w 2472690"/>
                <a:gd name="connsiteY34" fmla="*/ 674783 h 689018"/>
                <a:gd name="connsiteX35" fmla="*/ 2231708 w 2472690"/>
                <a:gd name="connsiteY35" fmla="*/ 346407 h 689018"/>
                <a:gd name="connsiteX36" fmla="*/ 2472690 w 2472690"/>
                <a:gd name="connsiteY36" fmla="*/ 18032 h 68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72690" h="689018">
                  <a:moveTo>
                    <a:pt x="345758" y="0"/>
                  </a:moveTo>
                  <a:cubicBezTo>
                    <a:pt x="155258" y="0"/>
                    <a:pt x="0" y="154697"/>
                    <a:pt x="0" y="344509"/>
                  </a:cubicBezTo>
                  <a:cubicBezTo>
                    <a:pt x="0" y="535271"/>
                    <a:pt x="155258" y="689019"/>
                    <a:pt x="345758" y="689019"/>
                  </a:cubicBezTo>
                  <a:cubicBezTo>
                    <a:pt x="537210" y="689019"/>
                    <a:pt x="691515" y="534322"/>
                    <a:pt x="691515" y="344509"/>
                  </a:cubicBezTo>
                  <a:cubicBezTo>
                    <a:pt x="692468" y="154697"/>
                    <a:pt x="537210" y="0"/>
                    <a:pt x="345758" y="0"/>
                  </a:cubicBezTo>
                  <a:close/>
                  <a:moveTo>
                    <a:pt x="345758" y="525780"/>
                  </a:moveTo>
                  <a:cubicBezTo>
                    <a:pt x="245745" y="525780"/>
                    <a:pt x="164783" y="445110"/>
                    <a:pt x="164783" y="345458"/>
                  </a:cubicBezTo>
                  <a:cubicBezTo>
                    <a:pt x="164783" y="245807"/>
                    <a:pt x="245745" y="165137"/>
                    <a:pt x="345758" y="165137"/>
                  </a:cubicBezTo>
                  <a:cubicBezTo>
                    <a:pt x="445770" y="165137"/>
                    <a:pt x="526733" y="245807"/>
                    <a:pt x="526733" y="345458"/>
                  </a:cubicBezTo>
                  <a:cubicBezTo>
                    <a:pt x="527685" y="444161"/>
                    <a:pt x="445770" y="525780"/>
                    <a:pt x="345758" y="525780"/>
                  </a:cubicBezTo>
                  <a:close/>
                  <a:moveTo>
                    <a:pt x="1253490" y="284718"/>
                  </a:moveTo>
                  <a:lnTo>
                    <a:pt x="1063943" y="17083"/>
                  </a:lnTo>
                  <a:lnTo>
                    <a:pt x="899160" y="17083"/>
                  </a:lnTo>
                  <a:lnTo>
                    <a:pt x="899160" y="673834"/>
                  </a:lnTo>
                  <a:lnTo>
                    <a:pt x="1063943" y="673834"/>
                  </a:lnTo>
                  <a:lnTo>
                    <a:pt x="1063943" y="301802"/>
                  </a:lnTo>
                  <a:lnTo>
                    <a:pt x="1152525" y="427078"/>
                  </a:lnTo>
                  <a:lnTo>
                    <a:pt x="1253490" y="569437"/>
                  </a:lnTo>
                  <a:lnTo>
                    <a:pt x="1354455" y="427078"/>
                  </a:lnTo>
                  <a:lnTo>
                    <a:pt x="1443038" y="301802"/>
                  </a:lnTo>
                  <a:lnTo>
                    <a:pt x="1443038" y="673834"/>
                  </a:lnTo>
                  <a:lnTo>
                    <a:pt x="1607820" y="673834"/>
                  </a:lnTo>
                  <a:lnTo>
                    <a:pt x="1607820" y="17083"/>
                  </a:lnTo>
                  <a:lnTo>
                    <a:pt x="1443038" y="17083"/>
                  </a:lnTo>
                  <a:lnTo>
                    <a:pt x="1253490" y="284718"/>
                  </a:lnTo>
                  <a:close/>
                  <a:moveTo>
                    <a:pt x="2472690" y="18032"/>
                  </a:moveTo>
                  <a:lnTo>
                    <a:pt x="2270760" y="18032"/>
                  </a:lnTo>
                  <a:lnTo>
                    <a:pt x="2037398" y="336917"/>
                  </a:lnTo>
                  <a:lnTo>
                    <a:pt x="2037398" y="18032"/>
                  </a:lnTo>
                  <a:lnTo>
                    <a:pt x="1872615" y="18032"/>
                  </a:lnTo>
                  <a:lnTo>
                    <a:pt x="1872615" y="674783"/>
                  </a:lnTo>
                  <a:lnTo>
                    <a:pt x="2037398" y="674783"/>
                  </a:lnTo>
                  <a:lnTo>
                    <a:pt x="2037398" y="354000"/>
                  </a:lnTo>
                  <a:lnTo>
                    <a:pt x="2270760" y="674783"/>
                  </a:lnTo>
                  <a:lnTo>
                    <a:pt x="2472690" y="674783"/>
                  </a:lnTo>
                  <a:lnTo>
                    <a:pt x="2231708" y="346407"/>
                  </a:lnTo>
                  <a:lnTo>
                    <a:pt x="2472690" y="18032"/>
                  </a:lnTo>
                  <a:close/>
                </a:path>
              </a:pathLst>
            </a:custGeom>
            <a:solidFill>
              <a:srgbClr val="7F8183"/>
            </a:solidFill>
            <a:ln w="9525" cap="flat">
              <a:noFill/>
              <a:prstDash val="solid"/>
              <a:miter/>
            </a:ln>
          </p:spPr>
          <p:txBody>
            <a:bodyPr rtlCol="0" anchor="ctr"/>
            <a:lstStyle/>
            <a:p>
              <a:endParaRPr lang="x-none" sz="1905"/>
            </a:p>
          </p:txBody>
        </p:sp>
      </p:grpSp>
      <p:grpSp>
        <p:nvGrpSpPr>
          <p:cNvPr id="2" name="Graphic 13">
            <a:extLst>
              <a:ext uri="{FF2B5EF4-FFF2-40B4-BE49-F238E27FC236}">
                <a16:creationId xmlns:a16="http://schemas.microsoft.com/office/drawing/2014/main" id="{07D8688A-A1C6-824F-9702-4CAFEFF7A0AA}"/>
              </a:ext>
            </a:extLst>
          </p:cNvPr>
          <p:cNvGrpSpPr/>
          <p:nvPr/>
        </p:nvGrpSpPr>
        <p:grpSpPr>
          <a:xfrm>
            <a:off x="1309498" y="5763382"/>
            <a:ext cx="886399" cy="762739"/>
            <a:chOff x="1237542" y="5445861"/>
            <a:chExt cx="837693" cy="720718"/>
          </a:xfrm>
        </p:grpSpPr>
        <p:grpSp>
          <p:nvGrpSpPr>
            <p:cNvPr id="3" name="Graphic 13">
              <a:extLst>
                <a:ext uri="{FF2B5EF4-FFF2-40B4-BE49-F238E27FC236}">
                  <a16:creationId xmlns:a16="http://schemas.microsoft.com/office/drawing/2014/main" id="{07D8688A-A1C6-824F-9702-4CAFEFF7A0AA}"/>
                </a:ext>
              </a:extLst>
            </p:cNvPr>
            <p:cNvGrpSpPr/>
            <p:nvPr/>
          </p:nvGrpSpPr>
          <p:grpSpPr>
            <a:xfrm>
              <a:off x="1264054" y="5786435"/>
              <a:ext cx="327743" cy="106553"/>
              <a:chOff x="1264054" y="5786435"/>
              <a:chExt cx="327743" cy="106553"/>
            </a:xfrm>
            <a:solidFill>
              <a:srgbClr val="CFD4D9"/>
            </a:solidFill>
          </p:grpSpPr>
          <p:sp>
            <p:nvSpPr>
              <p:cNvPr id="4" name="Freeform 3">
                <a:extLst>
                  <a:ext uri="{FF2B5EF4-FFF2-40B4-BE49-F238E27FC236}">
                    <a16:creationId xmlns:a16="http://schemas.microsoft.com/office/drawing/2014/main" id="{3FB05AE4-1AC5-E644-BF98-DE6793E4DE68}"/>
                  </a:ext>
                </a:extLst>
              </p:cNvPr>
              <p:cNvSpPr/>
              <p:nvPr/>
            </p:nvSpPr>
            <p:spPr>
              <a:xfrm>
                <a:off x="1264054" y="5786435"/>
                <a:ext cx="72205" cy="84225"/>
              </a:xfrm>
              <a:custGeom>
                <a:avLst/>
                <a:gdLst>
                  <a:gd name="connsiteX0" fmla="*/ 38077 w 72205"/>
                  <a:gd name="connsiteY0" fmla="*/ 74898 h 84225"/>
                  <a:gd name="connsiteX1" fmla="*/ 55000 w 72205"/>
                  <a:gd name="connsiteY1" fmla="*/ 69811 h 84225"/>
                  <a:gd name="connsiteX2" fmla="*/ 62615 w 72205"/>
                  <a:gd name="connsiteY2" fmla="*/ 55962 h 84225"/>
                  <a:gd name="connsiteX3" fmla="*/ 72205 w 72205"/>
                  <a:gd name="connsiteY3" fmla="*/ 57657 h 84225"/>
                  <a:gd name="connsiteX4" fmla="*/ 60923 w 72205"/>
                  <a:gd name="connsiteY4" fmla="*/ 77442 h 84225"/>
                  <a:gd name="connsiteX5" fmla="*/ 37795 w 72205"/>
                  <a:gd name="connsiteY5" fmla="*/ 84225 h 84225"/>
                  <a:gd name="connsiteX6" fmla="*/ 10154 w 72205"/>
                  <a:gd name="connsiteY6" fmla="*/ 72920 h 84225"/>
                  <a:gd name="connsiteX7" fmla="*/ 0 w 72205"/>
                  <a:gd name="connsiteY7" fmla="*/ 42113 h 84225"/>
                  <a:gd name="connsiteX8" fmla="*/ 2821 w 72205"/>
                  <a:gd name="connsiteY8" fmla="*/ 24307 h 84225"/>
                  <a:gd name="connsiteX9" fmla="*/ 10436 w 72205"/>
                  <a:gd name="connsiteY9" fmla="*/ 11023 h 84225"/>
                  <a:gd name="connsiteX10" fmla="*/ 22282 w 72205"/>
                  <a:gd name="connsiteY10" fmla="*/ 2826 h 84225"/>
                  <a:gd name="connsiteX11" fmla="*/ 37795 w 72205"/>
                  <a:gd name="connsiteY11" fmla="*/ 0 h 84225"/>
                  <a:gd name="connsiteX12" fmla="*/ 60923 w 72205"/>
                  <a:gd name="connsiteY12" fmla="*/ 6783 h 84225"/>
                  <a:gd name="connsiteX13" fmla="*/ 71923 w 72205"/>
                  <a:gd name="connsiteY13" fmla="*/ 26568 h 84225"/>
                  <a:gd name="connsiteX14" fmla="*/ 62333 w 72205"/>
                  <a:gd name="connsiteY14" fmla="*/ 28263 h 84225"/>
                  <a:gd name="connsiteX15" fmla="*/ 54718 w 72205"/>
                  <a:gd name="connsiteY15" fmla="*/ 14697 h 84225"/>
                  <a:gd name="connsiteX16" fmla="*/ 37795 w 72205"/>
                  <a:gd name="connsiteY16" fmla="*/ 9327 h 84225"/>
                  <a:gd name="connsiteX17" fmla="*/ 25667 w 72205"/>
                  <a:gd name="connsiteY17" fmla="*/ 11871 h 84225"/>
                  <a:gd name="connsiteX18" fmla="*/ 16923 w 72205"/>
                  <a:gd name="connsiteY18" fmla="*/ 18654 h 84225"/>
                  <a:gd name="connsiteX19" fmla="*/ 11564 w 72205"/>
                  <a:gd name="connsiteY19" fmla="*/ 29111 h 84225"/>
                  <a:gd name="connsiteX20" fmla="*/ 9872 w 72205"/>
                  <a:gd name="connsiteY20" fmla="*/ 42678 h 84225"/>
                  <a:gd name="connsiteX21" fmla="*/ 17205 w 72205"/>
                  <a:gd name="connsiteY21" fmla="*/ 66419 h 84225"/>
                  <a:gd name="connsiteX22" fmla="*/ 38077 w 72205"/>
                  <a:gd name="connsiteY22" fmla="*/ 74898 h 8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2205" h="84225">
                    <a:moveTo>
                      <a:pt x="38077" y="74898"/>
                    </a:moveTo>
                    <a:cubicBezTo>
                      <a:pt x="45410" y="74898"/>
                      <a:pt x="51051" y="73202"/>
                      <a:pt x="55000" y="69811"/>
                    </a:cubicBezTo>
                    <a:cubicBezTo>
                      <a:pt x="58949" y="66419"/>
                      <a:pt x="61487" y="61897"/>
                      <a:pt x="62615" y="55962"/>
                    </a:cubicBezTo>
                    <a:lnTo>
                      <a:pt x="72205" y="57657"/>
                    </a:lnTo>
                    <a:cubicBezTo>
                      <a:pt x="70795" y="66136"/>
                      <a:pt x="66846" y="72920"/>
                      <a:pt x="60923" y="77442"/>
                    </a:cubicBezTo>
                    <a:cubicBezTo>
                      <a:pt x="55000" y="81964"/>
                      <a:pt x="47385" y="84225"/>
                      <a:pt x="37795" y="84225"/>
                    </a:cubicBezTo>
                    <a:cubicBezTo>
                      <a:pt x="26231" y="84225"/>
                      <a:pt x="16923" y="80551"/>
                      <a:pt x="10154" y="72920"/>
                    </a:cubicBezTo>
                    <a:cubicBezTo>
                      <a:pt x="3385" y="65289"/>
                      <a:pt x="0" y="55114"/>
                      <a:pt x="0" y="42113"/>
                    </a:cubicBezTo>
                    <a:cubicBezTo>
                      <a:pt x="0" y="35329"/>
                      <a:pt x="846" y="29394"/>
                      <a:pt x="2821" y="24307"/>
                    </a:cubicBezTo>
                    <a:cubicBezTo>
                      <a:pt x="4513" y="18937"/>
                      <a:pt x="7333" y="14697"/>
                      <a:pt x="10436" y="11023"/>
                    </a:cubicBezTo>
                    <a:cubicBezTo>
                      <a:pt x="13821" y="7348"/>
                      <a:pt x="17769" y="4522"/>
                      <a:pt x="22282" y="2826"/>
                    </a:cubicBezTo>
                    <a:cubicBezTo>
                      <a:pt x="27077" y="848"/>
                      <a:pt x="32154" y="0"/>
                      <a:pt x="37795" y="0"/>
                    </a:cubicBezTo>
                    <a:cubicBezTo>
                      <a:pt x="47385" y="0"/>
                      <a:pt x="55000" y="2261"/>
                      <a:pt x="60923" y="6783"/>
                    </a:cubicBezTo>
                    <a:cubicBezTo>
                      <a:pt x="66846" y="11305"/>
                      <a:pt x="70513" y="18089"/>
                      <a:pt x="71923" y="26568"/>
                    </a:cubicBezTo>
                    <a:lnTo>
                      <a:pt x="62333" y="28263"/>
                    </a:lnTo>
                    <a:cubicBezTo>
                      <a:pt x="61205" y="22893"/>
                      <a:pt x="58667" y="18371"/>
                      <a:pt x="54718" y="14697"/>
                    </a:cubicBezTo>
                    <a:cubicBezTo>
                      <a:pt x="50769" y="11023"/>
                      <a:pt x="45128" y="9327"/>
                      <a:pt x="37795" y="9327"/>
                    </a:cubicBezTo>
                    <a:cubicBezTo>
                      <a:pt x="33282" y="9327"/>
                      <a:pt x="29333" y="10175"/>
                      <a:pt x="25667" y="11871"/>
                    </a:cubicBezTo>
                    <a:cubicBezTo>
                      <a:pt x="22282" y="13566"/>
                      <a:pt x="19180" y="15828"/>
                      <a:pt x="16923" y="18654"/>
                    </a:cubicBezTo>
                    <a:cubicBezTo>
                      <a:pt x="14667" y="21480"/>
                      <a:pt x="12974" y="24872"/>
                      <a:pt x="11564" y="29111"/>
                    </a:cubicBezTo>
                    <a:cubicBezTo>
                      <a:pt x="10436" y="33068"/>
                      <a:pt x="9872" y="37590"/>
                      <a:pt x="9872" y="42678"/>
                    </a:cubicBezTo>
                    <a:cubicBezTo>
                      <a:pt x="9872" y="52570"/>
                      <a:pt x="12410" y="60484"/>
                      <a:pt x="17205" y="66419"/>
                    </a:cubicBezTo>
                    <a:cubicBezTo>
                      <a:pt x="22282" y="72072"/>
                      <a:pt x="29051" y="74898"/>
                      <a:pt x="38077" y="74898"/>
                    </a:cubicBezTo>
                  </a:path>
                </a:pathLst>
              </a:custGeom>
              <a:solidFill>
                <a:srgbClr val="7F8183"/>
              </a:solidFill>
              <a:ln w="2790" cap="flat">
                <a:noFill/>
                <a:prstDash val="solid"/>
                <a:miter/>
              </a:ln>
            </p:spPr>
            <p:txBody>
              <a:bodyPr rtlCol="0" anchor="ctr"/>
              <a:lstStyle/>
              <a:p>
                <a:endParaRPr lang="x-none" sz="1905"/>
              </a:p>
            </p:txBody>
          </p:sp>
          <p:sp>
            <p:nvSpPr>
              <p:cNvPr id="5" name="Freeform 4">
                <a:extLst>
                  <a:ext uri="{FF2B5EF4-FFF2-40B4-BE49-F238E27FC236}">
                    <a16:creationId xmlns:a16="http://schemas.microsoft.com/office/drawing/2014/main" id="{07C0C97F-A1B1-824D-AD1D-C268F9629792}"/>
                  </a:ext>
                </a:extLst>
              </p:cNvPr>
              <p:cNvSpPr/>
              <p:nvPr/>
            </p:nvSpPr>
            <p:spPr>
              <a:xfrm>
                <a:off x="1347542" y="5811024"/>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769" y="49461"/>
                      <a:pt x="22000"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764"/>
                      <a:pt x="0" y="29959"/>
                    </a:cubicBezTo>
                    <a:cubicBezTo>
                      <a:pt x="0" y="20350"/>
                      <a:pt x="2538" y="13001"/>
                      <a:pt x="7615" y="7914"/>
                    </a:cubicBezTo>
                    <a:cubicBezTo>
                      <a:pt x="12692" y="2826"/>
                      <a:pt x="19180" y="0"/>
                      <a:pt x="27359" y="0"/>
                    </a:cubicBezTo>
                    <a:cubicBezTo>
                      <a:pt x="35256" y="0"/>
                      <a:pt x="41744" y="2544"/>
                      <a:pt x="46539" y="7914"/>
                    </a:cubicBezTo>
                    <a:cubicBezTo>
                      <a:pt x="51333" y="13001"/>
                      <a:pt x="53872" y="20350"/>
                      <a:pt x="53872" y="29959"/>
                    </a:cubicBezTo>
                    <a:cubicBezTo>
                      <a:pt x="53872" y="39286"/>
                      <a:pt x="51333" y="46635"/>
                      <a:pt x="46539" y="52005"/>
                    </a:cubicBezTo>
                    <a:cubicBezTo>
                      <a:pt x="41744" y="57092"/>
                      <a:pt x="35538" y="59919"/>
                      <a:pt x="27359" y="59919"/>
                    </a:cubicBezTo>
                  </a:path>
                </a:pathLst>
              </a:custGeom>
              <a:solidFill>
                <a:srgbClr val="7F8183"/>
              </a:solidFill>
              <a:ln w="2790" cap="flat">
                <a:noFill/>
                <a:prstDash val="solid"/>
                <a:miter/>
              </a:ln>
            </p:spPr>
            <p:txBody>
              <a:bodyPr rtlCol="0" anchor="ctr"/>
              <a:lstStyle/>
              <a:p>
                <a:endParaRPr lang="x-none" sz="1905"/>
              </a:p>
            </p:txBody>
          </p:sp>
          <p:sp>
            <p:nvSpPr>
              <p:cNvPr id="6" name="Freeform 5">
                <a:extLst>
                  <a:ext uri="{FF2B5EF4-FFF2-40B4-BE49-F238E27FC236}">
                    <a16:creationId xmlns:a16="http://schemas.microsoft.com/office/drawing/2014/main" id="{98E58C74-8DEB-FD44-84E7-3F5CDF70C428}"/>
                  </a:ext>
                </a:extLst>
              </p:cNvPr>
              <p:cNvSpPr/>
              <p:nvPr/>
            </p:nvSpPr>
            <p:spPr>
              <a:xfrm>
                <a:off x="1416080" y="5812155"/>
                <a:ext cx="45410" cy="57657"/>
              </a:xfrm>
              <a:custGeom>
                <a:avLst/>
                <a:gdLst>
                  <a:gd name="connsiteX0" fmla="*/ 26231 w 45410"/>
                  <a:gd name="connsiteY0" fmla="*/ 32220 h 57657"/>
                  <a:gd name="connsiteX1" fmla="*/ 9308 w 45410"/>
                  <a:gd name="connsiteY1" fmla="*/ 32220 h 57657"/>
                  <a:gd name="connsiteX2" fmla="*/ 9308 w 45410"/>
                  <a:gd name="connsiteY2" fmla="*/ 49178 h 57657"/>
                  <a:gd name="connsiteX3" fmla="*/ 26231 w 45410"/>
                  <a:gd name="connsiteY3" fmla="*/ 49178 h 57657"/>
                  <a:gd name="connsiteX4" fmla="*/ 34128 w 45410"/>
                  <a:gd name="connsiteY4" fmla="*/ 46917 h 57657"/>
                  <a:gd name="connsiteX5" fmla="*/ 36385 w 45410"/>
                  <a:gd name="connsiteY5" fmla="*/ 40699 h 57657"/>
                  <a:gd name="connsiteX6" fmla="*/ 33846 w 45410"/>
                  <a:gd name="connsiteY6" fmla="*/ 34199 h 57657"/>
                  <a:gd name="connsiteX7" fmla="*/ 26231 w 45410"/>
                  <a:gd name="connsiteY7" fmla="*/ 32220 h 57657"/>
                  <a:gd name="connsiteX8" fmla="*/ 24538 w 45410"/>
                  <a:gd name="connsiteY8" fmla="*/ 8196 h 57657"/>
                  <a:gd name="connsiteX9" fmla="*/ 9308 w 45410"/>
                  <a:gd name="connsiteY9" fmla="*/ 8196 h 57657"/>
                  <a:gd name="connsiteX10" fmla="*/ 9308 w 45410"/>
                  <a:gd name="connsiteY10" fmla="*/ 24307 h 57657"/>
                  <a:gd name="connsiteX11" fmla="*/ 25385 w 45410"/>
                  <a:gd name="connsiteY11" fmla="*/ 24307 h 57657"/>
                  <a:gd name="connsiteX12" fmla="*/ 32436 w 45410"/>
                  <a:gd name="connsiteY12" fmla="*/ 22328 h 57657"/>
                  <a:gd name="connsiteX13" fmla="*/ 34692 w 45410"/>
                  <a:gd name="connsiteY13" fmla="*/ 16110 h 57657"/>
                  <a:gd name="connsiteX14" fmla="*/ 32436 w 45410"/>
                  <a:gd name="connsiteY14" fmla="*/ 9892 h 57657"/>
                  <a:gd name="connsiteX15" fmla="*/ 24538 w 45410"/>
                  <a:gd name="connsiteY15" fmla="*/ 8196 h 57657"/>
                  <a:gd name="connsiteX16" fmla="*/ 0 w 45410"/>
                  <a:gd name="connsiteY16" fmla="*/ 57375 h 57657"/>
                  <a:gd name="connsiteX17" fmla="*/ 0 w 45410"/>
                  <a:gd name="connsiteY17" fmla="*/ 0 h 57657"/>
                  <a:gd name="connsiteX18" fmla="*/ 24538 w 45410"/>
                  <a:gd name="connsiteY18" fmla="*/ 0 h 57657"/>
                  <a:gd name="connsiteX19" fmla="*/ 38923 w 45410"/>
                  <a:gd name="connsiteY19" fmla="*/ 3957 h 57657"/>
                  <a:gd name="connsiteX20" fmla="*/ 44000 w 45410"/>
                  <a:gd name="connsiteY20" fmla="*/ 15545 h 57657"/>
                  <a:gd name="connsiteX21" fmla="*/ 42308 w 45410"/>
                  <a:gd name="connsiteY21" fmla="*/ 22328 h 57657"/>
                  <a:gd name="connsiteX22" fmla="*/ 35821 w 45410"/>
                  <a:gd name="connsiteY22" fmla="*/ 27698 h 57657"/>
                  <a:gd name="connsiteX23" fmla="*/ 43154 w 45410"/>
                  <a:gd name="connsiteY23" fmla="*/ 32786 h 57657"/>
                  <a:gd name="connsiteX24" fmla="*/ 45410 w 45410"/>
                  <a:gd name="connsiteY24" fmla="*/ 41265 h 57657"/>
                  <a:gd name="connsiteX25" fmla="*/ 40897 w 45410"/>
                  <a:gd name="connsiteY25" fmla="*/ 53135 h 57657"/>
                  <a:gd name="connsiteX26" fmla="*/ 26231 w 45410"/>
                  <a:gd name="connsiteY26" fmla="*/ 57657 h 57657"/>
                  <a:gd name="connsiteX27" fmla="*/ 0 w 45410"/>
                  <a:gd name="connsiteY27" fmla="*/ 57657 h 5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5410" h="57657">
                    <a:moveTo>
                      <a:pt x="26231" y="32220"/>
                    </a:moveTo>
                    <a:lnTo>
                      <a:pt x="9308" y="32220"/>
                    </a:lnTo>
                    <a:lnTo>
                      <a:pt x="9308" y="49178"/>
                    </a:lnTo>
                    <a:lnTo>
                      <a:pt x="26231" y="49178"/>
                    </a:lnTo>
                    <a:cubicBezTo>
                      <a:pt x="29897" y="49178"/>
                      <a:pt x="32436" y="48330"/>
                      <a:pt x="34128" y="46917"/>
                    </a:cubicBezTo>
                    <a:cubicBezTo>
                      <a:pt x="35538" y="45504"/>
                      <a:pt x="36385" y="43526"/>
                      <a:pt x="36385" y="40699"/>
                    </a:cubicBezTo>
                    <a:cubicBezTo>
                      <a:pt x="36385" y="37590"/>
                      <a:pt x="35538" y="35612"/>
                      <a:pt x="33846" y="34199"/>
                    </a:cubicBezTo>
                    <a:cubicBezTo>
                      <a:pt x="32436" y="33068"/>
                      <a:pt x="29897" y="32220"/>
                      <a:pt x="26231" y="32220"/>
                    </a:cubicBezTo>
                    <a:moveTo>
                      <a:pt x="24538" y="8196"/>
                    </a:moveTo>
                    <a:lnTo>
                      <a:pt x="9308" y="8196"/>
                    </a:lnTo>
                    <a:lnTo>
                      <a:pt x="9308" y="24307"/>
                    </a:lnTo>
                    <a:lnTo>
                      <a:pt x="25385" y="24307"/>
                    </a:lnTo>
                    <a:cubicBezTo>
                      <a:pt x="28487" y="24307"/>
                      <a:pt x="31026" y="23741"/>
                      <a:pt x="32436" y="22328"/>
                    </a:cubicBezTo>
                    <a:cubicBezTo>
                      <a:pt x="34128" y="20915"/>
                      <a:pt x="34692" y="18937"/>
                      <a:pt x="34692" y="16110"/>
                    </a:cubicBezTo>
                    <a:cubicBezTo>
                      <a:pt x="34692" y="13284"/>
                      <a:pt x="33846" y="11305"/>
                      <a:pt x="32436" y="9892"/>
                    </a:cubicBezTo>
                    <a:cubicBezTo>
                      <a:pt x="31308" y="9044"/>
                      <a:pt x="28487" y="8196"/>
                      <a:pt x="24538" y="8196"/>
                    </a:cubicBezTo>
                    <a:moveTo>
                      <a:pt x="0" y="57375"/>
                    </a:moveTo>
                    <a:lnTo>
                      <a:pt x="0" y="0"/>
                    </a:lnTo>
                    <a:lnTo>
                      <a:pt x="24538" y="0"/>
                    </a:lnTo>
                    <a:cubicBezTo>
                      <a:pt x="30744" y="0"/>
                      <a:pt x="35538" y="1413"/>
                      <a:pt x="38923" y="3957"/>
                    </a:cubicBezTo>
                    <a:cubicBezTo>
                      <a:pt x="42308" y="6501"/>
                      <a:pt x="44000" y="10457"/>
                      <a:pt x="44000" y="15545"/>
                    </a:cubicBezTo>
                    <a:cubicBezTo>
                      <a:pt x="44000" y="17806"/>
                      <a:pt x="43436" y="20067"/>
                      <a:pt x="42308" y="22328"/>
                    </a:cubicBezTo>
                    <a:cubicBezTo>
                      <a:pt x="41180" y="24589"/>
                      <a:pt x="39205" y="26568"/>
                      <a:pt x="35821" y="27698"/>
                    </a:cubicBezTo>
                    <a:cubicBezTo>
                      <a:pt x="39205" y="28829"/>
                      <a:pt x="41744" y="30524"/>
                      <a:pt x="43154" y="32786"/>
                    </a:cubicBezTo>
                    <a:cubicBezTo>
                      <a:pt x="44564" y="35047"/>
                      <a:pt x="45410" y="37873"/>
                      <a:pt x="45410" y="41265"/>
                    </a:cubicBezTo>
                    <a:cubicBezTo>
                      <a:pt x="45410" y="46069"/>
                      <a:pt x="44000" y="50026"/>
                      <a:pt x="40897" y="53135"/>
                    </a:cubicBezTo>
                    <a:cubicBezTo>
                      <a:pt x="37795" y="55962"/>
                      <a:pt x="33000" y="57657"/>
                      <a:pt x="26231" y="57657"/>
                    </a:cubicBezTo>
                    <a:lnTo>
                      <a:pt x="0" y="57657"/>
                    </a:lnTo>
                    <a:close/>
                  </a:path>
                </a:pathLst>
              </a:custGeom>
              <a:solidFill>
                <a:srgbClr val="7F8183"/>
              </a:solidFill>
              <a:ln w="2790" cap="flat">
                <a:noFill/>
                <a:prstDash val="solid"/>
                <a:miter/>
              </a:ln>
            </p:spPr>
            <p:txBody>
              <a:bodyPr rtlCol="0" anchor="ctr"/>
              <a:lstStyle/>
              <a:p>
                <a:endParaRPr lang="x-none" sz="1905"/>
              </a:p>
            </p:txBody>
          </p:sp>
          <p:sp>
            <p:nvSpPr>
              <p:cNvPr id="7" name="Freeform 6">
                <a:extLst>
                  <a:ext uri="{FF2B5EF4-FFF2-40B4-BE49-F238E27FC236}">
                    <a16:creationId xmlns:a16="http://schemas.microsoft.com/office/drawing/2014/main" id="{B7564595-5E22-8641-B588-924F73BADF4C}"/>
                  </a:ext>
                </a:extLst>
              </p:cNvPr>
              <p:cNvSpPr/>
              <p:nvPr/>
            </p:nvSpPr>
            <p:spPr>
              <a:xfrm>
                <a:off x="1472208" y="5811307"/>
                <a:ext cx="51333" cy="59635"/>
              </a:xfrm>
              <a:custGeom>
                <a:avLst/>
                <a:gdLst>
                  <a:gd name="connsiteX0" fmla="*/ 26795 w 51333"/>
                  <a:gd name="connsiteY0" fmla="*/ 7914 h 59635"/>
                  <a:gd name="connsiteX1" fmla="*/ 15795 w 51333"/>
                  <a:gd name="connsiteY1" fmla="*/ 12153 h 59635"/>
                  <a:gd name="connsiteX2" fmla="*/ 10154 w 51333"/>
                  <a:gd name="connsiteY2" fmla="*/ 23176 h 59635"/>
                  <a:gd name="connsiteX3" fmla="*/ 42308 w 51333"/>
                  <a:gd name="connsiteY3" fmla="*/ 23176 h 59635"/>
                  <a:gd name="connsiteX4" fmla="*/ 38359 w 51333"/>
                  <a:gd name="connsiteY4" fmla="*/ 12153 h 59635"/>
                  <a:gd name="connsiteX5" fmla="*/ 26795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8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795" y="7914"/>
                    </a:moveTo>
                    <a:cubicBezTo>
                      <a:pt x="22282" y="7914"/>
                      <a:pt x="18615" y="9327"/>
                      <a:pt x="15795" y="12153"/>
                    </a:cubicBezTo>
                    <a:cubicBezTo>
                      <a:pt x="12692" y="14980"/>
                      <a:pt x="11000" y="18654"/>
                      <a:pt x="10154" y="23176"/>
                    </a:cubicBezTo>
                    <a:lnTo>
                      <a:pt x="42308" y="23176"/>
                    </a:lnTo>
                    <a:cubicBezTo>
                      <a:pt x="42026" y="18654"/>
                      <a:pt x="40615" y="14980"/>
                      <a:pt x="38359" y="12153"/>
                    </a:cubicBezTo>
                    <a:cubicBezTo>
                      <a:pt x="35256" y="9327"/>
                      <a:pt x="31590" y="7914"/>
                      <a:pt x="26795"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8"/>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9" name="Freeform 8">
                <a:extLst>
                  <a:ext uri="{FF2B5EF4-FFF2-40B4-BE49-F238E27FC236}">
                    <a16:creationId xmlns:a16="http://schemas.microsoft.com/office/drawing/2014/main" id="{3AC51489-6AE5-B24B-AC3B-E1E38FC999B9}"/>
                  </a:ext>
                </a:extLst>
              </p:cNvPr>
              <p:cNvSpPr/>
              <p:nvPr/>
            </p:nvSpPr>
            <p:spPr>
              <a:xfrm>
                <a:off x="1537644" y="5810742"/>
                <a:ext cx="54153" cy="82246"/>
              </a:xfrm>
              <a:custGeom>
                <a:avLst/>
                <a:gdLst>
                  <a:gd name="connsiteX0" fmla="*/ 9590 w 54153"/>
                  <a:gd name="connsiteY0" fmla="*/ 34764 h 82246"/>
                  <a:gd name="connsiteX1" fmla="*/ 14949 w 54153"/>
                  <a:gd name="connsiteY1" fmla="*/ 46917 h 82246"/>
                  <a:gd name="connsiteX2" fmla="*/ 27641 w 54153"/>
                  <a:gd name="connsiteY2" fmla="*/ 51439 h 82246"/>
                  <a:gd name="connsiteX3" fmla="*/ 40051 w 54153"/>
                  <a:gd name="connsiteY3" fmla="*/ 45504 h 82246"/>
                  <a:gd name="connsiteX4" fmla="*/ 44564 w 54153"/>
                  <a:gd name="connsiteY4" fmla="*/ 29677 h 82246"/>
                  <a:gd name="connsiteX5" fmla="*/ 40051 w 54153"/>
                  <a:gd name="connsiteY5" fmla="*/ 14414 h 82246"/>
                  <a:gd name="connsiteX6" fmla="*/ 27359 w 54153"/>
                  <a:gd name="connsiteY6" fmla="*/ 8479 h 82246"/>
                  <a:gd name="connsiteX7" fmla="*/ 20872 w 54153"/>
                  <a:gd name="connsiteY7" fmla="*/ 9610 h 82246"/>
                  <a:gd name="connsiteX8" fmla="*/ 15231 w 54153"/>
                  <a:gd name="connsiteY8" fmla="*/ 13284 h 82246"/>
                  <a:gd name="connsiteX9" fmla="*/ 11282 w 54153"/>
                  <a:gd name="connsiteY9" fmla="*/ 19219 h 82246"/>
                  <a:gd name="connsiteX10" fmla="*/ 9872 w 54153"/>
                  <a:gd name="connsiteY10" fmla="*/ 27416 h 82246"/>
                  <a:gd name="connsiteX11" fmla="*/ 9872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590" y="34764"/>
                    </a:moveTo>
                    <a:cubicBezTo>
                      <a:pt x="9590" y="40134"/>
                      <a:pt x="11282" y="44091"/>
                      <a:pt x="14949" y="46917"/>
                    </a:cubicBezTo>
                    <a:cubicBezTo>
                      <a:pt x="18615" y="49744"/>
                      <a:pt x="22846" y="51439"/>
                      <a:pt x="27641" y="51439"/>
                    </a:cubicBezTo>
                    <a:cubicBezTo>
                      <a:pt x="33000" y="51439"/>
                      <a:pt x="36949" y="49461"/>
                      <a:pt x="40051" y="45504"/>
                    </a:cubicBezTo>
                    <a:cubicBezTo>
                      <a:pt x="43154" y="41547"/>
                      <a:pt x="44564" y="36460"/>
                      <a:pt x="44564" y="29677"/>
                    </a:cubicBezTo>
                    <a:cubicBezTo>
                      <a:pt x="44564" y="23459"/>
                      <a:pt x="43154" y="18371"/>
                      <a:pt x="40051" y="14414"/>
                    </a:cubicBezTo>
                    <a:cubicBezTo>
                      <a:pt x="36949" y="10457"/>
                      <a:pt x="32718" y="8479"/>
                      <a:pt x="27359" y="8479"/>
                    </a:cubicBezTo>
                    <a:cubicBezTo>
                      <a:pt x="25103" y="8479"/>
                      <a:pt x="22846" y="8762"/>
                      <a:pt x="20872" y="9610"/>
                    </a:cubicBezTo>
                    <a:cubicBezTo>
                      <a:pt x="18897" y="10457"/>
                      <a:pt x="16923" y="11588"/>
                      <a:pt x="15231" y="13284"/>
                    </a:cubicBezTo>
                    <a:cubicBezTo>
                      <a:pt x="13538" y="14980"/>
                      <a:pt x="12128" y="16958"/>
                      <a:pt x="11282" y="19219"/>
                    </a:cubicBezTo>
                    <a:cubicBezTo>
                      <a:pt x="10154" y="21763"/>
                      <a:pt x="9872" y="24307"/>
                      <a:pt x="9872" y="27416"/>
                    </a:cubicBezTo>
                    <a:lnTo>
                      <a:pt x="9872" y="34764"/>
                    </a:lnTo>
                    <a:close/>
                    <a:moveTo>
                      <a:pt x="0" y="82247"/>
                    </a:moveTo>
                    <a:lnTo>
                      <a:pt x="0" y="1413"/>
                    </a:lnTo>
                    <a:lnTo>
                      <a:pt x="9590" y="1413"/>
                    </a:lnTo>
                    <a:lnTo>
                      <a:pt x="9590" y="9044"/>
                    </a:lnTo>
                    <a:cubicBezTo>
                      <a:pt x="11564" y="6218"/>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grpSp>
        <p:sp>
          <p:nvSpPr>
            <p:cNvPr id="17" name="Freeform 16">
              <a:extLst>
                <a:ext uri="{FF2B5EF4-FFF2-40B4-BE49-F238E27FC236}">
                  <a16:creationId xmlns:a16="http://schemas.microsoft.com/office/drawing/2014/main" id="{6F85AE05-D717-1B44-96DC-830799FD25EC}"/>
                </a:ext>
              </a:extLst>
            </p:cNvPr>
            <p:cNvSpPr/>
            <p:nvPr/>
          </p:nvSpPr>
          <p:spPr>
            <a:xfrm>
              <a:off x="1606183" y="5812155"/>
              <a:ext cx="75307" cy="57374"/>
            </a:xfrm>
            <a:custGeom>
              <a:avLst/>
              <a:gdLst>
                <a:gd name="connsiteX0" fmla="*/ 75308 w 75307"/>
                <a:gd name="connsiteY0" fmla="*/ 0 h 57374"/>
                <a:gd name="connsiteX1" fmla="*/ 75308 w 75307"/>
                <a:gd name="connsiteY1" fmla="*/ 57375 h 57374"/>
                <a:gd name="connsiteX2" fmla="*/ 0 w 75307"/>
                <a:gd name="connsiteY2" fmla="*/ 57375 h 57374"/>
                <a:gd name="connsiteX3" fmla="*/ 0 w 75307"/>
                <a:gd name="connsiteY3" fmla="*/ 0 h 57374"/>
                <a:gd name="connsiteX4" fmla="*/ 9590 w 75307"/>
                <a:gd name="connsiteY4" fmla="*/ 0 h 57374"/>
                <a:gd name="connsiteX5" fmla="*/ 9590 w 75307"/>
                <a:gd name="connsiteY5" fmla="*/ 48613 h 57374"/>
                <a:gd name="connsiteX6" fmla="*/ 33000 w 75307"/>
                <a:gd name="connsiteY6" fmla="*/ 48613 h 57374"/>
                <a:gd name="connsiteX7" fmla="*/ 33000 w 75307"/>
                <a:gd name="connsiteY7" fmla="*/ 0 h 57374"/>
                <a:gd name="connsiteX8" fmla="*/ 42308 w 75307"/>
                <a:gd name="connsiteY8" fmla="*/ 0 h 57374"/>
                <a:gd name="connsiteX9" fmla="*/ 42308 w 75307"/>
                <a:gd name="connsiteY9" fmla="*/ 48613 h 57374"/>
                <a:gd name="connsiteX10" fmla="*/ 65718 w 75307"/>
                <a:gd name="connsiteY10" fmla="*/ 48613 h 57374"/>
                <a:gd name="connsiteX11" fmla="*/ 65718 w 75307"/>
                <a:gd name="connsiteY11" fmla="*/ 0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307" h="57374">
                  <a:moveTo>
                    <a:pt x="75308" y="0"/>
                  </a:moveTo>
                  <a:lnTo>
                    <a:pt x="75308" y="57375"/>
                  </a:lnTo>
                  <a:lnTo>
                    <a:pt x="0" y="57375"/>
                  </a:lnTo>
                  <a:lnTo>
                    <a:pt x="0" y="0"/>
                  </a:lnTo>
                  <a:lnTo>
                    <a:pt x="9590" y="0"/>
                  </a:lnTo>
                  <a:lnTo>
                    <a:pt x="9590" y="48613"/>
                  </a:lnTo>
                  <a:lnTo>
                    <a:pt x="33000" y="48613"/>
                  </a:lnTo>
                  <a:lnTo>
                    <a:pt x="33000" y="0"/>
                  </a:lnTo>
                  <a:lnTo>
                    <a:pt x="42308" y="0"/>
                  </a:lnTo>
                  <a:lnTo>
                    <a:pt x="42308" y="48613"/>
                  </a:lnTo>
                  <a:lnTo>
                    <a:pt x="65718" y="48613"/>
                  </a:lnTo>
                  <a:lnTo>
                    <a:pt x="65718" y="0"/>
                  </a:lnTo>
                  <a:close/>
                </a:path>
              </a:pathLst>
            </a:custGeom>
            <a:solidFill>
              <a:srgbClr val="7F8183"/>
            </a:solidFill>
            <a:ln w="2790" cap="flat">
              <a:noFill/>
              <a:prstDash val="solid"/>
              <a:miter/>
            </a:ln>
          </p:spPr>
          <p:txBody>
            <a:bodyPr rtlCol="0" anchor="ctr"/>
            <a:lstStyle/>
            <a:p>
              <a:endParaRPr lang="x-none" sz="1905"/>
            </a:p>
          </p:txBody>
        </p:sp>
        <p:sp>
          <p:nvSpPr>
            <p:cNvPr id="18" name="Freeform 17">
              <a:extLst>
                <a:ext uri="{FF2B5EF4-FFF2-40B4-BE49-F238E27FC236}">
                  <a16:creationId xmlns:a16="http://schemas.microsoft.com/office/drawing/2014/main" id="{13821BAE-ED59-EF49-8475-A4760287AA34}"/>
                </a:ext>
              </a:extLst>
            </p:cNvPr>
            <p:cNvSpPr/>
            <p:nvPr/>
          </p:nvSpPr>
          <p:spPr>
            <a:xfrm>
              <a:off x="1695593" y="5811307"/>
              <a:ext cx="51615" cy="59635"/>
            </a:xfrm>
            <a:custGeom>
              <a:avLst/>
              <a:gdLst>
                <a:gd name="connsiteX0" fmla="*/ 26795 w 51615"/>
                <a:gd name="connsiteY0" fmla="*/ 7914 h 59635"/>
                <a:gd name="connsiteX1" fmla="*/ 15795 w 51615"/>
                <a:gd name="connsiteY1" fmla="*/ 12153 h 59635"/>
                <a:gd name="connsiteX2" fmla="*/ 10154 w 51615"/>
                <a:gd name="connsiteY2" fmla="*/ 23176 h 59635"/>
                <a:gd name="connsiteX3" fmla="*/ 42308 w 51615"/>
                <a:gd name="connsiteY3" fmla="*/ 23176 h 59635"/>
                <a:gd name="connsiteX4" fmla="*/ 38359 w 51615"/>
                <a:gd name="connsiteY4" fmla="*/ 12153 h 59635"/>
                <a:gd name="connsiteX5" fmla="*/ 26795 w 51615"/>
                <a:gd name="connsiteY5" fmla="*/ 7914 h 59635"/>
                <a:gd name="connsiteX6" fmla="*/ 51615 w 51615"/>
                <a:gd name="connsiteY6" fmla="*/ 31372 h 59635"/>
                <a:gd name="connsiteX7" fmla="*/ 9590 w 51615"/>
                <a:gd name="connsiteY7" fmla="*/ 31372 h 59635"/>
                <a:gd name="connsiteX8" fmla="*/ 14949 w 51615"/>
                <a:gd name="connsiteY8" fmla="*/ 46069 h 59635"/>
                <a:gd name="connsiteX9" fmla="*/ 27077 w 51615"/>
                <a:gd name="connsiteY9" fmla="*/ 51157 h 59635"/>
                <a:gd name="connsiteX10" fmla="*/ 37513 w 51615"/>
                <a:gd name="connsiteY10" fmla="*/ 48048 h 59635"/>
                <a:gd name="connsiteX11" fmla="*/ 42308 w 51615"/>
                <a:gd name="connsiteY11" fmla="*/ 40699 h 59635"/>
                <a:gd name="connsiteX12" fmla="*/ 51333 w 51615"/>
                <a:gd name="connsiteY12" fmla="*/ 42395 h 59635"/>
                <a:gd name="connsiteX13" fmla="*/ 42872 w 51615"/>
                <a:gd name="connsiteY13" fmla="*/ 55114 h 59635"/>
                <a:gd name="connsiteX14" fmla="*/ 26795 w 51615"/>
                <a:gd name="connsiteY14" fmla="*/ 59636 h 59635"/>
                <a:gd name="connsiteX15" fmla="*/ 7333 w 51615"/>
                <a:gd name="connsiteY15" fmla="*/ 51722 h 59635"/>
                <a:gd name="connsiteX16" fmla="*/ 0 w 51615"/>
                <a:gd name="connsiteY16" fmla="*/ 29677 h 59635"/>
                <a:gd name="connsiteX17" fmla="*/ 1974 w 51615"/>
                <a:gd name="connsiteY17" fmla="*/ 16958 h 59635"/>
                <a:gd name="connsiteX18" fmla="*/ 7615 w 51615"/>
                <a:gd name="connsiteY18" fmla="*/ 7631 h 59635"/>
                <a:gd name="connsiteX19" fmla="*/ 16077 w 51615"/>
                <a:gd name="connsiteY19" fmla="*/ 1978 h 59635"/>
                <a:gd name="connsiteX20" fmla="*/ 26513 w 51615"/>
                <a:gd name="connsiteY20" fmla="*/ 0 h 59635"/>
                <a:gd name="connsiteX21" fmla="*/ 44564 w 51615"/>
                <a:gd name="connsiteY21" fmla="*/ 7348 h 59635"/>
                <a:gd name="connsiteX22" fmla="*/ 51333 w 51615"/>
                <a:gd name="connsiteY22" fmla="*/ 27698 h 59635"/>
                <a:gd name="connsiteX23" fmla="*/ 51333 w 51615"/>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615" h="59635">
                  <a:moveTo>
                    <a:pt x="26795" y="7914"/>
                  </a:moveTo>
                  <a:cubicBezTo>
                    <a:pt x="22282" y="7914"/>
                    <a:pt x="18615" y="9327"/>
                    <a:pt x="15795" y="12153"/>
                  </a:cubicBezTo>
                  <a:cubicBezTo>
                    <a:pt x="12692" y="14980"/>
                    <a:pt x="11000" y="18654"/>
                    <a:pt x="10154" y="23176"/>
                  </a:cubicBezTo>
                  <a:lnTo>
                    <a:pt x="42308" y="23176"/>
                  </a:lnTo>
                  <a:cubicBezTo>
                    <a:pt x="42026" y="18654"/>
                    <a:pt x="40615" y="14980"/>
                    <a:pt x="38359" y="12153"/>
                  </a:cubicBezTo>
                  <a:cubicBezTo>
                    <a:pt x="35539" y="9327"/>
                    <a:pt x="31590" y="7914"/>
                    <a:pt x="26795" y="7914"/>
                  </a:cubicBezTo>
                  <a:moveTo>
                    <a:pt x="51615"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8"/>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19" name="Freeform 18">
              <a:extLst>
                <a:ext uri="{FF2B5EF4-FFF2-40B4-BE49-F238E27FC236}">
                  <a16:creationId xmlns:a16="http://schemas.microsoft.com/office/drawing/2014/main" id="{B5C37FE3-3612-AF46-B14A-4E9AC2F3058A}"/>
                </a:ext>
              </a:extLst>
            </p:cNvPr>
            <p:cNvSpPr/>
            <p:nvPr/>
          </p:nvSpPr>
          <p:spPr>
            <a:xfrm>
              <a:off x="1761029" y="5812155"/>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20" name="Freeform 19">
              <a:extLst>
                <a:ext uri="{FF2B5EF4-FFF2-40B4-BE49-F238E27FC236}">
                  <a16:creationId xmlns:a16="http://schemas.microsoft.com/office/drawing/2014/main" id="{53041A46-B09F-B442-949D-446DFBE72AC5}"/>
                </a:ext>
              </a:extLst>
            </p:cNvPr>
            <p:cNvSpPr/>
            <p:nvPr/>
          </p:nvSpPr>
          <p:spPr>
            <a:xfrm>
              <a:off x="1825055" y="5810742"/>
              <a:ext cx="50769" cy="59918"/>
            </a:xfrm>
            <a:custGeom>
              <a:avLst/>
              <a:gdLst>
                <a:gd name="connsiteX0" fmla="*/ 41744 w 50769"/>
                <a:gd name="connsiteY0" fmla="*/ 40134 h 59918"/>
                <a:gd name="connsiteX1" fmla="*/ 50769 w 50769"/>
                <a:gd name="connsiteY1" fmla="*/ 41547 h 59918"/>
                <a:gd name="connsiteX2" fmla="*/ 43154 w 50769"/>
                <a:gd name="connsiteY2" fmla="*/ 54548 h 59918"/>
                <a:gd name="connsiteX3" fmla="*/ 26513 w 50769"/>
                <a:gd name="connsiteY3" fmla="*/ 59919 h 59918"/>
                <a:gd name="connsiteX4" fmla="*/ 7333 w 50769"/>
                <a:gd name="connsiteY4" fmla="*/ 52287 h 59918"/>
                <a:gd name="connsiteX5" fmla="*/ 0 w 50769"/>
                <a:gd name="connsiteY5" fmla="*/ 29959 h 59918"/>
                <a:gd name="connsiteX6" fmla="*/ 1974 w 50769"/>
                <a:gd name="connsiteY6" fmla="*/ 16675 h 59918"/>
                <a:gd name="connsiteX7" fmla="*/ 7615 w 50769"/>
                <a:gd name="connsiteY7" fmla="*/ 7348 h 59918"/>
                <a:gd name="connsiteX8" fmla="*/ 16077 w 50769"/>
                <a:gd name="connsiteY8" fmla="*/ 1696 h 59918"/>
                <a:gd name="connsiteX9" fmla="*/ 26513 w 50769"/>
                <a:gd name="connsiteY9" fmla="*/ 0 h 59918"/>
                <a:gd name="connsiteX10" fmla="*/ 43436 w 50769"/>
                <a:gd name="connsiteY10" fmla="*/ 5370 h 59918"/>
                <a:gd name="connsiteX11" fmla="*/ 50769 w 50769"/>
                <a:gd name="connsiteY11" fmla="*/ 18089 h 59918"/>
                <a:gd name="connsiteX12" fmla="*/ 42026 w 50769"/>
                <a:gd name="connsiteY12" fmla="*/ 19784 h 59918"/>
                <a:gd name="connsiteX13" fmla="*/ 37513 w 50769"/>
                <a:gd name="connsiteY13" fmla="*/ 12153 h 59918"/>
                <a:gd name="connsiteX14" fmla="*/ 26795 w 50769"/>
                <a:gd name="connsiteY14" fmla="*/ 8479 h 59918"/>
                <a:gd name="connsiteX15" fmla="*/ 14103 w 50769"/>
                <a:gd name="connsiteY15" fmla="*/ 14132 h 59918"/>
                <a:gd name="connsiteX16" fmla="*/ 9590 w 50769"/>
                <a:gd name="connsiteY16" fmla="*/ 29677 h 59918"/>
                <a:gd name="connsiteX17" fmla="*/ 14103 w 50769"/>
                <a:gd name="connsiteY17" fmla="*/ 45222 h 59918"/>
                <a:gd name="connsiteX18" fmla="*/ 26795 w 50769"/>
                <a:gd name="connsiteY18" fmla="*/ 51157 h 59918"/>
                <a:gd name="connsiteX19" fmla="*/ 37795 w 50769"/>
                <a:gd name="connsiteY19" fmla="*/ 47483 h 59918"/>
                <a:gd name="connsiteX20" fmla="*/ 41744 w 50769"/>
                <a:gd name="connsiteY20" fmla="*/ 40134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769" h="59918">
                  <a:moveTo>
                    <a:pt x="41744" y="40134"/>
                  </a:moveTo>
                  <a:lnTo>
                    <a:pt x="50769" y="41547"/>
                  </a:lnTo>
                  <a:cubicBezTo>
                    <a:pt x="49641" y="46635"/>
                    <a:pt x="47103" y="51157"/>
                    <a:pt x="43154" y="54548"/>
                  </a:cubicBezTo>
                  <a:cubicBezTo>
                    <a:pt x="39205" y="58223"/>
                    <a:pt x="33564" y="59919"/>
                    <a:pt x="26513" y="59919"/>
                  </a:cubicBezTo>
                  <a:cubicBezTo>
                    <a:pt x="18615" y="59919"/>
                    <a:pt x="12128" y="57375"/>
                    <a:pt x="7333" y="52287"/>
                  </a:cubicBezTo>
                  <a:cubicBezTo>
                    <a:pt x="2538" y="47200"/>
                    <a:pt x="0" y="39851"/>
                    <a:pt x="0" y="29959"/>
                  </a:cubicBezTo>
                  <a:cubicBezTo>
                    <a:pt x="0" y="24872"/>
                    <a:pt x="564" y="20350"/>
                    <a:pt x="1974" y="16675"/>
                  </a:cubicBezTo>
                  <a:cubicBezTo>
                    <a:pt x="3385" y="13001"/>
                    <a:pt x="5359" y="9892"/>
                    <a:pt x="7615" y="7348"/>
                  </a:cubicBezTo>
                  <a:cubicBezTo>
                    <a:pt x="9872" y="4805"/>
                    <a:pt x="12692" y="3109"/>
                    <a:pt x="16077" y="1696"/>
                  </a:cubicBezTo>
                  <a:cubicBezTo>
                    <a:pt x="19462" y="565"/>
                    <a:pt x="22846" y="0"/>
                    <a:pt x="26513" y="0"/>
                  </a:cubicBezTo>
                  <a:cubicBezTo>
                    <a:pt x="33846" y="0"/>
                    <a:pt x="39487" y="1696"/>
                    <a:pt x="43436" y="5370"/>
                  </a:cubicBezTo>
                  <a:cubicBezTo>
                    <a:pt x="47385" y="9044"/>
                    <a:pt x="49641" y="13284"/>
                    <a:pt x="50769" y="18089"/>
                  </a:cubicBezTo>
                  <a:lnTo>
                    <a:pt x="42026" y="19784"/>
                  </a:lnTo>
                  <a:cubicBezTo>
                    <a:pt x="41179" y="16958"/>
                    <a:pt x="39769" y="14414"/>
                    <a:pt x="37513" y="12153"/>
                  </a:cubicBezTo>
                  <a:cubicBezTo>
                    <a:pt x="35256" y="9892"/>
                    <a:pt x="31590" y="8479"/>
                    <a:pt x="26795" y="8479"/>
                  </a:cubicBezTo>
                  <a:cubicBezTo>
                    <a:pt x="21436" y="8479"/>
                    <a:pt x="17205" y="10457"/>
                    <a:pt x="14103" y="14132"/>
                  </a:cubicBezTo>
                  <a:cubicBezTo>
                    <a:pt x="11000" y="18089"/>
                    <a:pt x="9590" y="23176"/>
                    <a:pt x="9590" y="29677"/>
                  </a:cubicBezTo>
                  <a:cubicBezTo>
                    <a:pt x="9590" y="36177"/>
                    <a:pt x="11000" y="41265"/>
                    <a:pt x="14103" y="45222"/>
                  </a:cubicBezTo>
                  <a:cubicBezTo>
                    <a:pt x="16923" y="49178"/>
                    <a:pt x="21154" y="51157"/>
                    <a:pt x="26795" y="51157"/>
                  </a:cubicBezTo>
                  <a:cubicBezTo>
                    <a:pt x="31872" y="51157"/>
                    <a:pt x="35538" y="50026"/>
                    <a:pt x="37795" y="47483"/>
                  </a:cubicBezTo>
                  <a:cubicBezTo>
                    <a:pt x="39487" y="45504"/>
                    <a:pt x="40897" y="42960"/>
                    <a:pt x="41744" y="40134"/>
                  </a:cubicBezTo>
                </a:path>
              </a:pathLst>
            </a:custGeom>
            <a:solidFill>
              <a:srgbClr val="7F8183"/>
            </a:solidFill>
            <a:ln w="2790" cap="flat">
              <a:noFill/>
              <a:prstDash val="solid"/>
              <a:miter/>
            </a:ln>
          </p:spPr>
          <p:txBody>
            <a:bodyPr rtlCol="0" anchor="ctr"/>
            <a:lstStyle/>
            <a:p>
              <a:endParaRPr lang="x-none" sz="1905"/>
            </a:p>
          </p:txBody>
        </p:sp>
        <p:sp>
          <p:nvSpPr>
            <p:cNvPr id="21" name="Freeform 20">
              <a:extLst>
                <a:ext uri="{FF2B5EF4-FFF2-40B4-BE49-F238E27FC236}">
                  <a16:creationId xmlns:a16="http://schemas.microsoft.com/office/drawing/2014/main" id="{3ADF56F6-FF94-DB49-A1A5-A74AC9608AC7}"/>
                </a:ext>
              </a:extLst>
            </p:cNvPr>
            <p:cNvSpPr/>
            <p:nvPr/>
          </p:nvSpPr>
          <p:spPr>
            <a:xfrm>
              <a:off x="1882875" y="5812155"/>
              <a:ext cx="51333" cy="57374"/>
            </a:xfrm>
            <a:custGeom>
              <a:avLst/>
              <a:gdLst>
                <a:gd name="connsiteX0" fmla="*/ 0 w 51333"/>
                <a:gd name="connsiteY0" fmla="*/ 9044 h 57374"/>
                <a:gd name="connsiteX1" fmla="*/ 0 w 51333"/>
                <a:gd name="connsiteY1" fmla="*/ 0 h 57374"/>
                <a:gd name="connsiteX2" fmla="*/ 51333 w 51333"/>
                <a:gd name="connsiteY2" fmla="*/ 0 h 57374"/>
                <a:gd name="connsiteX3" fmla="*/ 51333 w 51333"/>
                <a:gd name="connsiteY3" fmla="*/ 9044 h 57374"/>
                <a:gd name="connsiteX4" fmla="*/ 30462 w 51333"/>
                <a:gd name="connsiteY4" fmla="*/ 9044 h 57374"/>
                <a:gd name="connsiteX5" fmla="*/ 30462 w 51333"/>
                <a:gd name="connsiteY5" fmla="*/ 57375 h 57374"/>
                <a:gd name="connsiteX6" fmla="*/ 20872 w 51333"/>
                <a:gd name="connsiteY6" fmla="*/ 57375 h 57374"/>
                <a:gd name="connsiteX7" fmla="*/ 20872 w 51333"/>
                <a:gd name="connsiteY7" fmla="*/ 9044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333" h="57374">
                  <a:moveTo>
                    <a:pt x="0" y="9044"/>
                  </a:moveTo>
                  <a:lnTo>
                    <a:pt x="0" y="0"/>
                  </a:lnTo>
                  <a:lnTo>
                    <a:pt x="51333" y="0"/>
                  </a:lnTo>
                  <a:lnTo>
                    <a:pt x="51333" y="9044"/>
                  </a:lnTo>
                  <a:lnTo>
                    <a:pt x="30462" y="9044"/>
                  </a:lnTo>
                  <a:lnTo>
                    <a:pt x="30462" y="57375"/>
                  </a:lnTo>
                  <a:lnTo>
                    <a:pt x="20872" y="57375"/>
                  </a:lnTo>
                  <a:lnTo>
                    <a:pt x="20872" y="9044"/>
                  </a:lnTo>
                  <a:close/>
                </a:path>
              </a:pathLst>
            </a:custGeom>
            <a:solidFill>
              <a:srgbClr val="7F8183"/>
            </a:solidFill>
            <a:ln w="2790" cap="flat">
              <a:noFill/>
              <a:prstDash val="solid"/>
              <a:miter/>
            </a:ln>
          </p:spPr>
          <p:txBody>
            <a:bodyPr rtlCol="0" anchor="ctr"/>
            <a:lstStyle/>
            <a:p>
              <a:endParaRPr lang="x-none" sz="1905"/>
            </a:p>
          </p:txBody>
        </p:sp>
        <p:grpSp>
          <p:nvGrpSpPr>
            <p:cNvPr id="22" name="Graphic 13">
              <a:extLst>
                <a:ext uri="{FF2B5EF4-FFF2-40B4-BE49-F238E27FC236}">
                  <a16:creationId xmlns:a16="http://schemas.microsoft.com/office/drawing/2014/main" id="{07D8688A-A1C6-824F-9702-4CAFEFF7A0AA}"/>
                </a:ext>
              </a:extLst>
            </p:cNvPr>
            <p:cNvGrpSpPr/>
            <p:nvPr/>
          </p:nvGrpSpPr>
          <p:grpSpPr>
            <a:xfrm>
              <a:off x="1946055" y="5811024"/>
              <a:ext cx="110282" cy="59918"/>
              <a:chOff x="1946055" y="5811024"/>
              <a:chExt cx="110282" cy="59918"/>
            </a:xfrm>
            <a:solidFill>
              <a:srgbClr val="CFD4D9"/>
            </a:solidFill>
          </p:grpSpPr>
          <p:sp>
            <p:nvSpPr>
              <p:cNvPr id="24" name="Freeform 23">
                <a:extLst>
                  <a:ext uri="{FF2B5EF4-FFF2-40B4-BE49-F238E27FC236}">
                    <a16:creationId xmlns:a16="http://schemas.microsoft.com/office/drawing/2014/main" id="{F3DBE123-7DDD-B049-91F1-6B23E00BCE77}"/>
                  </a:ext>
                </a:extLst>
              </p:cNvPr>
              <p:cNvSpPr/>
              <p:nvPr/>
            </p:nvSpPr>
            <p:spPr>
              <a:xfrm>
                <a:off x="1946055" y="5812155"/>
                <a:ext cx="45410" cy="57657"/>
              </a:xfrm>
              <a:custGeom>
                <a:avLst/>
                <a:gdLst>
                  <a:gd name="connsiteX0" fmla="*/ 26231 w 45410"/>
                  <a:gd name="connsiteY0" fmla="*/ 32220 h 57657"/>
                  <a:gd name="connsiteX1" fmla="*/ 9308 w 45410"/>
                  <a:gd name="connsiteY1" fmla="*/ 32220 h 57657"/>
                  <a:gd name="connsiteX2" fmla="*/ 9308 w 45410"/>
                  <a:gd name="connsiteY2" fmla="*/ 49178 h 57657"/>
                  <a:gd name="connsiteX3" fmla="*/ 26231 w 45410"/>
                  <a:gd name="connsiteY3" fmla="*/ 49178 h 57657"/>
                  <a:gd name="connsiteX4" fmla="*/ 34128 w 45410"/>
                  <a:gd name="connsiteY4" fmla="*/ 46917 h 57657"/>
                  <a:gd name="connsiteX5" fmla="*/ 36385 w 45410"/>
                  <a:gd name="connsiteY5" fmla="*/ 40699 h 57657"/>
                  <a:gd name="connsiteX6" fmla="*/ 33846 w 45410"/>
                  <a:gd name="connsiteY6" fmla="*/ 34199 h 57657"/>
                  <a:gd name="connsiteX7" fmla="*/ 26231 w 45410"/>
                  <a:gd name="connsiteY7" fmla="*/ 32220 h 57657"/>
                  <a:gd name="connsiteX8" fmla="*/ 24538 w 45410"/>
                  <a:gd name="connsiteY8" fmla="*/ 8196 h 57657"/>
                  <a:gd name="connsiteX9" fmla="*/ 9308 w 45410"/>
                  <a:gd name="connsiteY9" fmla="*/ 8196 h 57657"/>
                  <a:gd name="connsiteX10" fmla="*/ 9308 w 45410"/>
                  <a:gd name="connsiteY10" fmla="*/ 24307 h 57657"/>
                  <a:gd name="connsiteX11" fmla="*/ 25385 w 45410"/>
                  <a:gd name="connsiteY11" fmla="*/ 24307 h 57657"/>
                  <a:gd name="connsiteX12" fmla="*/ 32436 w 45410"/>
                  <a:gd name="connsiteY12" fmla="*/ 22328 h 57657"/>
                  <a:gd name="connsiteX13" fmla="*/ 34692 w 45410"/>
                  <a:gd name="connsiteY13" fmla="*/ 16110 h 57657"/>
                  <a:gd name="connsiteX14" fmla="*/ 32436 w 45410"/>
                  <a:gd name="connsiteY14" fmla="*/ 9892 h 57657"/>
                  <a:gd name="connsiteX15" fmla="*/ 24538 w 45410"/>
                  <a:gd name="connsiteY15" fmla="*/ 8196 h 57657"/>
                  <a:gd name="connsiteX16" fmla="*/ 0 w 45410"/>
                  <a:gd name="connsiteY16" fmla="*/ 57375 h 57657"/>
                  <a:gd name="connsiteX17" fmla="*/ 0 w 45410"/>
                  <a:gd name="connsiteY17" fmla="*/ 0 h 57657"/>
                  <a:gd name="connsiteX18" fmla="*/ 24538 w 45410"/>
                  <a:gd name="connsiteY18" fmla="*/ 0 h 57657"/>
                  <a:gd name="connsiteX19" fmla="*/ 38923 w 45410"/>
                  <a:gd name="connsiteY19" fmla="*/ 3957 h 57657"/>
                  <a:gd name="connsiteX20" fmla="*/ 44000 w 45410"/>
                  <a:gd name="connsiteY20" fmla="*/ 15545 h 57657"/>
                  <a:gd name="connsiteX21" fmla="*/ 42308 w 45410"/>
                  <a:gd name="connsiteY21" fmla="*/ 22328 h 57657"/>
                  <a:gd name="connsiteX22" fmla="*/ 35821 w 45410"/>
                  <a:gd name="connsiteY22" fmla="*/ 27698 h 57657"/>
                  <a:gd name="connsiteX23" fmla="*/ 43154 w 45410"/>
                  <a:gd name="connsiteY23" fmla="*/ 32786 h 57657"/>
                  <a:gd name="connsiteX24" fmla="*/ 45410 w 45410"/>
                  <a:gd name="connsiteY24" fmla="*/ 41265 h 57657"/>
                  <a:gd name="connsiteX25" fmla="*/ 40898 w 45410"/>
                  <a:gd name="connsiteY25" fmla="*/ 53135 h 57657"/>
                  <a:gd name="connsiteX26" fmla="*/ 26231 w 45410"/>
                  <a:gd name="connsiteY26" fmla="*/ 57657 h 57657"/>
                  <a:gd name="connsiteX27" fmla="*/ 0 w 45410"/>
                  <a:gd name="connsiteY27" fmla="*/ 57657 h 5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5410" h="57657">
                    <a:moveTo>
                      <a:pt x="26231" y="32220"/>
                    </a:moveTo>
                    <a:lnTo>
                      <a:pt x="9308" y="32220"/>
                    </a:lnTo>
                    <a:lnTo>
                      <a:pt x="9308" y="49178"/>
                    </a:lnTo>
                    <a:lnTo>
                      <a:pt x="26231" y="49178"/>
                    </a:lnTo>
                    <a:cubicBezTo>
                      <a:pt x="29897" y="49178"/>
                      <a:pt x="32436" y="48330"/>
                      <a:pt x="34128" y="46917"/>
                    </a:cubicBezTo>
                    <a:cubicBezTo>
                      <a:pt x="35538" y="45504"/>
                      <a:pt x="36385" y="43526"/>
                      <a:pt x="36385" y="40699"/>
                    </a:cubicBezTo>
                    <a:cubicBezTo>
                      <a:pt x="36385" y="37590"/>
                      <a:pt x="35538" y="35612"/>
                      <a:pt x="33846" y="34199"/>
                    </a:cubicBezTo>
                    <a:cubicBezTo>
                      <a:pt x="32436" y="33068"/>
                      <a:pt x="29897" y="32220"/>
                      <a:pt x="26231" y="32220"/>
                    </a:cubicBezTo>
                    <a:moveTo>
                      <a:pt x="24538" y="8196"/>
                    </a:moveTo>
                    <a:lnTo>
                      <a:pt x="9308" y="8196"/>
                    </a:lnTo>
                    <a:lnTo>
                      <a:pt x="9308" y="24307"/>
                    </a:lnTo>
                    <a:lnTo>
                      <a:pt x="25385" y="24307"/>
                    </a:lnTo>
                    <a:cubicBezTo>
                      <a:pt x="28487" y="24307"/>
                      <a:pt x="31026" y="23741"/>
                      <a:pt x="32436" y="22328"/>
                    </a:cubicBezTo>
                    <a:cubicBezTo>
                      <a:pt x="34128" y="20915"/>
                      <a:pt x="34692" y="18937"/>
                      <a:pt x="34692" y="16110"/>
                    </a:cubicBezTo>
                    <a:cubicBezTo>
                      <a:pt x="34692" y="13284"/>
                      <a:pt x="33846" y="11305"/>
                      <a:pt x="32436" y="9892"/>
                    </a:cubicBezTo>
                    <a:cubicBezTo>
                      <a:pt x="31308" y="9044"/>
                      <a:pt x="28487" y="8196"/>
                      <a:pt x="24538" y="8196"/>
                    </a:cubicBezTo>
                    <a:moveTo>
                      <a:pt x="0" y="57375"/>
                    </a:moveTo>
                    <a:lnTo>
                      <a:pt x="0" y="0"/>
                    </a:lnTo>
                    <a:lnTo>
                      <a:pt x="24538" y="0"/>
                    </a:lnTo>
                    <a:cubicBezTo>
                      <a:pt x="30744" y="0"/>
                      <a:pt x="35538" y="1413"/>
                      <a:pt x="38923" y="3957"/>
                    </a:cubicBezTo>
                    <a:cubicBezTo>
                      <a:pt x="42308" y="6501"/>
                      <a:pt x="44000" y="10457"/>
                      <a:pt x="44000" y="15545"/>
                    </a:cubicBezTo>
                    <a:cubicBezTo>
                      <a:pt x="44000" y="17806"/>
                      <a:pt x="43436" y="20067"/>
                      <a:pt x="42308" y="22328"/>
                    </a:cubicBezTo>
                    <a:cubicBezTo>
                      <a:pt x="41179" y="24589"/>
                      <a:pt x="39205" y="26568"/>
                      <a:pt x="35821" y="27698"/>
                    </a:cubicBezTo>
                    <a:cubicBezTo>
                      <a:pt x="39205" y="28829"/>
                      <a:pt x="41744" y="30524"/>
                      <a:pt x="43154" y="32786"/>
                    </a:cubicBezTo>
                    <a:cubicBezTo>
                      <a:pt x="44564" y="35047"/>
                      <a:pt x="45410" y="37873"/>
                      <a:pt x="45410" y="41265"/>
                    </a:cubicBezTo>
                    <a:cubicBezTo>
                      <a:pt x="45410" y="46069"/>
                      <a:pt x="44000" y="50026"/>
                      <a:pt x="40898" y="53135"/>
                    </a:cubicBezTo>
                    <a:cubicBezTo>
                      <a:pt x="37795" y="55962"/>
                      <a:pt x="33000" y="57657"/>
                      <a:pt x="26231" y="57657"/>
                    </a:cubicBezTo>
                    <a:lnTo>
                      <a:pt x="0" y="57657"/>
                    </a:lnTo>
                    <a:close/>
                  </a:path>
                </a:pathLst>
              </a:custGeom>
              <a:solidFill>
                <a:srgbClr val="7F8183"/>
              </a:solidFill>
              <a:ln w="2790" cap="flat">
                <a:noFill/>
                <a:prstDash val="solid"/>
                <a:miter/>
              </a:ln>
            </p:spPr>
            <p:txBody>
              <a:bodyPr rtlCol="0" anchor="ctr"/>
              <a:lstStyle/>
              <a:p>
                <a:endParaRPr lang="x-none" sz="1905"/>
              </a:p>
            </p:txBody>
          </p:sp>
          <p:sp>
            <p:nvSpPr>
              <p:cNvPr id="25" name="Freeform 24">
                <a:extLst>
                  <a:ext uri="{FF2B5EF4-FFF2-40B4-BE49-F238E27FC236}">
                    <a16:creationId xmlns:a16="http://schemas.microsoft.com/office/drawing/2014/main" id="{D89E6EF4-F77E-4D4C-9728-8808DAF95249}"/>
                  </a:ext>
                </a:extLst>
              </p:cNvPr>
              <p:cNvSpPr/>
              <p:nvPr/>
            </p:nvSpPr>
            <p:spPr>
              <a:xfrm>
                <a:off x="2002465" y="5811024"/>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487" y="49461"/>
                      <a:pt x="21718"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764"/>
                      <a:pt x="0" y="29959"/>
                    </a:cubicBezTo>
                    <a:cubicBezTo>
                      <a:pt x="0" y="20350"/>
                      <a:pt x="2538" y="13001"/>
                      <a:pt x="7615" y="7914"/>
                    </a:cubicBezTo>
                    <a:cubicBezTo>
                      <a:pt x="12692" y="2826"/>
                      <a:pt x="19179" y="0"/>
                      <a:pt x="27359" y="0"/>
                    </a:cubicBezTo>
                    <a:cubicBezTo>
                      <a:pt x="35256" y="0"/>
                      <a:pt x="41744" y="2544"/>
                      <a:pt x="46539" y="7914"/>
                    </a:cubicBezTo>
                    <a:cubicBezTo>
                      <a:pt x="51333" y="13001"/>
                      <a:pt x="53872" y="20350"/>
                      <a:pt x="53872" y="29959"/>
                    </a:cubicBezTo>
                    <a:cubicBezTo>
                      <a:pt x="53872" y="39286"/>
                      <a:pt x="51333" y="46635"/>
                      <a:pt x="46539" y="52005"/>
                    </a:cubicBezTo>
                    <a:cubicBezTo>
                      <a:pt x="41462" y="57092"/>
                      <a:pt x="35256" y="59919"/>
                      <a:pt x="27359" y="59919"/>
                    </a:cubicBezTo>
                  </a:path>
                </a:pathLst>
              </a:custGeom>
              <a:solidFill>
                <a:srgbClr val="7F8183"/>
              </a:solidFill>
              <a:ln w="2790" cap="flat">
                <a:noFill/>
                <a:prstDash val="solid"/>
                <a:miter/>
              </a:ln>
            </p:spPr>
            <p:txBody>
              <a:bodyPr rtlCol="0" anchor="ctr"/>
              <a:lstStyle/>
              <a:p>
                <a:endParaRPr lang="x-none" sz="1905"/>
              </a:p>
            </p:txBody>
          </p:sp>
        </p:grpSp>
        <p:sp>
          <p:nvSpPr>
            <p:cNvPr id="26" name="Freeform 25">
              <a:extLst>
                <a:ext uri="{FF2B5EF4-FFF2-40B4-BE49-F238E27FC236}">
                  <a16:creationId xmlns:a16="http://schemas.microsoft.com/office/drawing/2014/main" id="{FE287936-BCDB-254B-A341-5566F1B56D4D}"/>
                </a:ext>
              </a:extLst>
            </p:cNvPr>
            <p:cNvSpPr/>
            <p:nvPr/>
          </p:nvSpPr>
          <p:spPr>
            <a:xfrm>
              <a:off x="1266593" y="5935383"/>
              <a:ext cx="48230" cy="57374"/>
            </a:xfrm>
            <a:custGeom>
              <a:avLst/>
              <a:gdLst>
                <a:gd name="connsiteX0" fmla="*/ 0 w 48230"/>
                <a:gd name="connsiteY0" fmla="*/ 57375 h 57374"/>
                <a:gd name="connsiteX1" fmla="*/ 0 w 48230"/>
                <a:gd name="connsiteY1" fmla="*/ 0 h 57374"/>
                <a:gd name="connsiteX2" fmla="*/ 48231 w 48230"/>
                <a:gd name="connsiteY2" fmla="*/ 0 h 57374"/>
                <a:gd name="connsiteX3" fmla="*/ 48231 w 48230"/>
                <a:gd name="connsiteY3" fmla="*/ 57375 h 57374"/>
                <a:gd name="connsiteX4" fmla="*/ 38641 w 48230"/>
                <a:gd name="connsiteY4" fmla="*/ 57375 h 57374"/>
                <a:gd name="connsiteX5" fmla="*/ 38641 w 48230"/>
                <a:gd name="connsiteY5" fmla="*/ 9044 h 57374"/>
                <a:gd name="connsiteX6" fmla="*/ 9308 w 48230"/>
                <a:gd name="connsiteY6" fmla="*/ 9044 h 57374"/>
                <a:gd name="connsiteX7" fmla="*/ 9308 w 48230"/>
                <a:gd name="connsiteY7"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30" h="57374">
                  <a:moveTo>
                    <a:pt x="0" y="57375"/>
                  </a:moveTo>
                  <a:lnTo>
                    <a:pt x="0" y="0"/>
                  </a:lnTo>
                  <a:lnTo>
                    <a:pt x="48231" y="0"/>
                  </a:lnTo>
                  <a:lnTo>
                    <a:pt x="48231" y="57375"/>
                  </a:lnTo>
                  <a:lnTo>
                    <a:pt x="38641" y="57375"/>
                  </a:lnTo>
                  <a:lnTo>
                    <a:pt x="38641" y="9044"/>
                  </a:lnTo>
                  <a:lnTo>
                    <a:pt x="9308" y="9044"/>
                  </a:lnTo>
                  <a:lnTo>
                    <a:pt x="9308" y="57375"/>
                  </a:lnTo>
                  <a:close/>
                </a:path>
              </a:pathLst>
            </a:custGeom>
            <a:solidFill>
              <a:srgbClr val="7F8183"/>
            </a:solidFill>
            <a:ln w="2790" cap="flat">
              <a:noFill/>
              <a:prstDash val="solid"/>
              <a:miter/>
            </a:ln>
          </p:spPr>
          <p:txBody>
            <a:bodyPr rtlCol="0" anchor="ctr"/>
            <a:lstStyle/>
            <a:p>
              <a:endParaRPr lang="x-none" sz="1905"/>
            </a:p>
          </p:txBody>
        </p:sp>
        <p:grpSp>
          <p:nvGrpSpPr>
            <p:cNvPr id="27" name="Graphic 13">
              <a:extLst>
                <a:ext uri="{FF2B5EF4-FFF2-40B4-BE49-F238E27FC236}">
                  <a16:creationId xmlns:a16="http://schemas.microsoft.com/office/drawing/2014/main" id="{07D8688A-A1C6-824F-9702-4CAFEFF7A0AA}"/>
                </a:ext>
              </a:extLst>
            </p:cNvPr>
            <p:cNvGrpSpPr/>
            <p:nvPr/>
          </p:nvGrpSpPr>
          <p:grpSpPr>
            <a:xfrm>
              <a:off x="1332593" y="5933970"/>
              <a:ext cx="245948" cy="82246"/>
              <a:chOff x="1332593" y="5933970"/>
              <a:chExt cx="245948" cy="82246"/>
            </a:xfrm>
            <a:solidFill>
              <a:srgbClr val="CFD4D9"/>
            </a:solidFill>
          </p:grpSpPr>
          <p:sp>
            <p:nvSpPr>
              <p:cNvPr id="28" name="Freeform 27">
                <a:extLst>
                  <a:ext uri="{FF2B5EF4-FFF2-40B4-BE49-F238E27FC236}">
                    <a16:creationId xmlns:a16="http://schemas.microsoft.com/office/drawing/2014/main" id="{94FC07B3-E533-4C4E-9701-4D5362465C05}"/>
                  </a:ext>
                </a:extLst>
              </p:cNvPr>
              <p:cNvSpPr/>
              <p:nvPr/>
            </p:nvSpPr>
            <p:spPr>
              <a:xfrm>
                <a:off x="1332593" y="5933970"/>
                <a:ext cx="54153" cy="82246"/>
              </a:xfrm>
              <a:custGeom>
                <a:avLst/>
                <a:gdLst>
                  <a:gd name="connsiteX0" fmla="*/ 9590 w 54153"/>
                  <a:gd name="connsiteY0" fmla="*/ 34764 h 82246"/>
                  <a:gd name="connsiteX1" fmla="*/ 14949 w 54153"/>
                  <a:gd name="connsiteY1" fmla="*/ 46917 h 82246"/>
                  <a:gd name="connsiteX2" fmla="*/ 27641 w 54153"/>
                  <a:gd name="connsiteY2" fmla="*/ 51439 h 82246"/>
                  <a:gd name="connsiteX3" fmla="*/ 40051 w 54153"/>
                  <a:gd name="connsiteY3" fmla="*/ 45504 h 82246"/>
                  <a:gd name="connsiteX4" fmla="*/ 44564 w 54153"/>
                  <a:gd name="connsiteY4" fmla="*/ 29677 h 82246"/>
                  <a:gd name="connsiteX5" fmla="*/ 40051 w 54153"/>
                  <a:gd name="connsiteY5" fmla="*/ 14414 h 82246"/>
                  <a:gd name="connsiteX6" fmla="*/ 27359 w 54153"/>
                  <a:gd name="connsiteY6" fmla="*/ 8479 h 82246"/>
                  <a:gd name="connsiteX7" fmla="*/ 20872 w 54153"/>
                  <a:gd name="connsiteY7" fmla="*/ 9610 h 82246"/>
                  <a:gd name="connsiteX8" fmla="*/ 15231 w 54153"/>
                  <a:gd name="connsiteY8" fmla="*/ 13284 h 82246"/>
                  <a:gd name="connsiteX9" fmla="*/ 11282 w 54153"/>
                  <a:gd name="connsiteY9" fmla="*/ 19219 h 82246"/>
                  <a:gd name="connsiteX10" fmla="*/ 9872 w 54153"/>
                  <a:gd name="connsiteY10" fmla="*/ 27416 h 82246"/>
                  <a:gd name="connsiteX11" fmla="*/ 9872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590" y="34764"/>
                    </a:moveTo>
                    <a:cubicBezTo>
                      <a:pt x="9590" y="40134"/>
                      <a:pt x="11282" y="44091"/>
                      <a:pt x="14949" y="46917"/>
                    </a:cubicBezTo>
                    <a:cubicBezTo>
                      <a:pt x="18615" y="49744"/>
                      <a:pt x="22846" y="51439"/>
                      <a:pt x="27641" y="51439"/>
                    </a:cubicBezTo>
                    <a:cubicBezTo>
                      <a:pt x="33000" y="51439"/>
                      <a:pt x="36949" y="49461"/>
                      <a:pt x="40051" y="45504"/>
                    </a:cubicBezTo>
                    <a:cubicBezTo>
                      <a:pt x="43154" y="41547"/>
                      <a:pt x="44564" y="36460"/>
                      <a:pt x="44564" y="29677"/>
                    </a:cubicBezTo>
                    <a:cubicBezTo>
                      <a:pt x="44564" y="23459"/>
                      <a:pt x="43154" y="18371"/>
                      <a:pt x="40051" y="14414"/>
                    </a:cubicBezTo>
                    <a:cubicBezTo>
                      <a:pt x="36949" y="10457"/>
                      <a:pt x="32718" y="8479"/>
                      <a:pt x="27359" y="8479"/>
                    </a:cubicBezTo>
                    <a:cubicBezTo>
                      <a:pt x="25103" y="8479"/>
                      <a:pt x="22846" y="8762"/>
                      <a:pt x="20872" y="9610"/>
                    </a:cubicBezTo>
                    <a:cubicBezTo>
                      <a:pt x="18897" y="10457"/>
                      <a:pt x="16923" y="11588"/>
                      <a:pt x="15231" y="13284"/>
                    </a:cubicBezTo>
                    <a:cubicBezTo>
                      <a:pt x="13538" y="14980"/>
                      <a:pt x="12128" y="16958"/>
                      <a:pt x="11282" y="19219"/>
                    </a:cubicBezTo>
                    <a:cubicBezTo>
                      <a:pt x="10154" y="21763"/>
                      <a:pt x="9872" y="24307"/>
                      <a:pt x="9872" y="27416"/>
                    </a:cubicBezTo>
                    <a:lnTo>
                      <a:pt x="9872" y="34764"/>
                    </a:lnTo>
                    <a:close/>
                    <a:moveTo>
                      <a:pt x="0" y="82247"/>
                    </a:moveTo>
                    <a:lnTo>
                      <a:pt x="0" y="1413"/>
                    </a:lnTo>
                    <a:lnTo>
                      <a:pt x="9590" y="1413"/>
                    </a:lnTo>
                    <a:lnTo>
                      <a:pt x="9590" y="9044"/>
                    </a:lnTo>
                    <a:cubicBezTo>
                      <a:pt x="11564" y="5935"/>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sp>
            <p:nvSpPr>
              <p:cNvPr id="29" name="Freeform 28">
                <a:extLst>
                  <a:ext uri="{FF2B5EF4-FFF2-40B4-BE49-F238E27FC236}">
                    <a16:creationId xmlns:a16="http://schemas.microsoft.com/office/drawing/2014/main" id="{C2BC0025-EF4E-604A-B099-C6EF6426E625}"/>
                  </a:ext>
                </a:extLst>
              </p:cNvPr>
              <p:cNvSpPr/>
              <p:nvPr/>
            </p:nvSpPr>
            <p:spPr>
              <a:xfrm>
                <a:off x="1397747" y="5934253"/>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487" y="49461"/>
                      <a:pt x="22000"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481"/>
                      <a:pt x="0" y="29959"/>
                    </a:cubicBezTo>
                    <a:cubicBezTo>
                      <a:pt x="0" y="20350"/>
                      <a:pt x="2538" y="13001"/>
                      <a:pt x="7615" y="7914"/>
                    </a:cubicBezTo>
                    <a:cubicBezTo>
                      <a:pt x="12692" y="2826"/>
                      <a:pt x="19180" y="0"/>
                      <a:pt x="27359" y="0"/>
                    </a:cubicBezTo>
                    <a:cubicBezTo>
                      <a:pt x="35256" y="0"/>
                      <a:pt x="41744" y="2544"/>
                      <a:pt x="46539" y="7914"/>
                    </a:cubicBezTo>
                    <a:cubicBezTo>
                      <a:pt x="51333" y="13001"/>
                      <a:pt x="53872" y="20350"/>
                      <a:pt x="53872" y="29959"/>
                    </a:cubicBezTo>
                    <a:cubicBezTo>
                      <a:pt x="53872" y="39286"/>
                      <a:pt x="51333" y="46635"/>
                      <a:pt x="46539" y="52005"/>
                    </a:cubicBezTo>
                    <a:cubicBezTo>
                      <a:pt x="41744" y="57092"/>
                      <a:pt x="35256" y="59919"/>
                      <a:pt x="27359" y="59919"/>
                    </a:cubicBezTo>
                  </a:path>
                </a:pathLst>
              </a:custGeom>
              <a:solidFill>
                <a:srgbClr val="7F8183"/>
              </a:solidFill>
              <a:ln w="2790" cap="flat">
                <a:noFill/>
                <a:prstDash val="solid"/>
                <a:miter/>
              </a:ln>
            </p:spPr>
            <p:txBody>
              <a:bodyPr rtlCol="0" anchor="ctr"/>
              <a:lstStyle/>
              <a:p>
                <a:endParaRPr lang="x-none" sz="1905"/>
              </a:p>
            </p:txBody>
          </p:sp>
          <p:sp>
            <p:nvSpPr>
              <p:cNvPr id="30" name="Freeform 29">
                <a:extLst>
                  <a:ext uri="{FF2B5EF4-FFF2-40B4-BE49-F238E27FC236}">
                    <a16:creationId xmlns:a16="http://schemas.microsoft.com/office/drawing/2014/main" id="{01732E20-25F0-BA4F-8423-6E3C4828BFFC}"/>
                  </a:ext>
                </a:extLst>
              </p:cNvPr>
              <p:cNvSpPr/>
              <p:nvPr/>
            </p:nvSpPr>
            <p:spPr>
              <a:xfrm>
                <a:off x="1456696" y="5935383"/>
                <a:ext cx="63461" cy="73767"/>
              </a:xfrm>
              <a:custGeom>
                <a:avLst/>
                <a:gdLst>
                  <a:gd name="connsiteX0" fmla="*/ 22282 w 63461"/>
                  <a:gd name="connsiteY0" fmla="*/ 33068 h 73767"/>
                  <a:gd name="connsiteX1" fmla="*/ 20308 w 63461"/>
                  <a:gd name="connsiteY1" fmla="*/ 41830 h 73767"/>
                  <a:gd name="connsiteX2" fmla="*/ 16923 w 63461"/>
                  <a:gd name="connsiteY2" fmla="*/ 48331 h 73767"/>
                  <a:gd name="connsiteX3" fmla="*/ 44846 w 63461"/>
                  <a:gd name="connsiteY3" fmla="*/ 48331 h 73767"/>
                  <a:gd name="connsiteX4" fmla="*/ 44846 w 63461"/>
                  <a:gd name="connsiteY4" fmla="*/ 8762 h 73767"/>
                  <a:gd name="connsiteX5" fmla="*/ 23128 w 63461"/>
                  <a:gd name="connsiteY5" fmla="*/ 8762 h 73767"/>
                  <a:gd name="connsiteX6" fmla="*/ 23128 w 63461"/>
                  <a:gd name="connsiteY6" fmla="*/ 23176 h 73767"/>
                  <a:gd name="connsiteX7" fmla="*/ 22282 w 63461"/>
                  <a:gd name="connsiteY7" fmla="*/ 33068 h 73767"/>
                  <a:gd name="connsiteX8" fmla="*/ 0 w 63461"/>
                  <a:gd name="connsiteY8" fmla="*/ 48613 h 73767"/>
                  <a:gd name="connsiteX9" fmla="*/ 5923 w 63461"/>
                  <a:gd name="connsiteY9" fmla="*/ 48613 h 73767"/>
                  <a:gd name="connsiteX10" fmla="*/ 11000 w 63461"/>
                  <a:gd name="connsiteY10" fmla="*/ 41547 h 73767"/>
                  <a:gd name="connsiteX11" fmla="*/ 13256 w 63461"/>
                  <a:gd name="connsiteY11" fmla="*/ 31938 h 73767"/>
                  <a:gd name="connsiteX12" fmla="*/ 13538 w 63461"/>
                  <a:gd name="connsiteY12" fmla="*/ 27416 h 73767"/>
                  <a:gd name="connsiteX13" fmla="*/ 13821 w 63461"/>
                  <a:gd name="connsiteY13" fmla="*/ 21198 h 73767"/>
                  <a:gd name="connsiteX14" fmla="*/ 13821 w 63461"/>
                  <a:gd name="connsiteY14" fmla="*/ 12436 h 73767"/>
                  <a:gd name="connsiteX15" fmla="*/ 13821 w 63461"/>
                  <a:gd name="connsiteY15" fmla="*/ 0 h 73767"/>
                  <a:gd name="connsiteX16" fmla="*/ 54154 w 63461"/>
                  <a:gd name="connsiteY16" fmla="*/ 0 h 73767"/>
                  <a:gd name="connsiteX17" fmla="*/ 54154 w 63461"/>
                  <a:gd name="connsiteY17" fmla="*/ 48613 h 73767"/>
                  <a:gd name="connsiteX18" fmla="*/ 63462 w 63461"/>
                  <a:gd name="connsiteY18" fmla="*/ 48613 h 73767"/>
                  <a:gd name="connsiteX19" fmla="*/ 63462 w 63461"/>
                  <a:gd name="connsiteY19" fmla="*/ 73768 h 73767"/>
                  <a:gd name="connsiteX20" fmla="*/ 54154 w 63461"/>
                  <a:gd name="connsiteY20" fmla="*/ 73768 h 73767"/>
                  <a:gd name="connsiteX21" fmla="*/ 54154 w 63461"/>
                  <a:gd name="connsiteY21" fmla="*/ 57657 h 73767"/>
                  <a:gd name="connsiteX22" fmla="*/ 9308 w 63461"/>
                  <a:gd name="connsiteY22" fmla="*/ 57657 h 73767"/>
                  <a:gd name="connsiteX23" fmla="*/ 9308 w 63461"/>
                  <a:gd name="connsiteY23" fmla="*/ 73768 h 73767"/>
                  <a:gd name="connsiteX24" fmla="*/ 0 w 63461"/>
                  <a:gd name="connsiteY24" fmla="*/ 73768 h 73767"/>
                  <a:gd name="connsiteX25" fmla="*/ 0 w 63461"/>
                  <a:gd name="connsiteY25" fmla="*/ 48613 h 7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3461" h="73767">
                    <a:moveTo>
                      <a:pt x="22282" y="33068"/>
                    </a:moveTo>
                    <a:cubicBezTo>
                      <a:pt x="22000" y="36460"/>
                      <a:pt x="21154" y="39286"/>
                      <a:pt x="20308" y="41830"/>
                    </a:cubicBezTo>
                    <a:cubicBezTo>
                      <a:pt x="19180" y="44374"/>
                      <a:pt x="18051" y="46635"/>
                      <a:pt x="16923" y="48331"/>
                    </a:cubicBezTo>
                    <a:lnTo>
                      <a:pt x="44846" y="48331"/>
                    </a:lnTo>
                    <a:lnTo>
                      <a:pt x="44846" y="8762"/>
                    </a:lnTo>
                    <a:lnTo>
                      <a:pt x="23128" y="8762"/>
                    </a:lnTo>
                    <a:cubicBezTo>
                      <a:pt x="23128" y="14414"/>
                      <a:pt x="23128" y="19219"/>
                      <a:pt x="23128" y="23176"/>
                    </a:cubicBezTo>
                    <a:cubicBezTo>
                      <a:pt x="22564" y="27698"/>
                      <a:pt x="22564" y="30807"/>
                      <a:pt x="22282" y="33068"/>
                    </a:cubicBezTo>
                    <a:moveTo>
                      <a:pt x="0" y="48613"/>
                    </a:moveTo>
                    <a:lnTo>
                      <a:pt x="5923" y="48613"/>
                    </a:lnTo>
                    <a:cubicBezTo>
                      <a:pt x="7897" y="46917"/>
                      <a:pt x="9590" y="44656"/>
                      <a:pt x="11000" y="41547"/>
                    </a:cubicBezTo>
                    <a:cubicBezTo>
                      <a:pt x="12410" y="38438"/>
                      <a:pt x="13256" y="35329"/>
                      <a:pt x="13256" y="31938"/>
                    </a:cubicBezTo>
                    <a:cubicBezTo>
                      <a:pt x="13256" y="30525"/>
                      <a:pt x="13538" y="29111"/>
                      <a:pt x="13538" y="27416"/>
                    </a:cubicBezTo>
                    <a:cubicBezTo>
                      <a:pt x="13538" y="25720"/>
                      <a:pt x="13538" y="23741"/>
                      <a:pt x="13821" y="21198"/>
                    </a:cubicBezTo>
                    <a:cubicBezTo>
                      <a:pt x="13821" y="18654"/>
                      <a:pt x="13821" y="15828"/>
                      <a:pt x="13821" y="12436"/>
                    </a:cubicBezTo>
                    <a:cubicBezTo>
                      <a:pt x="13821" y="9044"/>
                      <a:pt x="13821" y="4805"/>
                      <a:pt x="13821" y="0"/>
                    </a:cubicBezTo>
                    <a:lnTo>
                      <a:pt x="54154" y="0"/>
                    </a:lnTo>
                    <a:lnTo>
                      <a:pt x="54154" y="48613"/>
                    </a:lnTo>
                    <a:lnTo>
                      <a:pt x="63462" y="48613"/>
                    </a:lnTo>
                    <a:lnTo>
                      <a:pt x="63462" y="73768"/>
                    </a:lnTo>
                    <a:lnTo>
                      <a:pt x="54154" y="73768"/>
                    </a:lnTo>
                    <a:lnTo>
                      <a:pt x="54154" y="57657"/>
                    </a:lnTo>
                    <a:lnTo>
                      <a:pt x="9308" y="57657"/>
                    </a:lnTo>
                    <a:lnTo>
                      <a:pt x="9308" y="73768"/>
                    </a:lnTo>
                    <a:lnTo>
                      <a:pt x="0" y="73768"/>
                    </a:lnTo>
                    <a:lnTo>
                      <a:pt x="0" y="48613"/>
                    </a:lnTo>
                    <a:close/>
                  </a:path>
                </a:pathLst>
              </a:custGeom>
              <a:solidFill>
                <a:srgbClr val="7F8183"/>
              </a:solidFill>
              <a:ln w="2790" cap="flat">
                <a:noFill/>
                <a:prstDash val="solid"/>
                <a:miter/>
              </a:ln>
            </p:spPr>
            <p:txBody>
              <a:bodyPr rtlCol="0" anchor="ctr"/>
              <a:lstStyle/>
              <a:p>
                <a:endParaRPr lang="x-none" sz="1905"/>
              </a:p>
            </p:txBody>
          </p:sp>
          <p:sp>
            <p:nvSpPr>
              <p:cNvPr id="31" name="Freeform 30">
                <a:extLst>
                  <a:ext uri="{FF2B5EF4-FFF2-40B4-BE49-F238E27FC236}">
                    <a16:creationId xmlns:a16="http://schemas.microsoft.com/office/drawing/2014/main" id="{059CE7F9-043F-2849-B383-24D7A7E06010}"/>
                  </a:ext>
                </a:extLst>
              </p:cNvPr>
              <p:cNvSpPr/>
              <p:nvPr/>
            </p:nvSpPr>
            <p:spPr>
              <a:xfrm>
                <a:off x="1522978" y="5935383"/>
                <a:ext cx="55564" cy="80833"/>
              </a:xfrm>
              <a:custGeom>
                <a:avLst/>
                <a:gdLst>
                  <a:gd name="connsiteX0" fmla="*/ 29615 w 55564"/>
                  <a:gd name="connsiteY0" fmla="*/ 66419 h 80833"/>
                  <a:gd name="connsiteX1" fmla="*/ 22000 w 55564"/>
                  <a:gd name="connsiteY1" fmla="*/ 77724 h 80833"/>
                  <a:gd name="connsiteX2" fmla="*/ 11282 w 55564"/>
                  <a:gd name="connsiteY2" fmla="*/ 80833 h 80833"/>
                  <a:gd name="connsiteX3" fmla="*/ 5923 w 55564"/>
                  <a:gd name="connsiteY3" fmla="*/ 80833 h 80833"/>
                  <a:gd name="connsiteX4" fmla="*/ 5923 w 55564"/>
                  <a:gd name="connsiteY4" fmla="*/ 71789 h 80833"/>
                  <a:gd name="connsiteX5" fmla="*/ 9590 w 55564"/>
                  <a:gd name="connsiteY5" fmla="*/ 71789 h 80833"/>
                  <a:gd name="connsiteX6" fmla="*/ 16641 w 55564"/>
                  <a:gd name="connsiteY6" fmla="*/ 70093 h 80833"/>
                  <a:gd name="connsiteX7" fmla="*/ 21436 w 55564"/>
                  <a:gd name="connsiteY7" fmla="*/ 63310 h 80833"/>
                  <a:gd name="connsiteX8" fmla="*/ 23974 w 55564"/>
                  <a:gd name="connsiteY8" fmla="*/ 57092 h 80833"/>
                  <a:gd name="connsiteX9" fmla="*/ 0 w 55564"/>
                  <a:gd name="connsiteY9" fmla="*/ 0 h 80833"/>
                  <a:gd name="connsiteX10" fmla="*/ 10436 w 55564"/>
                  <a:gd name="connsiteY10" fmla="*/ 0 h 80833"/>
                  <a:gd name="connsiteX11" fmla="*/ 29051 w 55564"/>
                  <a:gd name="connsiteY11" fmla="*/ 45504 h 80833"/>
                  <a:gd name="connsiteX12" fmla="*/ 45692 w 55564"/>
                  <a:gd name="connsiteY12" fmla="*/ 0 h 80833"/>
                  <a:gd name="connsiteX13" fmla="*/ 55564 w 55564"/>
                  <a:gd name="connsiteY13" fmla="*/ 0 h 80833"/>
                  <a:gd name="connsiteX14" fmla="*/ 29615 w 55564"/>
                  <a:gd name="connsiteY14" fmla="*/ 66419 h 8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564" h="80833">
                    <a:moveTo>
                      <a:pt x="29615" y="66419"/>
                    </a:moveTo>
                    <a:cubicBezTo>
                      <a:pt x="27359" y="71789"/>
                      <a:pt x="25103" y="75746"/>
                      <a:pt x="22000" y="77724"/>
                    </a:cubicBezTo>
                    <a:cubicBezTo>
                      <a:pt x="19180" y="79986"/>
                      <a:pt x="15513" y="80833"/>
                      <a:pt x="11282" y="80833"/>
                    </a:cubicBezTo>
                    <a:lnTo>
                      <a:pt x="5923" y="80833"/>
                    </a:lnTo>
                    <a:lnTo>
                      <a:pt x="5923" y="71789"/>
                    </a:lnTo>
                    <a:lnTo>
                      <a:pt x="9590" y="71789"/>
                    </a:lnTo>
                    <a:cubicBezTo>
                      <a:pt x="12410" y="71789"/>
                      <a:pt x="14667" y="71224"/>
                      <a:pt x="16641" y="70093"/>
                    </a:cubicBezTo>
                    <a:cubicBezTo>
                      <a:pt x="18615" y="68963"/>
                      <a:pt x="20308" y="66702"/>
                      <a:pt x="21436" y="63310"/>
                    </a:cubicBezTo>
                    <a:lnTo>
                      <a:pt x="23974" y="57092"/>
                    </a:lnTo>
                    <a:lnTo>
                      <a:pt x="0" y="0"/>
                    </a:lnTo>
                    <a:lnTo>
                      <a:pt x="10436" y="0"/>
                    </a:lnTo>
                    <a:lnTo>
                      <a:pt x="29051" y="45504"/>
                    </a:lnTo>
                    <a:lnTo>
                      <a:pt x="45692" y="0"/>
                    </a:lnTo>
                    <a:lnTo>
                      <a:pt x="55564" y="0"/>
                    </a:lnTo>
                    <a:lnTo>
                      <a:pt x="29615" y="66419"/>
                    </a:lnTo>
                    <a:close/>
                  </a:path>
                </a:pathLst>
              </a:custGeom>
              <a:solidFill>
                <a:srgbClr val="7F8183"/>
              </a:solidFill>
              <a:ln w="2790" cap="flat">
                <a:noFill/>
                <a:prstDash val="solid"/>
                <a:miter/>
              </a:ln>
            </p:spPr>
            <p:txBody>
              <a:bodyPr rtlCol="0" anchor="ctr"/>
              <a:lstStyle/>
              <a:p>
                <a:endParaRPr lang="x-none" sz="1905"/>
              </a:p>
            </p:txBody>
          </p:sp>
        </p:grpSp>
        <p:sp>
          <p:nvSpPr>
            <p:cNvPr id="32" name="Freeform 31">
              <a:extLst>
                <a:ext uri="{FF2B5EF4-FFF2-40B4-BE49-F238E27FC236}">
                  <a16:creationId xmlns:a16="http://schemas.microsoft.com/office/drawing/2014/main" id="{F0221F01-9875-A04B-990D-0A20B287AADD}"/>
                </a:ext>
              </a:extLst>
            </p:cNvPr>
            <p:cNvSpPr/>
            <p:nvPr/>
          </p:nvSpPr>
          <p:spPr>
            <a:xfrm>
              <a:off x="1588414" y="5935383"/>
              <a:ext cx="66282" cy="57374"/>
            </a:xfrm>
            <a:custGeom>
              <a:avLst/>
              <a:gdLst>
                <a:gd name="connsiteX0" fmla="*/ 0 w 66282"/>
                <a:gd name="connsiteY0" fmla="*/ 57375 h 57374"/>
                <a:gd name="connsiteX1" fmla="*/ 0 w 66282"/>
                <a:gd name="connsiteY1" fmla="*/ 0 h 57374"/>
                <a:gd name="connsiteX2" fmla="*/ 14103 w 66282"/>
                <a:gd name="connsiteY2" fmla="*/ 0 h 57374"/>
                <a:gd name="connsiteX3" fmla="*/ 33282 w 66282"/>
                <a:gd name="connsiteY3" fmla="*/ 48048 h 57374"/>
                <a:gd name="connsiteX4" fmla="*/ 52744 w 66282"/>
                <a:gd name="connsiteY4" fmla="*/ 0 h 57374"/>
                <a:gd name="connsiteX5" fmla="*/ 66282 w 66282"/>
                <a:gd name="connsiteY5" fmla="*/ 0 h 57374"/>
                <a:gd name="connsiteX6" fmla="*/ 66282 w 66282"/>
                <a:gd name="connsiteY6" fmla="*/ 57375 h 57374"/>
                <a:gd name="connsiteX7" fmla="*/ 56974 w 66282"/>
                <a:gd name="connsiteY7" fmla="*/ 57375 h 57374"/>
                <a:gd name="connsiteX8" fmla="*/ 56974 w 66282"/>
                <a:gd name="connsiteY8" fmla="*/ 10457 h 57374"/>
                <a:gd name="connsiteX9" fmla="*/ 37795 w 66282"/>
                <a:gd name="connsiteY9" fmla="*/ 57375 h 57374"/>
                <a:gd name="connsiteX10" fmla="*/ 27923 w 66282"/>
                <a:gd name="connsiteY10" fmla="*/ 57375 h 57374"/>
                <a:gd name="connsiteX11" fmla="*/ 8744 w 66282"/>
                <a:gd name="connsiteY11" fmla="*/ 10457 h 57374"/>
                <a:gd name="connsiteX12" fmla="*/ 8744 w 66282"/>
                <a:gd name="connsiteY12"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282" h="57374">
                  <a:moveTo>
                    <a:pt x="0" y="57375"/>
                  </a:moveTo>
                  <a:lnTo>
                    <a:pt x="0" y="0"/>
                  </a:lnTo>
                  <a:lnTo>
                    <a:pt x="14103" y="0"/>
                  </a:lnTo>
                  <a:lnTo>
                    <a:pt x="33282" y="48048"/>
                  </a:lnTo>
                  <a:lnTo>
                    <a:pt x="52744" y="0"/>
                  </a:lnTo>
                  <a:lnTo>
                    <a:pt x="66282" y="0"/>
                  </a:lnTo>
                  <a:lnTo>
                    <a:pt x="66282" y="57375"/>
                  </a:lnTo>
                  <a:lnTo>
                    <a:pt x="56974" y="57375"/>
                  </a:lnTo>
                  <a:lnTo>
                    <a:pt x="56974" y="10457"/>
                  </a:lnTo>
                  <a:lnTo>
                    <a:pt x="37795" y="57375"/>
                  </a:lnTo>
                  <a:lnTo>
                    <a:pt x="27923" y="57375"/>
                  </a:lnTo>
                  <a:lnTo>
                    <a:pt x="8744" y="10457"/>
                  </a:lnTo>
                  <a:lnTo>
                    <a:pt x="8744" y="57375"/>
                  </a:lnTo>
                  <a:close/>
                </a:path>
              </a:pathLst>
            </a:custGeom>
            <a:solidFill>
              <a:srgbClr val="7F8183"/>
            </a:solidFill>
            <a:ln w="2790" cap="flat">
              <a:noFill/>
              <a:prstDash val="solid"/>
              <a:miter/>
            </a:ln>
          </p:spPr>
          <p:txBody>
            <a:bodyPr rtlCol="0" anchor="ctr"/>
            <a:lstStyle/>
            <a:p>
              <a:endParaRPr lang="x-none" sz="1905"/>
            </a:p>
          </p:txBody>
        </p:sp>
        <p:sp>
          <p:nvSpPr>
            <p:cNvPr id="33" name="Freeform 32">
              <a:extLst>
                <a:ext uri="{FF2B5EF4-FFF2-40B4-BE49-F238E27FC236}">
                  <a16:creationId xmlns:a16="http://schemas.microsoft.com/office/drawing/2014/main" id="{77FDCD99-4B6E-A043-BB4E-71B448C58EFF}"/>
                </a:ext>
              </a:extLst>
            </p:cNvPr>
            <p:cNvSpPr/>
            <p:nvPr/>
          </p:nvSpPr>
          <p:spPr>
            <a:xfrm>
              <a:off x="1669926" y="5934253"/>
              <a:ext cx="46820" cy="59635"/>
            </a:xfrm>
            <a:custGeom>
              <a:avLst/>
              <a:gdLst>
                <a:gd name="connsiteX0" fmla="*/ 37513 w 46820"/>
                <a:gd name="connsiteY0" fmla="*/ 33068 h 59635"/>
                <a:gd name="connsiteX1" fmla="*/ 29897 w 46820"/>
                <a:gd name="connsiteY1" fmla="*/ 33068 h 59635"/>
                <a:gd name="connsiteX2" fmla="*/ 21718 w 46820"/>
                <a:gd name="connsiteY2" fmla="*/ 33068 h 59635"/>
                <a:gd name="connsiteX3" fmla="*/ 12692 w 46820"/>
                <a:gd name="connsiteY3" fmla="*/ 35612 h 59635"/>
                <a:gd name="connsiteX4" fmla="*/ 9590 w 46820"/>
                <a:gd name="connsiteY4" fmla="*/ 42395 h 59635"/>
                <a:gd name="connsiteX5" fmla="*/ 12410 w 46820"/>
                <a:gd name="connsiteY5" fmla="*/ 48896 h 59635"/>
                <a:gd name="connsiteX6" fmla="*/ 20308 w 46820"/>
                <a:gd name="connsiteY6" fmla="*/ 51439 h 59635"/>
                <a:gd name="connsiteX7" fmla="*/ 32436 w 46820"/>
                <a:gd name="connsiteY7" fmla="*/ 47765 h 59635"/>
                <a:gd name="connsiteX8" fmla="*/ 37513 w 46820"/>
                <a:gd name="connsiteY8" fmla="*/ 38438 h 59635"/>
                <a:gd name="connsiteX9" fmla="*/ 37513 w 46820"/>
                <a:gd name="connsiteY9" fmla="*/ 33068 h 59635"/>
                <a:gd name="connsiteX10" fmla="*/ 38077 w 46820"/>
                <a:gd name="connsiteY10" fmla="*/ 58505 h 59635"/>
                <a:gd name="connsiteX11" fmla="*/ 38077 w 46820"/>
                <a:gd name="connsiteY11" fmla="*/ 51722 h 59635"/>
                <a:gd name="connsiteX12" fmla="*/ 30744 w 46820"/>
                <a:gd name="connsiteY12" fmla="*/ 57375 h 59635"/>
                <a:gd name="connsiteX13" fmla="*/ 20026 w 46820"/>
                <a:gd name="connsiteY13" fmla="*/ 59636 h 59635"/>
                <a:gd name="connsiteX14" fmla="*/ 5359 w 46820"/>
                <a:gd name="connsiteY14" fmla="*/ 55114 h 59635"/>
                <a:gd name="connsiteX15" fmla="*/ 0 w 46820"/>
                <a:gd name="connsiteY15" fmla="*/ 42678 h 59635"/>
                <a:gd name="connsiteX16" fmla="*/ 5923 w 46820"/>
                <a:gd name="connsiteY16" fmla="*/ 29677 h 59635"/>
                <a:gd name="connsiteX17" fmla="*/ 21718 w 46820"/>
                <a:gd name="connsiteY17" fmla="*/ 25437 h 59635"/>
                <a:gd name="connsiteX18" fmla="*/ 29897 w 46820"/>
                <a:gd name="connsiteY18" fmla="*/ 25437 h 59635"/>
                <a:gd name="connsiteX19" fmla="*/ 37513 w 46820"/>
                <a:gd name="connsiteY19" fmla="*/ 25720 h 59635"/>
                <a:gd name="connsiteX20" fmla="*/ 37513 w 46820"/>
                <a:gd name="connsiteY20" fmla="*/ 20632 h 59635"/>
                <a:gd name="connsiteX21" fmla="*/ 33846 w 46820"/>
                <a:gd name="connsiteY21" fmla="*/ 11588 h 59635"/>
                <a:gd name="connsiteX22" fmla="*/ 24821 w 46820"/>
                <a:gd name="connsiteY22" fmla="*/ 8762 h 59635"/>
                <a:gd name="connsiteX23" fmla="*/ 15513 w 46820"/>
                <a:gd name="connsiteY23" fmla="*/ 11871 h 59635"/>
                <a:gd name="connsiteX24" fmla="*/ 11000 w 46820"/>
                <a:gd name="connsiteY24" fmla="*/ 19219 h 59635"/>
                <a:gd name="connsiteX25" fmla="*/ 1974 w 46820"/>
                <a:gd name="connsiteY25" fmla="*/ 17241 h 59635"/>
                <a:gd name="connsiteX26" fmla="*/ 9590 w 46820"/>
                <a:gd name="connsiteY26" fmla="*/ 4805 h 59635"/>
                <a:gd name="connsiteX27" fmla="*/ 24821 w 46820"/>
                <a:gd name="connsiteY27" fmla="*/ 0 h 59635"/>
                <a:gd name="connsiteX28" fmla="*/ 40615 w 46820"/>
                <a:gd name="connsiteY28" fmla="*/ 4805 h 59635"/>
                <a:gd name="connsiteX29" fmla="*/ 46821 w 46820"/>
                <a:gd name="connsiteY29" fmla="*/ 20067 h 59635"/>
                <a:gd name="connsiteX30" fmla="*/ 46821 w 46820"/>
                <a:gd name="connsiteY30" fmla="*/ 58505 h 59635"/>
                <a:gd name="connsiteX31" fmla="*/ 38077 w 46820"/>
                <a:gd name="connsiteY31" fmla="*/ 58505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820" h="59635">
                  <a:moveTo>
                    <a:pt x="37513" y="33068"/>
                  </a:moveTo>
                  <a:cubicBezTo>
                    <a:pt x="35256" y="33068"/>
                    <a:pt x="32718" y="33068"/>
                    <a:pt x="29897" y="33068"/>
                  </a:cubicBezTo>
                  <a:cubicBezTo>
                    <a:pt x="27359" y="33068"/>
                    <a:pt x="24538" y="33068"/>
                    <a:pt x="21718" y="33068"/>
                  </a:cubicBezTo>
                  <a:cubicBezTo>
                    <a:pt x="17769" y="33351"/>
                    <a:pt x="14667" y="34199"/>
                    <a:pt x="12692" y="35612"/>
                  </a:cubicBezTo>
                  <a:cubicBezTo>
                    <a:pt x="10718" y="37308"/>
                    <a:pt x="9590" y="39569"/>
                    <a:pt x="9590" y="42395"/>
                  </a:cubicBezTo>
                  <a:cubicBezTo>
                    <a:pt x="9590" y="45222"/>
                    <a:pt x="10436" y="47200"/>
                    <a:pt x="12410" y="48896"/>
                  </a:cubicBezTo>
                  <a:cubicBezTo>
                    <a:pt x="14385" y="50592"/>
                    <a:pt x="16923" y="51439"/>
                    <a:pt x="20308" y="51439"/>
                  </a:cubicBezTo>
                  <a:cubicBezTo>
                    <a:pt x="25103" y="51439"/>
                    <a:pt x="29051" y="50309"/>
                    <a:pt x="32436" y="47765"/>
                  </a:cubicBezTo>
                  <a:cubicBezTo>
                    <a:pt x="35821" y="45504"/>
                    <a:pt x="37513" y="42395"/>
                    <a:pt x="37513" y="38438"/>
                  </a:cubicBezTo>
                  <a:lnTo>
                    <a:pt x="37513" y="33068"/>
                  </a:lnTo>
                  <a:close/>
                  <a:moveTo>
                    <a:pt x="38077" y="58505"/>
                  </a:moveTo>
                  <a:lnTo>
                    <a:pt x="38077" y="51722"/>
                  </a:lnTo>
                  <a:cubicBezTo>
                    <a:pt x="36385" y="53983"/>
                    <a:pt x="33846" y="55962"/>
                    <a:pt x="30744" y="57375"/>
                  </a:cubicBezTo>
                  <a:cubicBezTo>
                    <a:pt x="27641" y="58788"/>
                    <a:pt x="24256" y="59636"/>
                    <a:pt x="20026" y="59636"/>
                  </a:cubicBezTo>
                  <a:cubicBezTo>
                    <a:pt x="13821" y="59636"/>
                    <a:pt x="9026" y="58223"/>
                    <a:pt x="5359" y="55114"/>
                  </a:cubicBezTo>
                  <a:cubicBezTo>
                    <a:pt x="1692" y="52005"/>
                    <a:pt x="0" y="47765"/>
                    <a:pt x="0" y="42678"/>
                  </a:cubicBezTo>
                  <a:cubicBezTo>
                    <a:pt x="0" y="36742"/>
                    <a:pt x="1974" y="32503"/>
                    <a:pt x="5923" y="29677"/>
                  </a:cubicBezTo>
                  <a:cubicBezTo>
                    <a:pt x="9872" y="27133"/>
                    <a:pt x="14949" y="25437"/>
                    <a:pt x="21718" y="25437"/>
                  </a:cubicBezTo>
                  <a:cubicBezTo>
                    <a:pt x="24538" y="25437"/>
                    <a:pt x="27359" y="25437"/>
                    <a:pt x="29897" y="25437"/>
                  </a:cubicBezTo>
                  <a:cubicBezTo>
                    <a:pt x="32436" y="25437"/>
                    <a:pt x="34974" y="25437"/>
                    <a:pt x="37513" y="25720"/>
                  </a:cubicBezTo>
                  <a:lnTo>
                    <a:pt x="37513" y="20632"/>
                  </a:lnTo>
                  <a:cubicBezTo>
                    <a:pt x="37513" y="16393"/>
                    <a:pt x="36385" y="13284"/>
                    <a:pt x="33846" y="11588"/>
                  </a:cubicBezTo>
                  <a:cubicBezTo>
                    <a:pt x="31590" y="9610"/>
                    <a:pt x="28487" y="8762"/>
                    <a:pt x="24821" y="8762"/>
                  </a:cubicBezTo>
                  <a:cubicBezTo>
                    <a:pt x="20872" y="8762"/>
                    <a:pt x="17769" y="9892"/>
                    <a:pt x="15513" y="11871"/>
                  </a:cubicBezTo>
                  <a:cubicBezTo>
                    <a:pt x="13538" y="13849"/>
                    <a:pt x="11846" y="16393"/>
                    <a:pt x="11000" y="19219"/>
                  </a:cubicBezTo>
                  <a:lnTo>
                    <a:pt x="1974" y="17241"/>
                  </a:lnTo>
                  <a:cubicBezTo>
                    <a:pt x="3103" y="12153"/>
                    <a:pt x="5641" y="8196"/>
                    <a:pt x="9590" y="4805"/>
                  </a:cubicBezTo>
                  <a:cubicBezTo>
                    <a:pt x="13538" y="1696"/>
                    <a:pt x="18615" y="0"/>
                    <a:pt x="24821" y="0"/>
                  </a:cubicBezTo>
                  <a:cubicBezTo>
                    <a:pt x="31308" y="0"/>
                    <a:pt x="36667" y="1696"/>
                    <a:pt x="40615" y="4805"/>
                  </a:cubicBezTo>
                  <a:cubicBezTo>
                    <a:pt x="44846" y="8196"/>
                    <a:pt x="46821" y="13284"/>
                    <a:pt x="46821" y="20067"/>
                  </a:cubicBezTo>
                  <a:lnTo>
                    <a:pt x="46821" y="58505"/>
                  </a:lnTo>
                  <a:lnTo>
                    <a:pt x="38077" y="58505"/>
                  </a:lnTo>
                  <a:close/>
                </a:path>
              </a:pathLst>
            </a:custGeom>
            <a:solidFill>
              <a:srgbClr val="7F8183"/>
            </a:solidFill>
            <a:ln w="2790" cap="flat">
              <a:noFill/>
              <a:prstDash val="solid"/>
              <a:miter/>
            </a:ln>
          </p:spPr>
          <p:txBody>
            <a:bodyPr rtlCol="0" anchor="ctr"/>
            <a:lstStyle/>
            <a:p>
              <a:endParaRPr lang="x-none" sz="1905"/>
            </a:p>
          </p:txBody>
        </p:sp>
        <p:sp>
          <p:nvSpPr>
            <p:cNvPr id="34" name="Freeform 33">
              <a:extLst>
                <a:ext uri="{FF2B5EF4-FFF2-40B4-BE49-F238E27FC236}">
                  <a16:creationId xmlns:a16="http://schemas.microsoft.com/office/drawing/2014/main" id="{D9F88397-669E-CC40-984A-518579092475}"/>
                </a:ext>
              </a:extLst>
            </p:cNvPr>
            <p:cNvSpPr/>
            <p:nvPr/>
          </p:nvSpPr>
          <p:spPr>
            <a:xfrm>
              <a:off x="1734234" y="5935383"/>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35" name="Freeform 34">
              <a:extLst>
                <a:ext uri="{FF2B5EF4-FFF2-40B4-BE49-F238E27FC236}">
                  <a16:creationId xmlns:a16="http://schemas.microsoft.com/office/drawing/2014/main" id="{0B7EE570-C5D2-C241-8EE7-718941478E48}"/>
                </a:ext>
              </a:extLst>
            </p:cNvPr>
            <p:cNvSpPr/>
            <p:nvPr/>
          </p:nvSpPr>
          <p:spPr>
            <a:xfrm>
              <a:off x="1801362" y="5935383"/>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36" name="Freeform 35">
              <a:extLst>
                <a:ext uri="{FF2B5EF4-FFF2-40B4-BE49-F238E27FC236}">
                  <a16:creationId xmlns:a16="http://schemas.microsoft.com/office/drawing/2014/main" id="{0697A2F6-3279-4E42-B281-0DAF218F497F}"/>
                </a:ext>
              </a:extLst>
            </p:cNvPr>
            <p:cNvSpPr/>
            <p:nvPr/>
          </p:nvSpPr>
          <p:spPr>
            <a:xfrm>
              <a:off x="1868491" y="5935383"/>
              <a:ext cx="62333" cy="57374"/>
            </a:xfrm>
            <a:custGeom>
              <a:avLst/>
              <a:gdLst>
                <a:gd name="connsiteX0" fmla="*/ 52744 w 62333"/>
                <a:gd name="connsiteY0" fmla="*/ 0 h 57374"/>
                <a:gd name="connsiteX1" fmla="*/ 62333 w 62333"/>
                <a:gd name="connsiteY1" fmla="*/ 0 h 57374"/>
                <a:gd name="connsiteX2" fmla="*/ 62333 w 62333"/>
                <a:gd name="connsiteY2" fmla="*/ 57375 h 57374"/>
                <a:gd name="connsiteX3" fmla="*/ 52744 w 62333"/>
                <a:gd name="connsiteY3" fmla="*/ 57375 h 57374"/>
                <a:gd name="connsiteX4" fmla="*/ 52744 w 62333"/>
                <a:gd name="connsiteY4" fmla="*/ 0 h 57374"/>
                <a:gd name="connsiteX5" fmla="*/ 24256 w 62333"/>
                <a:gd name="connsiteY5" fmla="*/ 28546 h 57374"/>
                <a:gd name="connsiteX6" fmla="*/ 9590 w 62333"/>
                <a:gd name="connsiteY6" fmla="*/ 28546 h 57374"/>
                <a:gd name="connsiteX7" fmla="*/ 9590 w 62333"/>
                <a:gd name="connsiteY7" fmla="*/ 48896 h 57374"/>
                <a:gd name="connsiteX8" fmla="*/ 24256 w 62333"/>
                <a:gd name="connsiteY8" fmla="*/ 48896 h 57374"/>
                <a:gd name="connsiteX9" fmla="*/ 33000 w 62333"/>
                <a:gd name="connsiteY9" fmla="*/ 46069 h 57374"/>
                <a:gd name="connsiteX10" fmla="*/ 35256 w 62333"/>
                <a:gd name="connsiteY10" fmla="*/ 38438 h 57374"/>
                <a:gd name="connsiteX11" fmla="*/ 33000 w 62333"/>
                <a:gd name="connsiteY11" fmla="*/ 31090 h 57374"/>
                <a:gd name="connsiteX12" fmla="*/ 24256 w 62333"/>
                <a:gd name="connsiteY12" fmla="*/ 28546 h 57374"/>
                <a:gd name="connsiteX13" fmla="*/ 0 w 62333"/>
                <a:gd name="connsiteY13" fmla="*/ 57375 h 57374"/>
                <a:gd name="connsiteX14" fmla="*/ 0 w 62333"/>
                <a:gd name="connsiteY14" fmla="*/ 0 h 57374"/>
                <a:gd name="connsiteX15" fmla="*/ 9590 w 62333"/>
                <a:gd name="connsiteY15" fmla="*/ 0 h 57374"/>
                <a:gd name="connsiteX16" fmla="*/ 9590 w 62333"/>
                <a:gd name="connsiteY16" fmla="*/ 19784 h 57374"/>
                <a:gd name="connsiteX17" fmla="*/ 24256 w 62333"/>
                <a:gd name="connsiteY17" fmla="*/ 19784 h 57374"/>
                <a:gd name="connsiteX18" fmla="*/ 39205 w 62333"/>
                <a:gd name="connsiteY18" fmla="*/ 24589 h 57374"/>
                <a:gd name="connsiteX19" fmla="*/ 44282 w 62333"/>
                <a:gd name="connsiteY19" fmla="*/ 38156 h 57374"/>
                <a:gd name="connsiteX20" fmla="*/ 39205 w 62333"/>
                <a:gd name="connsiteY20" fmla="*/ 52287 h 57374"/>
                <a:gd name="connsiteX21" fmla="*/ 23974 w 62333"/>
                <a:gd name="connsiteY21" fmla="*/ 57375 h 57374"/>
                <a:gd name="connsiteX22" fmla="*/ 0 w 62333"/>
                <a:gd name="connsiteY22"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333" h="57374">
                  <a:moveTo>
                    <a:pt x="52744" y="0"/>
                  </a:moveTo>
                  <a:lnTo>
                    <a:pt x="62333" y="0"/>
                  </a:lnTo>
                  <a:lnTo>
                    <a:pt x="62333" y="57375"/>
                  </a:lnTo>
                  <a:lnTo>
                    <a:pt x="52744" y="57375"/>
                  </a:lnTo>
                  <a:lnTo>
                    <a:pt x="52744" y="0"/>
                  </a:lnTo>
                  <a:close/>
                  <a:moveTo>
                    <a:pt x="24256" y="28546"/>
                  </a:moveTo>
                  <a:lnTo>
                    <a:pt x="9590" y="28546"/>
                  </a:lnTo>
                  <a:lnTo>
                    <a:pt x="9590" y="48896"/>
                  </a:lnTo>
                  <a:lnTo>
                    <a:pt x="24256" y="48896"/>
                  </a:lnTo>
                  <a:cubicBezTo>
                    <a:pt x="28487" y="48896"/>
                    <a:pt x="31590" y="47765"/>
                    <a:pt x="33000" y="46069"/>
                  </a:cubicBezTo>
                  <a:cubicBezTo>
                    <a:pt x="34692" y="44091"/>
                    <a:pt x="35256" y="41547"/>
                    <a:pt x="35256" y="38438"/>
                  </a:cubicBezTo>
                  <a:cubicBezTo>
                    <a:pt x="35256" y="35329"/>
                    <a:pt x="34410" y="32786"/>
                    <a:pt x="33000" y="31090"/>
                  </a:cubicBezTo>
                  <a:cubicBezTo>
                    <a:pt x="31590" y="29394"/>
                    <a:pt x="28769" y="28546"/>
                    <a:pt x="24256" y="28546"/>
                  </a:cubicBezTo>
                  <a:moveTo>
                    <a:pt x="0" y="57375"/>
                  </a:moveTo>
                  <a:lnTo>
                    <a:pt x="0" y="0"/>
                  </a:lnTo>
                  <a:lnTo>
                    <a:pt x="9590" y="0"/>
                  </a:lnTo>
                  <a:lnTo>
                    <a:pt x="9590" y="19784"/>
                  </a:lnTo>
                  <a:lnTo>
                    <a:pt x="24256" y="19784"/>
                  </a:lnTo>
                  <a:cubicBezTo>
                    <a:pt x="30744" y="19784"/>
                    <a:pt x="35821" y="21480"/>
                    <a:pt x="39205" y="24589"/>
                  </a:cubicBezTo>
                  <a:cubicBezTo>
                    <a:pt x="42590" y="27698"/>
                    <a:pt x="44282" y="32220"/>
                    <a:pt x="44282" y="38156"/>
                  </a:cubicBezTo>
                  <a:cubicBezTo>
                    <a:pt x="44282" y="44091"/>
                    <a:pt x="42590" y="48896"/>
                    <a:pt x="39205" y="52287"/>
                  </a:cubicBezTo>
                  <a:cubicBezTo>
                    <a:pt x="35821" y="55679"/>
                    <a:pt x="30744" y="57375"/>
                    <a:pt x="23974" y="57375"/>
                  </a:cubicBezTo>
                  <a:lnTo>
                    <a:pt x="0" y="57375"/>
                  </a:lnTo>
                  <a:close/>
                </a:path>
              </a:pathLst>
            </a:custGeom>
            <a:solidFill>
              <a:srgbClr val="7F8183"/>
            </a:solidFill>
            <a:ln w="2790" cap="flat">
              <a:noFill/>
              <a:prstDash val="solid"/>
              <a:miter/>
            </a:ln>
          </p:spPr>
          <p:txBody>
            <a:bodyPr rtlCol="0" anchor="ctr"/>
            <a:lstStyle/>
            <a:p>
              <a:endParaRPr lang="x-none" sz="1905"/>
            </a:p>
          </p:txBody>
        </p:sp>
        <p:sp>
          <p:nvSpPr>
            <p:cNvPr id="37" name="Freeform 36">
              <a:extLst>
                <a:ext uri="{FF2B5EF4-FFF2-40B4-BE49-F238E27FC236}">
                  <a16:creationId xmlns:a16="http://schemas.microsoft.com/office/drawing/2014/main" id="{89A9CC34-F2CB-DA43-84FC-102D6C342923}"/>
                </a:ext>
              </a:extLst>
            </p:cNvPr>
            <p:cNvSpPr/>
            <p:nvPr/>
          </p:nvSpPr>
          <p:spPr>
            <a:xfrm>
              <a:off x="1941542" y="5935383"/>
              <a:ext cx="54435" cy="57374"/>
            </a:xfrm>
            <a:custGeom>
              <a:avLst/>
              <a:gdLst>
                <a:gd name="connsiteX0" fmla="*/ 42872 w 54435"/>
                <a:gd name="connsiteY0" fmla="*/ 57375 h 57374"/>
                <a:gd name="connsiteX1" fmla="*/ 26795 w 54435"/>
                <a:gd name="connsiteY1" fmla="*/ 34481 h 57374"/>
                <a:gd name="connsiteX2" fmla="*/ 11282 w 54435"/>
                <a:gd name="connsiteY2" fmla="*/ 57375 h 57374"/>
                <a:gd name="connsiteX3" fmla="*/ 0 w 54435"/>
                <a:gd name="connsiteY3" fmla="*/ 57375 h 57374"/>
                <a:gd name="connsiteX4" fmla="*/ 21154 w 54435"/>
                <a:gd name="connsiteY4" fmla="*/ 27981 h 57374"/>
                <a:gd name="connsiteX5" fmla="*/ 1410 w 54435"/>
                <a:gd name="connsiteY5" fmla="*/ 0 h 57374"/>
                <a:gd name="connsiteX6" fmla="*/ 12410 w 54435"/>
                <a:gd name="connsiteY6" fmla="*/ 0 h 57374"/>
                <a:gd name="connsiteX7" fmla="*/ 26795 w 54435"/>
                <a:gd name="connsiteY7" fmla="*/ 21198 h 57374"/>
                <a:gd name="connsiteX8" fmla="*/ 41462 w 54435"/>
                <a:gd name="connsiteY8" fmla="*/ 0 h 57374"/>
                <a:gd name="connsiteX9" fmla="*/ 52462 w 54435"/>
                <a:gd name="connsiteY9" fmla="*/ 0 h 57374"/>
                <a:gd name="connsiteX10" fmla="*/ 32436 w 54435"/>
                <a:gd name="connsiteY10" fmla="*/ 27416 h 57374"/>
                <a:gd name="connsiteX11" fmla="*/ 54436 w 54435"/>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35" h="57374">
                  <a:moveTo>
                    <a:pt x="42872" y="57375"/>
                  </a:moveTo>
                  <a:lnTo>
                    <a:pt x="26795" y="34481"/>
                  </a:lnTo>
                  <a:lnTo>
                    <a:pt x="11282" y="57375"/>
                  </a:lnTo>
                  <a:lnTo>
                    <a:pt x="0" y="57375"/>
                  </a:lnTo>
                  <a:lnTo>
                    <a:pt x="21154" y="27981"/>
                  </a:lnTo>
                  <a:lnTo>
                    <a:pt x="1410" y="0"/>
                  </a:lnTo>
                  <a:lnTo>
                    <a:pt x="12410" y="0"/>
                  </a:lnTo>
                  <a:lnTo>
                    <a:pt x="26795" y="21198"/>
                  </a:lnTo>
                  <a:lnTo>
                    <a:pt x="41462" y="0"/>
                  </a:lnTo>
                  <a:lnTo>
                    <a:pt x="52462" y="0"/>
                  </a:lnTo>
                  <a:lnTo>
                    <a:pt x="32436" y="27416"/>
                  </a:lnTo>
                  <a:lnTo>
                    <a:pt x="54436" y="57375"/>
                  </a:lnTo>
                  <a:close/>
                </a:path>
              </a:pathLst>
            </a:custGeom>
            <a:solidFill>
              <a:srgbClr val="7F8183"/>
            </a:solidFill>
            <a:ln w="2790" cap="flat">
              <a:noFill/>
              <a:prstDash val="solid"/>
              <a:miter/>
            </a:ln>
          </p:spPr>
          <p:txBody>
            <a:bodyPr rtlCol="0" anchor="ctr"/>
            <a:lstStyle/>
            <a:p>
              <a:endParaRPr lang="x-none" sz="1905"/>
            </a:p>
          </p:txBody>
        </p:sp>
        <p:grpSp>
          <p:nvGrpSpPr>
            <p:cNvPr id="38" name="Graphic 13">
              <a:extLst>
                <a:ext uri="{FF2B5EF4-FFF2-40B4-BE49-F238E27FC236}">
                  <a16:creationId xmlns:a16="http://schemas.microsoft.com/office/drawing/2014/main" id="{07D8688A-A1C6-824F-9702-4CAFEFF7A0AA}"/>
                </a:ext>
              </a:extLst>
            </p:cNvPr>
            <p:cNvGrpSpPr/>
            <p:nvPr/>
          </p:nvGrpSpPr>
          <p:grpSpPr>
            <a:xfrm>
              <a:off x="1266593" y="6057199"/>
              <a:ext cx="116205" cy="82246"/>
              <a:chOff x="1266593" y="6057199"/>
              <a:chExt cx="116205" cy="82246"/>
            </a:xfrm>
            <a:solidFill>
              <a:srgbClr val="CFD4D9"/>
            </a:solidFill>
          </p:grpSpPr>
          <p:sp>
            <p:nvSpPr>
              <p:cNvPr id="39" name="Freeform 38">
                <a:extLst>
                  <a:ext uri="{FF2B5EF4-FFF2-40B4-BE49-F238E27FC236}">
                    <a16:creationId xmlns:a16="http://schemas.microsoft.com/office/drawing/2014/main" id="{2E98A8DD-9977-C940-817A-9C02F17BECE4}"/>
                  </a:ext>
                </a:extLst>
              </p:cNvPr>
              <p:cNvSpPr/>
              <p:nvPr/>
            </p:nvSpPr>
            <p:spPr>
              <a:xfrm>
                <a:off x="1266593" y="6057199"/>
                <a:ext cx="54153" cy="82246"/>
              </a:xfrm>
              <a:custGeom>
                <a:avLst/>
                <a:gdLst>
                  <a:gd name="connsiteX0" fmla="*/ 9308 w 54153"/>
                  <a:gd name="connsiteY0" fmla="*/ 34764 h 82246"/>
                  <a:gd name="connsiteX1" fmla="*/ 14667 w 54153"/>
                  <a:gd name="connsiteY1" fmla="*/ 46917 h 82246"/>
                  <a:gd name="connsiteX2" fmla="*/ 27359 w 54153"/>
                  <a:gd name="connsiteY2" fmla="*/ 51439 h 82246"/>
                  <a:gd name="connsiteX3" fmla="*/ 39769 w 54153"/>
                  <a:gd name="connsiteY3" fmla="*/ 45504 h 82246"/>
                  <a:gd name="connsiteX4" fmla="*/ 44282 w 54153"/>
                  <a:gd name="connsiteY4" fmla="*/ 29677 h 82246"/>
                  <a:gd name="connsiteX5" fmla="*/ 39769 w 54153"/>
                  <a:gd name="connsiteY5" fmla="*/ 14414 h 82246"/>
                  <a:gd name="connsiteX6" fmla="*/ 27077 w 54153"/>
                  <a:gd name="connsiteY6" fmla="*/ 8479 h 82246"/>
                  <a:gd name="connsiteX7" fmla="*/ 20590 w 54153"/>
                  <a:gd name="connsiteY7" fmla="*/ 9610 h 82246"/>
                  <a:gd name="connsiteX8" fmla="*/ 14949 w 54153"/>
                  <a:gd name="connsiteY8" fmla="*/ 13284 h 82246"/>
                  <a:gd name="connsiteX9" fmla="*/ 11000 w 54153"/>
                  <a:gd name="connsiteY9" fmla="*/ 19219 h 82246"/>
                  <a:gd name="connsiteX10" fmla="*/ 9590 w 54153"/>
                  <a:gd name="connsiteY10" fmla="*/ 27416 h 82246"/>
                  <a:gd name="connsiteX11" fmla="*/ 9590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308" y="34764"/>
                    </a:moveTo>
                    <a:cubicBezTo>
                      <a:pt x="9308" y="40134"/>
                      <a:pt x="11000" y="44091"/>
                      <a:pt x="14667" y="46917"/>
                    </a:cubicBezTo>
                    <a:cubicBezTo>
                      <a:pt x="18333" y="49744"/>
                      <a:pt x="22564" y="51439"/>
                      <a:pt x="27359" y="51439"/>
                    </a:cubicBezTo>
                    <a:cubicBezTo>
                      <a:pt x="32718" y="51439"/>
                      <a:pt x="36667" y="49461"/>
                      <a:pt x="39769" y="45504"/>
                    </a:cubicBezTo>
                    <a:cubicBezTo>
                      <a:pt x="42872" y="41547"/>
                      <a:pt x="44282" y="36460"/>
                      <a:pt x="44282" y="29677"/>
                    </a:cubicBezTo>
                    <a:cubicBezTo>
                      <a:pt x="44282" y="23459"/>
                      <a:pt x="42872" y="18371"/>
                      <a:pt x="39769" y="14414"/>
                    </a:cubicBezTo>
                    <a:cubicBezTo>
                      <a:pt x="36667" y="10457"/>
                      <a:pt x="32436" y="8479"/>
                      <a:pt x="27077" y="8479"/>
                    </a:cubicBezTo>
                    <a:cubicBezTo>
                      <a:pt x="24821" y="8479"/>
                      <a:pt x="22564" y="8762"/>
                      <a:pt x="20590" y="9610"/>
                    </a:cubicBezTo>
                    <a:cubicBezTo>
                      <a:pt x="18615" y="10457"/>
                      <a:pt x="16641" y="11588"/>
                      <a:pt x="14949" y="13284"/>
                    </a:cubicBezTo>
                    <a:cubicBezTo>
                      <a:pt x="13256" y="14980"/>
                      <a:pt x="11846" y="16958"/>
                      <a:pt x="11000" y="19219"/>
                    </a:cubicBezTo>
                    <a:cubicBezTo>
                      <a:pt x="9872" y="21763"/>
                      <a:pt x="9590" y="24307"/>
                      <a:pt x="9590" y="27416"/>
                    </a:cubicBezTo>
                    <a:lnTo>
                      <a:pt x="9590" y="34764"/>
                    </a:lnTo>
                    <a:close/>
                    <a:moveTo>
                      <a:pt x="0" y="82247"/>
                    </a:moveTo>
                    <a:lnTo>
                      <a:pt x="0" y="1413"/>
                    </a:lnTo>
                    <a:lnTo>
                      <a:pt x="9590" y="1413"/>
                    </a:lnTo>
                    <a:lnTo>
                      <a:pt x="9590" y="9044"/>
                    </a:lnTo>
                    <a:cubicBezTo>
                      <a:pt x="11564" y="5935"/>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sp>
            <p:nvSpPr>
              <p:cNvPr id="40" name="Freeform 39">
                <a:extLst>
                  <a:ext uri="{FF2B5EF4-FFF2-40B4-BE49-F238E27FC236}">
                    <a16:creationId xmlns:a16="http://schemas.microsoft.com/office/drawing/2014/main" id="{8C6780E2-6CE2-BE48-A223-F1BECDCB9E65}"/>
                  </a:ext>
                </a:extLst>
              </p:cNvPr>
              <p:cNvSpPr/>
              <p:nvPr/>
            </p:nvSpPr>
            <p:spPr>
              <a:xfrm>
                <a:off x="1331465" y="6057764"/>
                <a:ext cx="51333" cy="59635"/>
              </a:xfrm>
              <a:custGeom>
                <a:avLst/>
                <a:gdLst>
                  <a:gd name="connsiteX0" fmla="*/ 26513 w 51333"/>
                  <a:gd name="connsiteY0" fmla="*/ 7914 h 59635"/>
                  <a:gd name="connsiteX1" fmla="*/ 15513 w 51333"/>
                  <a:gd name="connsiteY1" fmla="*/ 12153 h 59635"/>
                  <a:gd name="connsiteX2" fmla="*/ 9872 w 51333"/>
                  <a:gd name="connsiteY2" fmla="*/ 23176 h 59635"/>
                  <a:gd name="connsiteX3" fmla="*/ 42026 w 51333"/>
                  <a:gd name="connsiteY3" fmla="*/ 23176 h 59635"/>
                  <a:gd name="connsiteX4" fmla="*/ 38077 w 51333"/>
                  <a:gd name="connsiteY4" fmla="*/ 12153 h 59635"/>
                  <a:gd name="connsiteX5" fmla="*/ 26513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9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513" y="7914"/>
                    </a:moveTo>
                    <a:cubicBezTo>
                      <a:pt x="22000" y="7914"/>
                      <a:pt x="18333" y="9327"/>
                      <a:pt x="15513" y="12153"/>
                    </a:cubicBezTo>
                    <a:cubicBezTo>
                      <a:pt x="12410" y="14980"/>
                      <a:pt x="10718" y="18654"/>
                      <a:pt x="9872" y="23176"/>
                    </a:cubicBezTo>
                    <a:lnTo>
                      <a:pt x="42026" y="23176"/>
                    </a:lnTo>
                    <a:cubicBezTo>
                      <a:pt x="41744" y="18654"/>
                      <a:pt x="40333" y="14980"/>
                      <a:pt x="38077" y="12153"/>
                    </a:cubicBezTo>
                    <a:cubicBezTo>
                      <a:pt x="35256" y="9327"/>
                      <a:pt x="31590" y="7914"/>
                      <a:pt x="26513"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9"/>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grpSp>
        <p:sp>
          <p:nvSpPr>
            <p:cNvPr id="41" name="Freeform 40">
              <a:extLst>
                <a:ext uri="{FF2B5EF4-FFF2-40B4-BE49-F238E27FC236}">
                  <a16:creationId xmlns:a16="http://schemas.microsoft.com/office/drawing/2014/main" id="{879C8422-73CC-E442-8BFD-28563DA6B8D7}"/>
                </a:ext>
              </a:extLst>
            </p:cNvPr>
            <p:cNvSpPr/>
            <p:nvPr/>
          </p:nvSpPr>
          <p:spPr>
            <a:xfrm>
              <a:off x="1396901" y="6058612"/>
              <a:ext cx="75307" cy="57374"/>
            </a:xfrm>
            <a:custGeom>
              <a:avLst/>
              <a:gdLst>
                <a:gd name="connsiteX0" fmla="*/ 75308 w 75307"/>
                <a:gd name="connsiteY0" fmla="*/ 0 h 57374"/>
                <a:gd name="connsiteX1" fmla="*/ 75308 w 75307"/>
                <a:gd name="connsiteY1" fmla="*/ 57375 h 57374"/>
                <a:gd name="connsiteX2" fmla="*/ 0 w 75307"/>
                <a:gd name="connsiteY2" fmla="*/ 57375 h 57374"/>
                <a:gd name="connsiteX3" fmla="*/ 0 w 75307"/>
                <a:gd name="connsiteY3" fmla="*/ 0 h 57374"/>
                <a:gd name="connsiteX4" fmla="*/ 9308 w 75307"/>
                <a:gd name="connsiteY4" fmla="*/ 0 h 57374"/>
                <a:gd name="connsiteX5" fmla="*/ 9308 w 75307"/>
                <a:gd name="connsiteY5" fmla="*/ 48613 h 57374"/>
                <a:gd name="connsiteX6" fmla="*/ 32718 w 75307"/>
                <a:gd name="connsiteY6" fmla="*/ 48613 h 57374"/>
                <a:gd name="connsiteX7" fmla="*/ 32718 w 75307"/>
                <a:gd name="connsiteY7" fmla="*/ 0 h 57374"/>
                <a:gd name="connsiteX8" fmla="*/ 42308 w 75307"/>
                <a:gd name="connsiteY8" fmla="*/ 0 h 57374"/>
                <a:gd name="connsiteX9" fmla="*/ 42308 w 75307"/>
                <a:gd name="connsiteY9" fmla="*/ 48613 h 57374"/>
                <a:gd name="connsiteX10" fmla="*/ 65718 w 75307"/>
                <a:gd name="connsiteY10" fmla="*/ 48613 h 57374"/>
                <a:gd name="connsiteX11" fmla="*/ 65718 w 75307"/>
                <a:gd name="connsiteY11" fmla="*/ 0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307" h="57374">
                  <a:moveTo>
                    <a:pt x="75308" y="0"/>
                  </a:moveTo>
                  <a:lnTo>
                    <a:pt x="75308" y="57375"/>
                  </a:lnTo>
                  <a:lnTo>
                    <a:pt x="0" y="57375"/>
                  </a:lnTo>
                  <a:lnTo>
                    <a:pt x="0" y="0"/>
                  </a:lnTo>
                  <a:lnTo>
                    <a:pt x="9308" y="0"/>
                  </a:lnTo>
                  <a:lnTo>
                    <a:pt x="9308" y="48613"/>
                  </a:lnTo>
                  <a:lnTo>
                    <a:pt x="32718" y="48613"/>
                  </a:lnTo>
                  <a:lnTo>
                    <a:pt x="32718" y="0"/>
                  </a:lnTo>
                  <a:lnTo>
                    <a:pt x="42308" y="0"/>
                  </a:lnTo>
                  <a:lnTo>
                    <a:pt x="42308" y="48613"/>
                  </a:lnTo>
                  <a:lnTo>
                    <a:pt x="65718" y="48613"/>
                  </a:lnTo>
                  <a:lnTo>
                    <a:pt x="65718" y="0"/>
                  </a:lnTo>
                  <a:close/>
                </a:path>
              </a:pathLst>
            </a:custGeom>
            <a:solidFill>
              <a:srgbClr val="7F8183"/>
            </a:solidFill>
            <a:ln w="2790" cap="flat">
              <a:noFill/>
              <a:prstDash val="solid"/>
              <a:miter/>
            </a:ln>
          </p:spPr>
          <p:txBody>
            <a:bodyPr rtlCol="0" anchor="ctr"/>
            <a:lstStyle/>
            <a:p>
              <a:endParaRPr lang="x-none" sz="1905"/>
            </a:p>
          </p:txBody>
        </p:sp>
        <p:sp>
          <p:nvSpPr>
            <p:cNvPr id="42" name="Freeform 41">
              <a:extLst>
                <a:ext uri="{FF2B5EF4-FFF2-40B4-BE49-F238E27FC236}">
                  <a16:creationId xmlns:a16="http://schemas.microsoft.com/office/drawing/2014/main" id="{EA455DA5-2853-E840-8124-C7F1466F2A9B}"/>
                </a:ext>
              </a:extLst>
            </p:cNvPr>
            <p:cNvSpPr/>
            <p:nvPr/>
          </p:nvSpPr>
          <p:spPr>
            <a:xfrm>
              <a:off x="1486311" y="6057764"/>
              <a:ext cx="51333" cy="59635"/>
            </a:xfrm>
            <a:custGeom>
              <a:avLst/>
              <a:gdLst>
                <a:gd name="connsiteX0" fmla="*/ 26513 w 51333"/>
                <a:gd name="connsiteY0" fmla="*/ 7914 h 59635"/>
                <a:gd name="connsiteX1" fmla="*/ 15513 w 51333"/>
                <a:gd name="connsiteY1" fmla="*/ 12153 h 59635"/>
                <a:gd name="connsiteX2" fmla="*/ 9872 w 51333"/>
                <a:gd name="connsiteY2" fmla="*/ 23176 h 59635"/>
                <a:gd name="connsiteX3" fmla="*/ 41744 w 51333"/>
                <a:gd name="connsiteY3" fmla="*/ 23176 h 59635"/>
                <a:gd name="connsiteX4" fmla="*/ 37795 w 51333"/>
                <a:gd name="connsiteY4" fmla="*/ 12153 h 59635"/>
                <a:gd name="connsiteX5" fmla="*/ 26513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9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513" y="7914"/>
                  </a:moveTo>
                  <a:cubicBezTo>
                    <a:pt x="22000" y="7914"/>
                    <a:pt x="18333" y="9327"/>
                    <a:pt x="15513" y="12153"/>
                  </a:cubicBezTo>
                  <a:cubicBezTo>
                    <a:pt x="12410" y="14980"/>
                    <a:pt x="10718" y="18654"/>
                    <a:pt x="9872" y="23176"/>
                  </a:cubicBezTo>
                  <a:lnTo>
                    <a:pt x="41744" y="23176"/>
                  </a:lnTo>
                  <a:cubicBezTo>
                    <a:pt x="41462" y="18654"/>
                    <a:pt x="40051" y="14980"/>
                    <a:pt x="37795" y="12153"/>
                  </a:cubicBezTo>
                  <a:cubicBezTo>
                    <a:pt x="35256" y="9327"/>
                    <a:pt x="31590" y="7914"/>
                    <a:pt x="26513"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9"/>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43" name="Freeform 42">
              <a:extLst>
                <a:ext uri="{FF2B5EF4-FFF2-40B4-BE49-F238E27FC236}">
                  <a16:creationId xmlns:a16="http://schemas.microsoft.com/office/drawing/2014/main" id="{B2ACC8BE-4AB8-E645-9D0F-C4CC3134B68E}"/>
                </a:ext>
              </a:extLst>
            </p:cNvPr>
            <p:cNvSpPr/>
            <p:nvPr/>
          </p:nvSpPr>
          <p:spPr>
            <a:xfrm>
              <a:off x="1551747" y="6058612"/>
              <a:ext cx="49076" cy="57374"/>
            </a:xfrm>
            <a:custGeom>
              <a:avLst/>
              <a:gdLst>
                <a:gd name="connsiteX0" fmla="*/ 0 w 49076"/>
                <a:gd name="connsiteY0" fmla="*/ 57375 h 57374"/>
                <a:gd name="connsiteX1" fmla="*/ 0 w 49076"/>
                <a:gd name="connsiteY1" fmla="*/ 0 h 57374"/>
                <a:gd name="connsiteX2" fmla="*/ 9308 w 49076"/>
                <a:gd name="connsiteY2" fmla="*/ 0 h 57374"/>
                <a:gd name="connsiteX3" fmla="*/ 9308 w 49076"/>
                <a:gd name="connsiteY3" fmla="*/ 23459 h 57374"/>
                <a:gd name="connsiteX4" fmla="*/ 39769 w 49076"/>
                <a:gd name="connsiteY4" fmla="*/ 23459 h 57374"/>
                <a:gd name="connsiteX5" fmla="*/ 39769 w 49076"/>
                <a:gd name="connsiteY5" fmla="*/ 0 h 57374"/>
                <a:gd name="connsiteX6" fmla="*/ 49077 w 49076"/>
                <a:gd name="connsiteY6" fmla="*/ 0 h 57374"/>
                <a:gd name="connsiteX7" fmla="*/ 49077 w 49076"/>
                <a:gd name="connsiteY7" fmla="*/ 57375 h 57374"/>
                <a:gd name="connsiteX8" fmla="*/ 39769 w 49076"/>
                <a:gd name="connsiteY8" fmla="*/ 57375 h 57374"/>
                <a:gd name="connsiteX9" fmla="*/ 39769 w 49076"/>
                <a:gd name="connsiteY9" fmla="*/ 32503 h 57374"/>
                <a:gd name="connsiteX10" fmla="*/ 9308 w 49076"/>
                <a:gd name="connsiteY10" fmla="*/ 32503 h 57374"/>
                <a:gd name="connsiteX11" fmla="*/ 9308 w 49076"/>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076" h="57374">
                  <a:moveTo>
                    <a:pt x="0" y="57375"/>
                  </a:moveTo>
                  <a:lnTo>
                    <a:pt x="0" y="0"/>
                  </a:lnTo>
                  <a:lnTo>
                    <a:pt x="9308" y="0"/>
                  </a:lnTo>
                  <a:lnTo>
                    <a:pt x="9308" y="23459"/>
                  </a:lnTo>
                  <a:lnTo>
                    <a:pt x="39769" y="23459"/>
                  </a:lnTo>
                  <a:lnTo>
                    <a:pt x="39769" y="0"/>
                  </a:lnTo>
                  <a:lnTo>
                    <a:pt x="49077" y="0"/>
                  </a:lnTo>
                  <a:lnTo>
                    <a:pt x="49077" y="57375"/>
                  </a:lnTo>
                  <a:lnTo>
                    <a:pt x="39769" y="57375"/>
                  </a:lnTo>
                  <a:lnTo>
                    <a:pt x="39769" y="32503"/>
                  </a:lnTo>
                  <a:lnTo>
                    <a:pt x="9308" y="32503"/>
                  </a:lnTo>
                  <a:lnTo>
                    <a:pt x="9308" y="57375"/>
                  </a:lnTo>
                  <a:close/>
                </a:path>
              </a:pathLst>
            </a:custGeom>
            <a:solidFill>
              <a:srgbClr val="7F8183"/>
            </a:solidFill>
            <a:ln w="2790" cap="flat">
              <a:noFill/>
              <a:prstDash val="solid"/>
              <a:miter/>
            </a:ln>
          </p:spPr>
          <p:txBody>
            <a:bodyPr rtlCol="0" anchor="ctr"/>
            <a:lstStyle/>
            <a:p>
              <a:endParaRPr lang="x-none" sz="1905"/>
            </a:p>
          </p:txBody>
        </p:sp>
        <p:sp>
          <p:nvSpPr>
            <p:cNvPr id="44" name="Freeform 43">
              <a:extLst>
                <a:ext uri="{FF2B5EF4-FFF2-40B4-BE49-F238E27FC236}">
                  <a16:creationId xmlns:a16="http://schemas.microsoft.com/office/drawing/2014/main" id="{1CA3E67C-098E-0948-A982-BC9E6402B975}"/>
                </a:ext>
              </a:extLst>
            </p:cNvPr>
            <p:cNvSpPr/>
            <p:nvPr/>
          </p:nvSpPr>
          <p:spPr>
            <a:xfrm>
              <a:off x="1618875" y="6058612"/>
              <a:ext cx="47948" cy="57374"/>
            </a:xfrm>
            <a:custGeom>
              <a:avLst/>
              <a:gdLst>
                <a:gd name="connsiteX0" fmla="*/ 10154 w 47948"/>
                <a:gd name="connsiteY0" fmla="*/ 57375 h 57374"/>
                <a:gd name="connsiteX1" fmla="*/ 0 w 47948"/>
                <a:gd name="connsiteY1" fmla="*/ 57375 h 57374"/>
                <a:gd name="connsiteX2" fmla="*/ 0 w 47948"/>
                <a:gd name="connsiteY2" fmla="*/ 0 h 57374"/>
                <a:gd name="connsiteX3" fmla="*/ 9026 w 47948"/>
                <a:gd name="connsiteY3" fmla="*/ 0 h 57374"/>
                <a:gd name="connsiteX4" fmla="*/ 9026 w 47948"/>
                <a:gd name="connsiteY4" fmla="*/ 44939 h 57374"/>
                <a:gd name="connsiteX5" fmla="*/ 37513 w 47948"/>
                <a:gd name="connsiteY5" fmla="*/ 0 h 57374"/>
                <a:gd name="connsiteX6" fmla="*/ 47949 w 47948"/>
                <a:gd name="connsiteY6" fmla="*/ 0 h 57374"/>
                <a:gd name="connsiteX7" fmla="*/ 47949 w 47948"/>
                <a:gd name="connsiteY7" fmla="*/ 57375 h 57374"/>
                <a:gd name="connsiteX8" fmla="*/ 38923 w 47948"/>
                <a:gd name="connsiteY8" fmla="*/ 57375 h 57374"/>
                <a:gd name="connsiteX9" fmla="*/ 38923 w 47948"/>
                <a:gd name="connsiteY9" fmla="*/ 12153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48" h="57374">
                  <a:moveTo>
                    <a:pt x="10154" y="57375"/>
                  </a:moveTo>
                  <a:lnTo>
                    <a:pt x="0" y="57375"/>
                  </a:lnTo>
                  <a:lnTo>
                    <a:pt x="0" y="0"/>
                  </a:lnTo>
                  <a:lnTo>
                    <a:pt x="9026" y="0"/>
                  </a:lnTo>
                  <a:lnTo>
                    <a:pt x="9026" y="44939"/>
                  </a:lnTo>
                  <a:lnTo>
                    <a:pt x="37513" y="0"/>
                  </a:lnTo>
                  <a:lnTo>
                    <a:pt x="47949" y="0"/>
                  </a:lnTo>
                  <a:lnTo>
                    <a:pt x="47949" y="57375"/>
                  </a:lnTo>
                  <a:lnTo>
                    <a:pt x="38923" y="57375"/>
                  </a:lnTo>
                  <a:lnTo>
                    <a:pt x="38923" y="12153"/>
                  </a:lnTo>
                  <a:close/>
                </a:path>
              </a:pathLst>
            </a:custGeom>
            <a:solidFill>
              <a:srgbClr val="7F8183"/>
            </a:solidFill>
            <a:ln w="2790" cap="flat">
              <a:noFill/>
              <a:prstDash val="solid"/>
              <a:miter/>
            </a:ln>
          </p:spPr>
          <p:txBody>
            <a:bodyPr rtlCol="0" anchor="ctr"/>
            <a:lstStyle/>
            <a:p>
              <a:endParaRPr lang="x-none" sz="1905"/>
            </a:p>
          </p:txBody>
        </p:sp>
        <p:sp>
          <p:nvSpPr>
            <p:cNvPr id="45" name="Freeform 44">
              <a:extLst>
                <a:ext uri="{FF2B5EF4-FFF2-40B4-BE49-F238E27FC236}">
                  <a16:creationId xmlns:a16="http://schemas.microsoft.com/office/drawing/2014/main" id="{5235B930-F4AF-9044-9C2F-93969269A01D}"/>
                </a:ext>
              </a:extLst>
            </p:cNvPr>
            <p:cNvSpPr/>
            <p:nvPr/>
          </p:nvSpPr>
          <p:spPr>
            <a:xfrm>
              <a:off x="1684875" y="6036849"/>
              <a:ext cx="48230" cy="79137"/>
            </a:xfrm>
            <a:custGeom>
              <a:avLst/>
              <a:gdLst>
                <a:gd name="connsiteX0" fmla="*/ 24256 w 48230"/>
                <a:gd name="connsiteY0" fmla="*/ 15545 h 79137"/>
                <a:gd name="connsiteX1" fmla="*/ 11282 w 48230"/>
                <a:gd name="connsiteY1" fmla="*/ 11305 h 79137"/>
                <a:gd name="connsiteX2" fmla="*/ 7051 w 48230"/>
                <a:gd name="connsiteY2" fmla="*/ 0 h 79137"/>
                <a:gd name="connsiteX3" fmla="*/ 14949 w 48230"/>
                <a:gd name="connsiteY3" fmla="*/ 0 h 79137"/>
                <a:gd name="connsiteX4" fmla="*/ 17487 w 48230"/>
                <a:gd name="connsiteY4" fmla="*/ 6218 h 79137"/>
                <a:gd name="connsiteX5" fmla="*/ 23974 w 48230"/>
                <a:gd name="connsiteY5" fmla="*/ 8479 h 79137"/>
                <a:gd name="connsiteX6" fmla="*/ 30462 w 48230"/>
                <a:gd name="connsiteY6" fmla="*/ 6218 h 79137"/>
                <a:gd name="connsiteX7" fmla="*/ 33000 w 48230"/>
                <a:gd name="connsiteY7" fmla="*/ 0 h 79137"/>
                <a:gd name="connsiteX8" fmla="*/ 40897 w 48230"/>
                <a:gd name="connsiteY8" fmla="*/ 0 h 79137"/>
                <a:gd name="connsiteX9" fmla="*/ 36667 w 48230"/>
                <a:gd name="connsiteY9" fmla="*/ 11305 h 79137"/>
                <a:gd name="connsiteX10" fmla="*/ 24256 w 48230"/>
                <a:gd name="connsiteY10" fmla="*/ 15545 h 79137"/>
                <a:gd name="connsiteX11" fmla="*/ 10154 w 48230"/>
                <a:gd name="connsiteY11" fmla="*/ 79138 h 79137"/>
                <a:gd name="connsiteX12" fmla="*/ 0 w 48230"/>
                <a:gd name="connsiteY12" fmla="*/ 79138 h 79137"/>
                <a:gd name="connsiteX13" fmla="*/ 0 w 48230"/>
                <a:gd name="connsiteY13" fmla="*/ 21763 h 79137"/>
                <a:gd name="connsiteX14" fmla="*/ 9308 w 48230"/>
                <a:gd name="connsiteY14" fmla="*/ 21763 h 79137"/>
                <a:gd name="connsiteX15" fmla="*/ 9308 w 48230"/>
                <a:gd name="connsiteY15" fmla="*/ 66702 h 79137"/>
                <a:gd name="connsiteX16" fmla="*/ 37795 w 48230"/>
                <a:gd name="connsiteY16" fmla="*/ 21763 h 79137"/>
                <a:gd name="connsiteX17" fmla="*/ 48231 w 48230"/>
                <a:gd name="connsiteY17" fmla="*/ 21763 h 79137"/>
                <a:gd name="connsiteX18" fmla="*/ 48231 w 48230"/>
                <a:gd name="connsiteY18" fmla="*/ 79138 h 79137"/>
                <a:gd name="connsiteX19" fmla="*/ 38923 w 48230"/>
                <a:gd name="connsiteY19" fmla="*/ 79138 h 79137"/>
                <a:gd name="connsiteX20" fmla="*/ 38923 w 48230"/>
                <a:gd name="connsiteY20" fmla="*/ 33916 h 79137"/>
                <a:gd name="connsiteX21" fmla="*/ 10154 w 48230"/>
                <a:gd name="connsiteY21" fmla="*/ 79138 h 7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230" h="79137">
                  <a:moveTo>
                    <a:pt x="24256" y="15545"/>
                  </a:moveTo>
                  <a:cubicBezTo>
                    <a:pt x="18333" y="15545"/>
                    <a:pt x="14103" y="14132"/>
                    <a:pt x="11282" y="11305"/>
                  </a:cubicBezTo>
                  <a:cubicBezTo>
                    <a:pt x="8462" y="8479"/>
                    <a:pt x="7051" y="4805"/>
                    <a:pt x="7051" y="0"/>
                  </a:cubicBezTo>
                  <a:lnTo>
                    <a:pt x="14949" y="0"/>
                  </a:lnTo>
                  <a:cubicBezTo>
                    <a:pt x="15231" y="2544"/>
                    <a:pt x="16077" y="4805"/>
                    <a:pt x="17487" y="6218"/>
                  </a:cubicBezTo>
                  <a:cubicBezTo>
                    <a:pt x="18897" y="7631"/>
                    <a:pt x="21154" y="8479"/>
                    <a:pt x="23974" y="8479"/>
                  </a:cubicBezTo>
                  <a:cubicBezTo>
                    <a:pt x="26795" y="8479"/>
                    <a:pt x="29051" y="7631"/>
                    <a:pt x="30462" y="6218"/>
                  </a:cubicBezTo>
                  <a:cubicBezTo>
                    <a:pt x="31872" y="4805"/>
                    <a:pt x="32718" y="2544"/>
                    <a:pt x="33000" y="0"/>
                  </a:cubicBezTo>
                  <a:lnTo>
                    <a:pt x="40897" y="0"/>
                  </a:lnTo>
                  <a:cubicBezTo>
                    <a:pt x="40615" y="4522"/>
                    <a:pt x="39205" y="8196"/>
                    <a:pt x="36667" y="11305"/>
                  </a:cubicBezTo>
                  <a:cubicBezTo>
                    <a:pt x="34128" y="14132"/>
                    <a:pt x="29897" y="15545"/>
                    <a:pt x="24256" y="15545"/>
                  </a:cubicBezTo>
                  <a:moveTo>
                    <a:pt x="10154" y="79138"/>
                  </a:moveTo>
                  <a:lnTo>
                    <a:pt x="0" y="79138"/>
                  </a:lnTo>
                  <a:lnTo>
                    <a:pt x="0" y="21763"/>
                  </a:lnTo>
                  <a:lnTo>
                    <a:pt x="9308" y="21763"/>
                  </a:lnTo>
                  <a:lnTo>
                    <a:pt x="9308" y="66702"/>
                  </a:lnTo>
                  <a:lnTo>
                    <a:pt x="37795" y="21763"/>
                  </a:lnTo>
                  <a:lnTo>
                    <a:pt x="48231" y="21763"/>
                  </a:lnTo>
                  <a:lnTo>
                    <a:pt x="48231" y="79138"/>
                  </a:lnTo>
                  <a:lnTo>
                    <a:pt x="38923" y="79138"/>
                  </a:lnTo>
                  <a:lnTo>
                    <a:pt x="38923" y="33916"/>
                  </a:lnTo>
                  <a:lnTo>
                    <a:pt x="10154" y="79138"/>
                  </a:lnTo>
                  <a:close/>
                </a:path>
              </a:pathLst>
            </a:custGeom>
            <a:solidFill>
              <a:srgbClr val="7F8183"/>
            </a:solidFill>
            <a:ln w="2790" cap="flat">
              <a:noFill/>
              <a:prstDash val="solid"/>
              <a:miter/>
            </a:ln>
          </p:spPr>
          <p:txBody>
            <a:bodyPr rtlCol="0" anchor="ctr"/>
            <a:lstStyle/>
            <a:p>
              <a:endParaRPr lang="x-none" sz="1905"/>
            </a:p>
          </p:txBody>
        </p:sp>
        <p:sp>
          <p:nvSpPr>
            <p:cNvPr id="46" name="Freeform 45">
              <a:extLst>
                <a:ext uri="{FF2B5EF4-FFF2-40B4-BE49-F238E27FC236}">
                  <a16:creationId xmlns:a16="http://schemas.microsoft.com/office/drawing/2014/main" id="{0B5BD2DA-8C99-714A-8DD4-0648E4667B1A}"/>
                </a:ext>
              </a:extLst>
            </p:cNvPr>
            <p:cNvSpPr/>
            <p:nvPr/>
          </p:nvSpPr>
          <p:spPr>
            <a:xfrm>
              <a:off x="1260952" y="5466493"/>
              <a:ext cx="483718" cy="255784"/>
            </a:xfrm>
            <a:custGeom>
              <a:avLst/>
              <a:gdLst>
                <a:gd name="connsiteX0" fmla="*/ 483718 w 483718"/>
                <a:gd name="connsiteY0" fmla="*/ 0 h 255784"/>
                <a:gd name="connsiteX1" fmla="*/ 0 w 483718"/>
                <a:gd name="connsiteY1" fmla="*/ 212541 h 255784"/>
                <a:gd name="connsiteX2" fmla="*/ 0 w 483718"/>
                <a:gd name="connsiteY2" fmla="*/ 255784 h 255784"/>
                <a:gd name="connsiteX3" fmla="*/ 483718 w 483718"/>
                <a:gd name="connsiteY3" fmla="*/ 43243 h 255784"/>
              </a:gdLst>
              <a:ahLst/>
              <a:cxnLst>
                <a:cxn ang="0">
                  <a:pos x="connsiteX0" y="connsiteY0"/>
                </a:cxn>
                <a:cxn ang="0">
                  <a:pos x="connsiteX1" y="connsiteY1"/>
                </a:cxn>
                <a:cxn ang="0">
                  <a:pos x="connsiteX2" y="connsiteY2"/>
                </a:cxn>
                <a:cxn ang="0">
                  <a:pos x="connsiteX3" y="connsiteY3"/>
                </a:cxn>
              </a:cxnLst>
              <a:rect l="l" t="t" r="r" b="b"/>
              <a:pathLst>
                <a:path w="483718" h="255784">
                  <a:moveTo>
                    <a:pt x="483718" y="0"/>
                  </a:moveTo>
                  <a:lnTo>
                    <a:pt x="0" y="212541"/>
                  </a:lnTo>
                  <a:lnTo>
                    <a:pt x="0" y="255784"/>
                  </a:lnTo>
                  <a:lnTo>
                    <a:pt x="483718" y="43243"/>
                  </a:lnTo>
                  <a:close/>
                </a:path>
              </a:pathLst>
            </a:custGeom>
            <a:solidFill>
              <a:srgbClr val="E22B26"/>
            </a:solidFill>
            <a:ln w="2790" cap="flat">
              <a:noFill/>
              <a:prstDash val="solid"/>
              <a:miter/>
            </a:ln>
          </p:spPr>
          <p:txBody>
            <a:bodyPr rtlCol="0" anchor="ctr"/>
            <a:lstStyle/>
            <a:p>
              <a:endParaRPr lang="x-none" sz="1905"/>
            </a:p>
          </p:txBody>
        </p:sp>
      </p:grpSp>
    </p:spTree>
    <p:extLst>
      <p:ext uri="{BB962C8B-B14F-4D97-AF65-F5344CB8AC3E}">
        <p14:creationId xmlns:p14="http://schemas.microsoft.com/office/powerpoint/2010/main" val="177781476"/>
      </p:ext>
    </p:extLst>
  </p:cSld>
  <p:clrMapOvr>
    <a:masterClrMapping/>
  </p:clrMapOvr>
  <p:transition>
    <p:fade/>
  </p:transition>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_Title">
    <p:bg>
      <p:bgPr>
        <a:solidFill>
          <a:srgbClr val="FFFFFF"/>
        </a:solidFill>
        <a:effectLst/>
      </p:bgPr>
    </p:bg>
    <p:spTree>
      <p:nvGrpSpPr>
        <p:cNvPr id="1" name=""/>
        <p:cNvGrpSpPr/>
        <p:nvPr/>
      </p:nvGrpSpPr>
      <p:grpSpPr>
        <a:xfrm>
          <a:off x="0" y="0"/>
          <a:ext cx="0" cy="0"/>
          <a:chOff x="0" y="0"/>
          <a:chExt cx="0" cy="0"/>
        </a:xfrm>
      </p:grpSpPr>
      <p:sp>
        <p:nvSpPr>
          <p:cNvPr id="8" name="Picture Placeholder 9">
            <a:extLst>
              <a:ext uri="{FF2B5EF4-FFF2-40B4-BE49-F238E27FC236}">
                <a16:creationId xmlns:a16="http://schemas.microsoft.com/office/drawing/2014/main" id="{4A8BE4C6-EB74-5043-82FF-ED6D3045D298}"/>
              </a:ext>
            </a:extLst>
          </p:cNvPr>
          <p:cNvSpPr>
            <a:spLocks noGrp="1"/>
          </p:cNvSpPr>
          <p:nvPr>
            <p:ph type="pic" sz="quarter" idx="13"/>
          </p:nvPr>
        </p:nvSpPr>
        <p:spPr>
          <a:xfrm>
            <a:off x="2" y="2"/>
            <a:ext cx="12192000" cy="6858000"/>
          </a:xfrm>
          <a:prstGeom prst="rect">
            <a:avLst/>
          </a:prstGeom>
        </p:spPr>
        <p:txBody>
          <a:bodyPr anchor="ctr"/>
          <a:lstStyle>
            <a:lvl1pPr algn="ctr">
              <a:buFontTx/>
              <a:buNone/>
              <a:defRPr sz="2115"/>
            </a:lvl1pPr>
          </a:lstStyle>
          <a:p>
            <a:endParaRPr lang="x-none"/>
          </a:p>
        </p:txBody>
      </p:sp>
      <p:sp>
        <p:nvSpPr>
          <p:cNvPr id="23" name="Title 1"/>
          <p:cNvSpPr>
            <a:spLocks noGrp="1"/>
          </p:cNvSpPr>
          <p:nvPr>
            <p:ph type="ctrTitle" hasCustomPrompt="1"/>
          </p:nvPr>
        </p:nvSpPr>
        <p:spPr>
          <a:xfrm>
            <a:off x="3124431" y="1028736"/>
            <a:ext cx="8686255" cy="2476276"/>
          </a:xfrm>
          <a:prstGeom prst="rect">
            <a:avLst/>
          </a:prstGeom>
          <a:noFill/>
        </p:spPr>
        <p:txBody>
          <a:bodyPr lIns="180000" tIns="180000" rIns="864000" bIns="36000" anchor="b" anchorCtr="0">
            <a:noAutofit/>
          </a:bodyPr>
          <a:lstStyle>
            <a:lvl1pPr algn="l">
              <a:lnSpc>
                <a:spcPct val="100000"/>
              </a:lnSpc>
              <a:defRPr sz="5818" b="0" i="0" cap="none" spc="212" baseline="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Title slide header</a:t>
            </a:r>
            <a:r>
              <a:rPr lang="mr-IN" dirty="0"/>
              <a:t>…</a:t>
            </a:r>
            <a:endParaRPr lang="en-US" dirty="0"/>
          </a:p>
        </p:txBody>
      </p:sp>
      <p:sp>
        <p:nvSpPr>
          <p:cNvPr id="11" name="Text Placeholder 10">
            <a:extLst>
              <a:ext uri="{FF2B5EF4-FFF2-40B4-BE49-F238E27FC236}">
                <a16:creationId xmlns:a16="http://schemas.microsoft.com/office/drawing/2014/main" id="{49BCE9F6-2934-314B-BF78-430EC028CA66}"/>
              </a:ext>
            </a:extLst>
          </p:cNvPr>
          <p:cNvSpPr>
            <a:spLocks noGrp="1"/>
          </p:cNvSpPr>
          <p:nvPr>
            <p:ph type="body" sz="quarter" idx="10" hasCustomPrompt="1"/>
          </p:nvPr>
        </p:nvSpPr>
        <p:spPr>
          <a:xfrm>
            <a:off x="7925887" y="5668806"/>
            <a:ext cx="4837829" cy="888610"/>
          </a:xfrm>
          <a:prstGeom prst="rect">
            <a:avLst/>
          </a:prstGeom>
        </p:spPr>
        <p:txBody>
          <a:bodyPr lIns="180000" rIns="864000" anchor="b"/>
          <a:lstStyle>
            <a:lvl1pPr marL="0" indent="0">
              <a:buFontTx/>
              <a:buNone/>
              <a:defRPr sz="1376" b="0" i="0">
                <a:solidFill>
                  <a:srgbClr val="E41910"/>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Subtitle</a:t>
            </a:r>
            <a:endParaRPr lang="x-none" dirty="0"/>
          </a:p>
        </p:txBody>
      </p:sp>
      <p:sp>
        <p:nvSpPr>
          <p:cNvPr id="15" name="Text Placeholder 10">
            <a:extLst>
              <a:ext uri="{FF2B5EF4-FFF2-40B4-BE49-F238E27FC236}">
                <a16:creationId xmlns:a16="http://schemas.microsoft.com/office/drawing/2014/main" id="{7E236611-2C19-7C49-A7D4-5478F7BB8173}"/>
              </a:ext>
            </a:extLst>
          </p:cNvPr>
          <p:cNvSpPr>
            <a:spLocks noGrp="1"/>
          </p:cNvSpPr>
          <p:nvPr>
            <p:ph type="body" sz="quarter" idx="11" hasCustomPrompt="1"/>
          </p:nvPr>
        </p:nvSpPr>
        <p:spPr>
          <a:xfrm>
            <a:off x="3088055" y="5661530"/>
            <a:ext cx="3884802" cy="888610"/>
          </a:xfrm>
          <a:prstGeom prst="rect">
            <a:avLst/>
          </a:prstGeom>
        </p:spPr>
        <p:txBody>
          <a:bodyPr lIns="180000" rIns="864000" anchor="b"/>
          <a:lstStyle>
            <a:lvl1pPr marL="0" indent="0">
              <a:buFontTx/>
              <a:buNone/>
              <a:defRPr sz="1376"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Докладчик</a:t>
            </a:r>
            <a:br>
              <a:rPr lang="ru-RU" dirty="0"/>
            </a:br>
            <a:r>
              <a:rPr lang="ru-RU" dirty="0"/>
              <a:t>Фамилия Имя Отчество</a:t>
            </a:r>
            <a:endParaRPr lang="x-none" dirty="0"/>
          </a:p>
        </p:txBody>
      </p:sp>
      <p:sp>
        <p:nvSpPr>
          <p:cNvPr id="16" name="Text Placeholder 10">
            <a:extLst>
              <a:ext uri="{FF2B5EF4-FFF2-40B4-BE49-F238E27FC236}">
                <a16:creationId xmlns:a16="http://schemas.microsoft.com/office/drawing/2014/main" id="{935039F0-13FC-3745-B58A-56E53B716FB6}"/>
              </a:ext>
            </a:extLst>
          </p:cNvPr>
          <p:cNvSpPr>
            <a:spLocks noGrp="1"/>
          </p:cNvSpPr>
          <p:nvPr>
            <p:ph type="body" sz="quarter" idx="12" hasCustomPrompt="1"/>
          </p:nvPr>
        </p:nvSpPr>
        <p:spPr>
          <a:xfrm>
            <a:off x="3073509" y="3475910"/>
            <a:ext cx="6515827" cy="1028831"/>
          </a:xfrm>
          <a:prstGeom prst="rect">
            <a:avLst/>
          </a:prstGeom>
        </p:spPr>
        <p:txBody>
          <a:bodyPr lIns="180000" rIns="864000" anchor="b"/>
          <a:lstStyle>
            <a:lvl1pPr marL="0" indent="0">
              <a:buFontTx/>
              <a:buNone/>
              <a:defRPr sz="253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orem ipsum dolor sit </a:t>
            </a:r>
            <a:r>
              <a:rPr lang="en-US" dirty="0" err="1"/>
              <a:t>amet</a:t>
            </a:r>
            <a:endParaRPr lang="x-none" dirty="0"/>
          </a:p>
        </p:txBody>
      </p:sp>
      <p:grpSp>
        <p:nvGrpSpPr>
          <p:cNvPr id="18" name="Graphic 2">
            <a:extLst>
              <a:ext uri="{FF2B5EF4-FFF2-40B4-BE49-F238E27FC236}">
                <a16:creationId xmlns:a16="http://schemas.microsoft.com/office/drawing/2014/main" id="{392D98F0-3E36-B746-92B3-99D11C67E928}"/>
              </a:ext>
            </a:extLst>
          </p:cNvPr>
          <p:cNvGrpSpPr/>
          <p:nvPr userDrawn="1"/>
        </p:nvGrpSpPr>
        <p:grpSpPr>
          <a:xfrm>
            <a:off x="1341054" y="2462731"/>
            <a:ext cx="838222" cy="890667"/>
            <a:chOff x="4522787" y="1925637"/>
            <a:chExt cx="2472690" cy="2627001"/>
          </a:xfrm>
        </p:grpSpPr>
        <p:sp>
          <p:nvSpPr>
            <p:cNvPr id="19" name="Freeform 18">
              <a:extLst>
                <a:ext uri="{FF2B5EF4-FFF2-40B4-BE49-F238E27FC236}">
                  <a16:creationId xmlns:a16="http://schemas.microsoft.com/office/drawing/2014/main" id="{EB9BCF5C-41AF-264F-8C11-429785FFDF69}"/>
                </a:ext>
              </a:extLst>
            </p:cNvPr>
            <p:cNvSpPr/>
            <p:nvPr/>
          </p:nvSpPr>
          <p:spPr>
            <a:xfrm>
              <a:off x="4522787" y="1925637"/>
              <a:ext cx="2472690" cy="1641876"/>
            </a:xfrm>
            <a:custGeom>
              <a:avLst/>
              <a:gdLst>
                <a:gd name="connsiteX0" fmla="*/ 700088 w 2472690"/>
                <a:gd name="connsiteY0" fmla="*/ 820938 h 1641876"/>
                <a:gd name="connsiteX1" fmla="*/ 1235393 w 2472690"/>
                <a:gd name="connsiteY1" fmla="*/ 287566 h 1641876"/>
                <a:gd name="connsiteX2" fmla="*/ 1497330 w 2472690"/>
                <a:gd name="connsiteY2" fmla="*/ 355898 h 1641876"/>
                <a:gd name="connsiteX3" fmla="*/ 1497330 w 2472690"/>
                <a:gd name="connsiteY3" fmla="*/ 0 h 1641876"/>
                <a:gd name="connsiteX4" fmla="*/ 0 w 2472690"/>
                <a:gd name="connsiteY4" fmla="*/ 647260 h 1641876"/>
                <a:gd name="connsiteX5" fmla="*/ 0 w 2472690"/>
                <a:gd name="connsiteY5" fmla="*/ 1641876 h 1641876"/>
                <a:gd name="connsiteX6" fmla="*/ 914400 w 2472690"/>
                <a:gd name="connsiteY6" fmla="*/ 1247067 h 1641876"/>
                <a:gd name="connsiteX7" fmla="*/ 700088 w 2472690"/>
                <a:gd name="connsiteY7" fmla="*/ 820938 h 1641876"/>
                <a:gd name="connsiteX8" fmla="*/ 1558290 w 2472690"/>
                <a:gd name="connsiteY8" fmla="*/ 394810 h 1641876"/>
                <a:gd name="connsiteX9" fmla="*/ 1771650 w 2472690"/>
                <a:gd name="connsiteY9" fmla="*/ 820938 h 1641876"/>
                <a:gd name="connsiteX10" fmla="*/ 1236345 w 2472690"/>
                <a:gd name="connsiteY10" fmla="*/ 1354311 h 1641876"/>
                <a:gd name="connsiteX11" fmla="*/ 974408 w 2472690"/>
                <a:gd name="connsiteY11" fmla="*/ 1285978 h 1641876"/>
                <a:gd name="connsiteX12" fmla="*/ 974408 w 2472690"/>
                <a:gd name="connsiteY12" fmla="*/ 1641876 h 1641876"/>
                <a:gd name="connsiteX13" fmla="*/ 2472690 w 2472690"/>
                <a:gd name="connsiteY13" fmla="*/ 994616 h 1641876"/>
                <a:gd name="connsiteX14" fmla="*/ 2472690 w 2472690"/>
                <a:gd name="connsiteY14" fmla="*/ 0 h 1641876"/>
                <a:gd name="connsiteX15" fmla="*/ 1558290 w 2472690"/>
                <a:gd name="connsiteY15" fmla="*/ 394810 h 164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72690" h="1641876">
                  <a:moveTo>
                    <a:pt x="700088" y="820938"/>
                  </a:moveTo>
                  <a:cubicBezTo>
                    <a:pt x="700088" y="525780"/>
                    <a:pt x="940118" y="287566"/>
                    <a:pt x="1235393" y="287566"/>
                  </a:cubicBezTo>
                  <a:cubicBezTo>
                    <a:pt x="1330643" y="287566"/>
                    <a:pt x="1420178" y="312241"/>
                    <a:pt x="1497330" y="355898"/>
                  </a:cubicBezTo>
                  <a:lnTo>
                    <a:pt x="1497330" y="0"/>
                  </a:lnTo>
                  <a:lnTo>
                    <a:pt x="0" y="647260"/>
                  </a:lnTo>
                  <a:lnTo>
                    <a:pt x="0" y="1641876"/>
                  </a:lnTo>
                  <a:lnTo>
                    <a:pt x="914400" y="1247067"/>
                  </a:lnTo>
                  <a:cubicBezTo>
                    <a:pt x="784860" y="1150262"/>
                    <a:pt x="700088" y="995565"/>
                    <a:pt x="700088" y="820938"/>
                  </a:cubicBezTo>
                  <a:close/>
                  <a:moveTo>
                    <a:pt x="1558290" y="394810"/>
                  </a:moveTo>
                  <a:cubicBezTo>
                    <a:pt x="1687830" y="491614"/>
                    <a:pt x="1771650" y="647260"/>
                    <a:pt x="1771650" y="820938"/>
                  </a:cubicBezTo>
                  <a:cubicBezTo>
                    <a:pt x="1771650" y="1116096"/>
                    <a:pt x="1531620" y="1354311"/>
                    <a:pt x="1236345" y="1354311"/>
                  </a:cubicBezTo>
                  <a:cubicBezTo>
                    <a:pt x="1141095" y="1354311"/>
                    <a:pt x="1051560" y="1329635"/>
                    <a:pt x="974408" y="1285978"/>
                  </a:cubicBezTo>
                  <a:lnTo>
                    <a:pt x="974408" y="1641876"/>
                  </a:lnTo>
                  <a:lnTo>
                    <a:pt x="2472690" y="994616"/>
                  </a:lnTo>
                  <a:lnTo>
                    <a:pt x="2472690" y="0"/>
                  </a:lnTo>
                  <a:lnTo>
                    <a:pt x="1558290" y="394810"/>
                  </a:lnTo>
                  <a:close/>
                </a:path>
              </a:pathLst>
            </a:custGeom>
            <a:solidFill>
              <a:srgbClr val="7F8183"/>
            </a:solidFill>
            <a:ln w="9525" cap="flat">
              <a:noFill/>
              <a:prstDash val="solid"/>
              <a:miter/>
            </a:ln>
          </p:spPr>
          <p:txBody>
            <a:bodyPr rtlCol="0" anchor="ctr"/>
            <a:lstStyle/>
            <a:p>
              <a:endParaRPr lang="x-none" sz="1905"/>
            </a:p>
          </p:txBody>
        </p:sp>
        <p:sp>
          <p:nvSpPr>
            <p:cNvPr id="20" name="Freeform 19">
              <a:extLst>
                <a:ext uri="{FF2B5EF4-FFF2-40B4-BE49-F238E27FC236}">
                  <a16:creationId xmlns:a16="http://schemas.microsoft.com/office/drawing/2014/main" id="{80272C9C-4A20-BB4D-B41E-195AC4F13D6D}"/>
                </a:ext>
              </a:extLst>
            </p:cNvPr>
            <p:cNvSpPr/>
            <p:nvPr/>
          </p:nvSpPr>
          <p:spPr>
            <a:xfrm>
              <a:off x="5470524" y="2459009"/>
              <a:ext cx="577215" cy="575131"/>
            </a:xfrm>
            <a:custGeom>
              <a:avLst/>
              <a:gdLst>
                <a:gd name="connsiteX0" fmla="*/ 577215 w 577215"/>
                <a:gd name="connsiteY0" fmla="*/ 287566 h 575131"/>
                <a:gd name="connsiteX1" fmla="*/ 288608 w 577215"/>
                <a:gd name="connsiteY1" fmla="*/ 575131 h 575131"/>
                <a:gd name="connsiteX2" fmla="*/ 0 w 577215"/>
                <a:gd name="connsiteY2" fmla="*/ 287566 h 575131"/>
                <a:gd name="connsiteX3" fmla="*/ 288608 w 577215"/>
                <a:gd name="connsiteY3" fmla="*/ 0 h 575131"/>
                <a:gd name="connsiteX4" fmla="*/ 577215 w 577215"/>
                <a:gd name="connsiteY4" fmla="*/ 287566 h 57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15" h="575131">
                  <a:moveTo>
                    <a:pt x="577215" y="287566"/>
                  </a:moveTo>
                  <a:cubicBezTo>
                    <a:pt x="577215" y="446059"/>
                    <a:pt x="447675" y="575131"/>
                    <a:pt x="288608" y="575131"/>
                  </a:cubicBezTo>
                  <a:cubicBezTo>
                    <a:pt x="129540" y="575131"/>
                    <a:pt x="0" y="446059"/>
                    <a:pt x="0" y="287566"/>
                  </a:cubicBezTo>
                  <a:cubicBezTo>
                    <a:pt x="0" y="129072"/>
                    <a:pt x="129540" y="0"/>
                    <a:pt x="288608" y="0"/>
                  </a:cubicBezTo>
                  <a:cubicBezTo>
                    <a:pt x="447675" y="0"/>
                    <a:pt x="577215" y="129072"/>
                    <a:pt x="577215" y="287566"/>
                  </a:cubicBezTo>
                  <a:close/>
                </a:path>
              </a:pathLst>
            </a:custGeom>
            <a:solidFill>
              <a:srgbClr val="E72B2B"/>
            </a:solidFill>
            <a:ln w="9525" cap="flat">
              <a:noFill/>
              <a:prstDash val="solid"/>
              <a:miter/>
            </a:ln>
          </p:spPr>
          <p:txBody>
            <a:bodyPr rtlCol="0" anchor="ctr"/>
            <a:lstStyle/>
            <a:p>
              <a:endParaRPr lang="x-none" sz="1905"/>
            </a:p>
          </p:txBody>
        </p:sp>
        <p:sp>
          <p:nvSpPr>
            <p:cNvPr id="21" name="Freeform 20">
              <a:extLst>
                <a:ext uri="{FF2B5EF4-FFF2-40B4-BE49-F238E27FC236}">
                  <a16:creationId xmlns:a16="http://schemas.microsoft.com/office/drawing/2014/main" id="{2211A8E0-0D4A-F448-A678-4DE133CCC8D9}"/>
                </a:ext>
              </a:extLst>
            </p:cNvPr>
            <p:cNvSpPr/>
            <p:nvPr/>
          </p:nvSpPr>
          <p:spPr>
            <a:xfrm>
              <a:off x="4522787" y="3863620"/>
              <a:ext cx="2472690" cy="689018"/>
            </a:xfrm>
            <a:custGeom>
              <a:avLst/>
              <a:gdLst>
                <a:gd name="connsiteX0" fmla="*/ 345758 w 2472690"/>
                <a:gd name="connsiteY0" fmla="*/ 0 h 689018"/>
                <a:gd name="connsiteX1" fmla="*/ 0 w 2472690"/>
                <a:gd name="connsiteY1" fmla="*/ 344509 h 689018"/>
                <a:gd name="connsiteX2" fmla="*/ 345758 w 2472690"/>
                <a:gd name="connsiteY2" fmla="*/ 689019 h 689018"/>
                <a:gd name="connsiteX3" fmla="*/ 691515 w 2472690"/>
                <a:gd name="connsiteY3" fmla="*/ 344509 h 689018"/>
                <a:gd name="connsiteX4" fmla="*/ 345758 w 2472690"/>
                <a:gd name="connsiteY4" fmla="*/ 0 h 689018"/>
                <a:gd name="connsiteX5" fmla="*/ 345758 w 2472690"/>
                <a:gd name="connsiteY5" fmla="*/ 525780 h 689018"/>
                <a:gd name="connsiteX6" fmla="*/ 164783 w 2472690"/>
                <a:gd name="connsiteY6" fmla="*/ 345458 h 689018"/>
                <a:gd name="connsiteX7" fmla="*/ 345758 w 2472690"/>
                <a:gd name="connsiteY7" fmla="*/ 165137 h 689018"/>
                <a:gd name="connsiteX8" fmla="*/ 526733 w 2472690"/>
                <a:gd name="connsiteY8" fmla="*/ 345458 h 689018"/>
                <a:gd name="connsiteX9" fmla="*/ 345758 w 2472690"/>
                <a:gd name="connsiteY9" fmla="*/ 525780 h 689018"/>
                <a:gd name="connsiteX10" fmla="*/ 1253490 w 2472690"/>
                <a:gd name="connsiteY10" fmla="*/ 284718 h 689018"/>
                <a:gd name="connsiteX11" fmla="*/ 1063943 w 2472690"/>
                <a:gd name="connsiteY11" fmla="*/ 17083 h 689018"/>
                <a:gd name="connsiteX12" fmla="*/ 899160 w 2472690"/>
                <a:gd name="connsiteY12" fmla="*/ 17083 h 689018"/>
                <a:gd name="connsiteX13" fmla="*/ 899160 w 2472690"/>
                <a:gd name="connsiteY13" fmla="*/ 673834 h 689018"/>
                <a:gd name="connsiteX14" fmla="*/ 1063943 w 2472690"/>
                <a:gd name="connsiteY14" fmla="*/ 673834 h 689018"/>
                <a:gd name="connsiteX15" fmla="*/ 1063943 w 2472690"/>
                <a:gd name="connsiteY15" fmla="*/ 301802 h 689018"/>
                <a:gd name="connsiteX16" fmla="*/ 1152525 w 2472690"/>
                <a:gd name="connsiteY16" fmla="*/ 427078 h 689018"/>
                <a:gd name="connsiteX17" fmla="*/ 1253490 w 2472690"/>
                <a:gd name="connsiteY17" fmla="*/ 569437 h 689018"/>
                <a:gd name="connsiteX18" fmla="*/ 1354455 w 2472690"/>
                <a:gd name="connsiteY18" fmla="*/ 427078 h 689018"/>
                <a:gd name="connsiteX19" fmla="*/ 1443038 w 2472690"/>
                <a:gd name="connsiteY19" fmla="*/ 301802 h 689018"/>
                <a:gd name="connsiteX20" fmla="*/ 1443038 w 2472690"/>
                <a:gd name="connsiteY20" fmla="*/ 673834 h 689018"/>
                <a:gd name="connsiteX21" fmla="*/ 1607820 w 2472690"/>
                <a:gd name="connsiteY21" fmla="*/ 673834 h 689018"/>
                <a:gd name="connsiteX22" fmla="*/ 1607820 w 2472690"/>
                <a:gd name="connsiteY22" fmla="*/ 17083 h 689018"/>
                <a:gd name="connsiteX23" fmla="*/ 1443038 w 2472690"/>
                <a:gd name="connsiteY23" fmla="*/ 17083 h 689018"/>
                <a:gd name="connsiteX24" fmla="*/ 1253490 w 2472690"/>
                <a:gd name="connsiteY24" fmla="*/ 284718 h 689018"/>
                <a:gd name="connsiteX25" fmla="*/ 2472690 w 2472690"/>
                <a:gd name="connsiteY25" fmla="*/ 18032 h 689018"/>
                <a:gd name="connsiteX26" fmla="*/ 2270760 w 2472690"/>
                <a:gd name="connsiteY26" fmla="*/ 18032 h 689018"/>
                <a:gd name="connsiteX27" fmla="*/ 2037398 w 2472690"/>
                <a:gd name="connsiteY27" fmla="*/ 336917 h 689018"/>
                <a:gd name="connsiteX28" fmla="*/ 2037398 w 2472690"/>
                <a:gd name="connsiteY28" fmla="*/ 18032 h 689018"/>
                <a:gd name="connsiteX29" fmla="*/ 1872615 w 2472690"/>
                <a:gd name="connsiteY29" fmla="*/ 18032 h 689018"/>
                <a:gd name="connsiteX30" fmla="*/ 1872615 w 2472690"/>
                <a:gd name="connsiteY30" fmla="*/ 674783 h 689018"/>
                <a:gd name="connsiteX31" fmla="*/ 2037398 w 2472690"/>
                <a:gd name="connsiteY31" fmla="*/ 674783 h 689018"/>
                <a:gd name="connsiteX32" fmla="*/ 2037398 w 2472690"/>
                <a:gd name="connsiteY32" fmla="*/ 354000 h 689018"/>
                <a:gd name="connsiteX33" fmla="*/ 2270760 w 2472690"/>
                <a:gd name="connsiteY33" fmla="*/ 674783 h 689018"/>
                <a:gd name="connsiteX34" fmla="*/ 2472690 w 2472690"/>
                <a:gd name="connsiteY34" fmla="*/ 674783 h 689018"/>
                <a:gd name="connsiteX35" fmla="*/ 2231708 w 2472690"/>
                <a:gd name="connsiteY35" fmla="*/ 346407 h 689018"/>
                <a:gd name="connsiteX36" fmla="*/ 2472690 w 2472690"/>
                <a:gd name="connsiteY36" fmla="*/ 18032 h 68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72690" h="689018">
                  <a:moveTo>
                    <a:pt x="345758" y="0"/>
                  </a:moveTo>
                  <a:cubicBezTo>
                    <a:pt x="155258" y="0"/>
                    <a:pt x="0" y="154697"/>
                    <a:pt x="0" y="344509"/>
                  </a:cubicBezTo>
                  <a:cubicBezTo>
                    <a:pt x="0" y="535271"/>
                    <a:pt x="155258" y="689019"/>
                    <a:pt x="345758" y="689019"/>
                  </a:cubicBezTo>
                  <a:cubicBezTo>
                    <a:pt x="537210" y="689019"/>
                    <a:pt x="691515" y="534322"/>
                    <a:pt x="691515" y="344509"/>
                  </a:cubicBezTo>
                  <a:cubicBezTo>
                    <a:pt x="692468" y="154697"/>
                    <a:pt x="537210" y="0"/>
                    <a:pt x="345758" y="0"/>
                  </a:cubicBezTo>
                  <a:close/>
                  <a:moveTo>
                    <a:pt x="345758" y="525780"/>
                  </a:moveTo>
                  <a:cubicBezTo>
                    <a:pt x="245745" y="525780"/>
                    <a:pt x="164783" y="445110"/>
                    <a:pt x="164783" y="345458"/>
                  </a:cubicBezTo>
                  <a:cubicBezTo>
                    <a:pt x="164783" y="245807"/>
                    <a:pt x="245745" y="165137"/>
                    <a:pt x="345758" y="165137"/>
                  </a:cubicBezTo>
                  <a:cubicBezTo>
                    <a:pt x="445770" y="165137"/>
                    <a:pt x="526733" y="245807"/>
                    <a:pt x="526733" y="345458"/>
                  </a:cubicBezTo>
                  <a:cubicBezTo>
                    <a:pt x="527685" y="444161"/>
                    <a:pt x="445770" y="525780"/>
                    <a:pt x="345758" y="525780"/>
                  </a:cubicBezTo>
                  <a:close/>
                  <a:moveTo>
                    <a:pt x="1253490" y="284718"/>
                  </a:moveTo>
                  <a:lnTo>
                    <a:pt x="1063943" y="17083"/>
                  </a:lnTo>
                  <a:lnTo>
                    <a:pt x="899160" y="17083"/>
                  </a:lnTo>
                  <a:lnTo>
                    <a:pt x="899160" y="673834"/>
                  </a:lnTo>
                  <a:lnTo>
                    <a:pt x="1063943" y="673834"/>
                  </a:lnTo>
                  <a:lnTo>
                    <a:pt x="1063943" y="301802"/>
                  </a:lnTo>
                  <a:lnTo>
                    <a:pt x="1152525" y="427078"/>
                  </a:lnTo>
                  <a:lnTo>
                    <a:pt x="1253490" y="569437"/>
                  </a:lnTo>
                  <a:lnTo>
                    <a:pt x="1354455" y="427078"/>
                  </a:lnTo>
                  <a:lnTo>
                    <a:pt x="1443038" y="301802"/>
                  </a:lnTo>
                  <a:lnTo>
                    <a:pt x="1443038" y="673834"/>
                  </a:lnTo>
                  <a:lnTo>
                    <a:pt x="1607820" y="673834"/>
                  </a:lnTo>
                  <a:lnTo>
                    <a:pt x="1607820" y="17083"/>
                  </a:lnTo>
                  <a:lnTo>
                    <a:pt x="1443038" y="17083"/>
                  </a:lnTo>
                  <a:lnTo>
                    <a:pt x="1253490" y="284718"/>
                  </a:lnTo>
                  <a:close/>
                  <a:moveTo>
                    <a:pt x="2472690" y="18032"/>
                  </a:moveTo>
                  <a:lnTo>
                    <a:pt x="2270760" y="18032"/>
                  </a:lnTo>
                  <a:lnTo>
                    <a:pt x="2037398" y="336917"/>
                  </a:lnTo>
                  <a:lnTo>
                    <a:pt x="2037398" y="18032"/>
                  </a:lnTo>
                  <a:lnTo>
                    <a:pt x="1872615" y="18032"/>
                  </a:lnTo>
                  <a:lnTo>
                    <a:pt x="1872615" y="674783"/>
                  </a:lnTo>
                  <a:lnTo>
                    <a:pt x="2037398" y="674783"/>
                  </a:lnTo>
                  <a:lnTo>
                    <a:pt x="2037398" y="354000"/>
                  </a:lnTo>
                  <a:lnTo>
                    <a:pt x="2270760" y="674783"/>
                  </a:lnTo>
                  <a:lnTo>
                    <a:pt x="2472690" y="674783"/>
                  </a:lnTo>
                  <a:lnTo>
                    <a:pt x="2231708" y="346407"/>
                  </a:lnTo>
                  <a:lnTo>
                    <a:pt x="2472690" y="18032"/>
                  </a:lnTo>
                  <a:close/>
                </a:path>
              </a:pathLst>
            </a:custGeom>
            <a:solidFill>
              <a:srgbClr val="7F8183"/>
            </a:solidFill>
            <a:ln w="9525" cap="flat">
              <a:noFill/>
              <a:prstDash val="solid"/>
              <a:miter/>
            </a:ln>
          </p:spPr>
          <p:txBody>
            <a:bodyPr rtlCol="0" anchor="ctr"/>
            <a:lstStyle/>
            <a:p>
              <a:endParaRPr lang="x-none" sz="1905"/>
            </a:p>
          </p:txBody>
        </p:sp>
      </p:grpSp>
      <p:grpSp>
        <p:nvGrpSpPr>
          <p:cNvPr id="22" name="Graphic 13">
            <a:extLst>
              <a:ext uri="{FF2B5EF4-FFF2-40B4-BE49-F238E27FC236}">
                <a16:creationId xmlns:a16="http://schemas.microsoft.com/office/drawing/2014/main" id="{F5BEF2D1-743B-3948-B737-F9549BF0243E}"/>
              </a:ext>
            </a:extLst>
          </p:cNvPr>
          <p:cNvGrpSpPr/>
          <p:nvPr userDrawn="1"/>
        </p:nvGrpSpPr>
        <p:grpSpPr>
          <a:xfrm>
            <a:off x="1309498" y="5763382"/>
            <a:ext cx="886399" cy="762739"/>
            <a:chOff x="1237542" y="5445861"/>
            <a:chExt cx="837693" cy="720718"/>
          </a:xfrm>
        </p:grpSpPr>
        <p:grpSp>
          <p:nvGrpSpPr>
            <p:cNvPr id="24" name="Graphic 13">
              <a:extLst>
                <a:ext uri="{FF2B5EF4-FFF2-40B4-BE49-F238E27FC236}">
                  <a16:creationId xmlns:a16="http://schemas.microsoft.com/office/drawing/2014/main" id="{A81CBB0C-3DBD-D24E-8417-883F9DD68891}"/>
                </a:ext>
              </a:extLst>
            </p:cNvPr>
            <p:cNvGrpSpPr/>
            <p:nvPr/>
          </p:nvGrpSpPr>
          <p:grpSpPr>
            <a:xfrm>
              <a:off x="1264054" y="5786435"/>
              <a:ext cx="327743" cy="106553"/>
              <a:chOff x="1264054" y="5786435"/>
              <a:chExt cx="327743" cy="106553"/>
            </a:xfrm>
            <a:solidFill>
              <a:srgbClr val="CFD4D9"/>
            </a:solidFill>
          </p:grpSpPr>
          <p:sp>
            <p:nvSpPr>
              <p:cNvPr id="54" name="Freeform 53">
                <a:extLst>
                  <a:ext uri="{FF2B5EF4-FFF2-40B4-BE49-F238E27FC236}">
                    <a16:creationId xmlns:a16="http://schemas.microsoft.com/office/drawing/2014/main" id="{762DD8C3-35E5-434B-9D71-9C5C4D339945}"/>
                  </a:ext>
                </a:extLst>
              </p:cNvPr>
              <p:cNvSpPr/>
              <p:nvPr/>
            </p:nvSpPr>
            <p:spPr>
              <a:xfrm>
                <a:off x="1264054" y="5786435"/>
                <a:ext cx="72205" cy="84225"/>
              </a:xfrm>
              <a:custGeom>
                <a:avLst/>
                <a:gdLst>
                  <a:gd name="connsiteX0" fmla="*/ 38077 w 72205"/>
                  <a:gd name="connsiteY0" fmla="*/ 74898 h 84225"/>
                  <a:gd name="connsiteX1" fmla="*/ 55000 w 72205"/>
                  <a:gd name="connsiteY1" fmla="*/ 69811 h 84225"/>
                  <a:gd name="connsiteX2" fmla="*/ 62615 w 72205"/>
                  <a:gd name="connsiteY2" fmla="*/ 55962 h 84225"/>
                  <a:gd name="connsiteX3" fmla="*/ 72205 w 72205"/>
                  <a:gd name="connsiteY3" fmla="*/ 57657 h 84225"/>
                  <a:gd name="connsiteX4" fmla="*/ 60923 w 72205"/>
                  <a:gd name="connsiteY4" fmla="*/ 77442 h 84225"/>
                  <a:gd name="connsiteX5" fmla="*/ 37795 w 72205"/>
                  <a:gd name="connsiteY5" fmla="*/ 84225 h 84225"/>
                  <a:gd name="connsiteX6" fmla="*/ 10154 w 72205"/>
                  <a:gd name="connsiteY6" fmla="*/ 72920 h 84225"/>
                  <a:gd name="connsiteX7" fmla="*/ 0 w 72205"/>
                  <a:gd name="connsiteY7" fmla="*/ 42113 h 84225"/>
                  <a:gd name="connsiteX8" fmla="*/ 2821 w 72205"/>
                  <a:gd name="connsiteY8" fmla="*/ 24307 h 84225"/>
                  <a:gd name="connsiteX9" fmla="*/ 10436 w 72205"/>
                  <a:gd name="connsiteY9" fmla="*/ 11023 h 84225"/>
                  <a:gd name="connsiteX10" fmla="*/ 22282 w 72205"/>
                  <a:gd name="connsiteY10" fmla="*/ 2826 h 84225"/>
                  <a:gd name="connsiteX11" fmla="*/ 37795 w 72205"/>
                  <a:gd name="connsiteY11" fmla="*/ 0 h 84225"/>
                  <a:gd name="connsiteX12" fmla="*/ 60923 w 72205"/>
                  <a:gd name="connsiteY12" fmla="*/ 6783 h 84225"/>
                  <a:gd name="connsiteX13" fmla="*/ 71923 w 72205"/>
                  <a:gd name="connsiteY13" fmla="*/ 26568 h 84225"/>
                  <a:gd name="connsiteX14" fmla="*/ 62333 w 72205"/>
                  <a:gd name="connsiteY14" fmla="*/ 28263 h 84225"/>
                  <a:gd name="connsiteX15" fmla="*/ 54718 w 72205"/>
                  <a:gd name="connsiteY15" fmla="*/ 14697 h 84225"/>
                  <a:gd name="connsiteX16" fmla="*/ 37795 w 72205"/>
                  <a:gd name="connsiteY16" fmla="*/ 9327 h 84225"/>
                  <a:gd name="connsiteX17" fmla="*/ 25667 w 72205"/>
                  <a:gd name="connsiteY17" fmla="*/ 11871 h 84225"/>
                  <a:gd name="connsiteX18" fmla="*/ 16923 w 72205"/>
                  <a:gd name="connsiteY18" fmla="*/ 18654 h 84225"/>
                  <a:gd name="connsiteX19" fmla="*/ 11564 w 72205"/>
                  <a:gd name="connsiteY19" fmla="*/ 29111 h 84225"/>
                  <a:gd name="connsiteX20" fmla="*/ 9872 w 72205"/>
                  <a:gd name="connsiteY20" fmla="*/ 42678 h 84225"/>
                  <a:gd name="connsiteX21" fmla="*/ 17205 w 72205"/>
                  <a:gd name="connsiteY21" fmla="*/ 66419 h 84225"/>
                  <a:gd name="connsiteX22" fmla="*/ 38077 w 72205"/>
                  <a:gd name="connsiteY22" fmla="*/ 74898 h 8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2205" h="84225">
                    <a:moveTo>
                      <a:pt x="38077" y="74898"/>
                    </a:moveTo>
                    <a:cubicBezTo>
                      <a:pt x="45410" y="74898"/>
                      <a:pt x="51051" y="73202"/>
                      <a:pt x="55000" y="69811"/>
                    </a:cubicBezTo>
                    <a:cubicBezTo>
                      <a:pt x="58949" y="66419"/>
                      <a:pt x="61487" y="61897"/>
                      <a:pt x="62615" y="55962"/>
                    </a:cubicBezTo>
                    <a:lnTo>
                      <a:pt x="72205" y="57657"/>
                    </a:lnTo>
                    <a:cubicBezTo>
                      <a:pt x="70795" y="66136"/>
                      <a:pt x="66846" y="72920"/>
                      <a:pt x="60923" y="77442"/>
                    </a:cubicBezTo>
                    <a:cubicBezTo>
                      <a:pt x="55000" y="81964"/>
                      <a:pt x="47385" y="84225"/>
                      <a:pt x="37795" y="84225"/>
                    </a:cubicBezTo>
                    <a:cubicBezTo>
                      <a:pt x="26231" y="84225"/>
                      <a:pt x="16923" y="80551"/>
                      <a:pt x="10154" y="72920"/>
                    </a:cubicBezTo>
                    <a:cubicBezTo>
                      <a:pt x="3385" y="65289"/>
                      <a:pt x="0" y="55114"/>
                      <a:pt x="0" y="42113"/>
                    </a:cubicBezTo>
                    <a:cubicBezTo>
                      <a:pt x="0" y="35329"/>
                      <a:pt x="846" y="29394"/>
                      <a:pt x="2821" y="24307"/>
                    </a:cubicBezTo>
                    <a:cubicBezTo>
                      <a:pt x="4513" y="18937"/>
                      <a:pt x="7333" y="14697"/>
                      <a:pt x="10436" y="11023"/>
                    </a:cubicBezTo>
                    <a:cubicBezTo>
                      <a:pt x="13821" y="7348"/>
                      <a:pt x="17769" y="4522"/>
                      <a:pt x="22282" y="2826"/>
                    </a:cubicBezTo>
                    <a:cubicBezTo>
                      <a:pt x="27077" y="848"/>
                      <a:pt x="32154" y="0"/>
                      <a:pt x="37795" y="0"/>
                    </a:cubicBezTo>
                    <a:cubicBezTo>
                      <a:pt x="47385" y="0"/>
                      <a:pt x="55000" y="2261"/>
                      <a:pt x="60923" y="6783"/>
                    </a:cubicBezTo>
                    <a:cubicBezTo>
                      <a:pt x="66846" y="11305"/>
                      <a:pt x="70513" y="18089"/>
                      <a:pt x="71923" y="26568"/>
                    </a:cubicBezTo>
                    <a:lnTo>
                      <a:pt x="62333" y="28263"/>
                    </a:lnTo>
                    <a:cubicBezTo>
                      <a:pt x="61205" y="22893"/>
                      <a:pt x="58667" y="18371"/>
                      <a:pt x="54718" y="14697"/>
                    </a:cubicBezTo>
                    <a:cubicBezTo>
                      <a:pt x="50769" y="11023"/>
                      <a:pt x="45128" y="9327"/>
                      <a:pt x="37795" y="9327"/>
                    </a:cubicBezTo>
                    <a:cubicBezTo>
                      <a:pt x="33282" y="9327"/>
                      <a:pt x="29333" y="10175"/>
                      <a:pt x="25667" y="11871"/>
                    </a:cubicBezTo>
                    <a:cubicBezTo>
                      <a:pt x="22282" y="13566"/>
                      <a:pt x="19180" y="15828"/>
                      <a:pt x="16923" y="18654"/>
                    </a:cubicBezTo>
                    <a:cubicBezTo>
                      <a:pt x="14667" y="21480"/>
                      <a:pt x="12974" y="24872"/>
                      <a:pt x="11564" y="29111"/>
                    </a:cubicBezTo>
                    <a:cubicBezTo>
                      <a:pt x="10436" y="33068"/>
                      <a:pt x="9872" y="37590"/>
                      <a:pt x="9872" y="42678"/>
                    </a:cubicBezTo>
                    <a:cubicBezTo>
                      <a:pt x="9872" y="52570"/>
                      <a:pt x="12410" y="60484"/>
                      <a:pt x="17205" y="66419"/>
                    </a:cubicBezTo>
                    <a:cubicBezTo>
                      <a:pt x="22282" y="72072"/>
                      <a:pt x="29051" y="74898"/>
                      <a:pt x="38077" y="74898"/>
                    </a:cubicBezTo>
                  </a:path>
                </a:pathLst>
              </a:custGeom>
              <a:solidFill>
                <a:srgbClr val="7F8183"/>
              </a:solidFill>
              <a:ln w="2790" cap="flat">
                <a:noFill/>
                <a:prstDash val="solid"/>
                <a:miter/>
              </a:ln>
            </p:spPr>
            <p:txBody>
              <a:bodyPr rtlCol="0" anchor="ctr"/>
              <a:lstStyle/>
              <a:p>
                <a:endParaRPr lang="x-none" sz="1905"/>
              </a:p>
            </p:txBody>
          </p:sp>
          <p:sp>
            <p:nvSpPr>
              <p:cNvPr id="55" name="Freeform 54">
                <a:extLst>
                  <a:ext uri="{FF2B5EF4-FFF2-40B4-BE49-F238E27FC236}">
                    <a16:creationId xmlns:a16="http://schemas.microsoft.com/office/drawing/2014/main" id="{4A904276-BA85-A74D-9691-DD19D10E826E}"/>
                  </a:ext>
                </a:extLst>
              </p:cNvPr>
              <p:cNvSpPr/>
              <p:nvPr/>
            </p:nvSpPr>
            <p:spPr>
              <a:xfrm>
                <a:off x="1347542" y="5811024"/>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769" y="49461"/>
                      <a:pt x="22000"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764"/>
                      <a:pt x="0" y="29959"/>
                    </a:cubicBezTo>
                    <a:cubicBezTo>
                      <a:pt x="0" y="20350"/>
                      <a:pt x="2538" y="13001"/>
                      <a:pt x="7615" y="7914"/>
                    </a:cubicBezTo>
                    <a:cubicBezTo>
                      <a:pt x="12692" y="2826"/>
                      <a:pt x="19180" y="0"/>
                      <a:pt x="27359" y="0"/>
                    </a:cubicBezTo>
                    <a:cubicBezTo>
                      <a:pt x="35256" y="0"/>
                      <a:pt x="41744" y="2544"/>
                      <a:pt x="46539" y="7914"/>
                    </a:cubicBezTo>
                    <a:cubicBezTo>
                      <a:pt x="51333" y="13001"/>
                      <a:pt x="53872" y="20350"/>
                      <a:pt x="53872" y="29959"/>
                    </a:cubicBezTo>
                    <a:cubicBezTo>
                      <a:pt x="53872" y="39286"/>
                      <a:pt x="51333" y="46635"/>
                      <a:pt x="46539" y="52005"/>
                    </a:cubicBezTo>
                    <a:cubicBezTo>
                      <a:pt x="41744" y="57092"/>
                      <a:pt x="35538" y="59919"/>
                      <a:pt x="27359" y="59919"/>
                    </a:cubicBezTo>
                  </a:path>
                </a:pathLst>
              </a:custGeom>
              <a:solidFill>
                <a:srgbClr val="7F8183"/>
              </a:solidFill>
              <a:ln w="2790" cap="flat">
                <a:noFill/>
                <a:prstDash val="solid"/>
                <a:miter/>
              </a:ln>
            </p:spPr>
            <p:txBody>
              <a:bodyPr rtlCol="0" anchor="ctr"/>
              <a:lstStyle/>
              <a:p>
                <a:endParaRPr lang="x-none" sz="1905"/>
              </a:p>
            </p:txBody>
          </p:sp>
          <p:sp>
            <p:nvSpPr>
              <p:cNvPr id="56" name="Freeform 55">
                <a:extLst>
                  <a:ext uri="{FF2B5EF4-FFF2-40B4-BE49-F238E27FC236}">
                    <a16:creationId xmlns:a16="http://schemas.microsoft.com/office/drawing/2014/main" id="{E1850322-FA09-0C40-B8AF-87FECBC8B398}"/>
                  </a:ext>
                </a:extLst>
              </p:cNvPr>
              <p:cNvSpPr/>
              <p:nvPr/>
            </p:nvSpPr>
            <p:spPr>
              <a:xfrm>
                <a:off x="1416080" y="5812155"/>
                <a:ext cx="45410" cy="57657"/>
              </a:xfrm>
              <a:custGeom>
                <a:avLst/>
                <a:gdLst>
                  <a:gd name="connsiteX0" fmla="*/ 26231 w 45410"/>
                  <a:gd name="connsiteY0" fmla="*/ 32220 h 57657"/>
                  <a:gd name="connsiteX1" fmla="*/ 9308 w 45410"/>
                  <a:gd name="connsiteY1" fmla="*/ 32220 h 57657"/>
                  <a:gd name="connsiteX2" fmla="*/ 9308 w 45410"/>
                  <a:gd name="connsiteY2" fmla="*/ 49178 h 57657"/>
                  <a:gd name="connsiteX3" fmla="*/ 26231 w 45410"/>
                  <a:gd name="connsiteY3" fmla="*/ 49178 h 57657"/>
                  <a:gd name="connsiteX4" fmla="*/ 34128 w 45410"/>
                  <a:gd name="connsiteY4" fmla="*/ 46917 h 57657"/>
                  <a:gd name="connsiteX5" fmla="*/ 36385 w 45410"/>
                  <a:gd name="connsiteY5" fmla="*/ 40699 h 57657"/>
                  <a:gd name="connsiteX6" fmla="*/ 33846 w 45410"/>
                  <a:gd name="connsiteY6" fmla="*/ 34199 h 57657"/>
                  <a:gd name="connsiteX7" fmla="*/ 26231 w 45410"/>
                  <a:gd name="connsiteY7" fmla="*/ 32220 h 57657"/>
                  <a:gd name="connsiteX8" fmla="*/ 24538 w 45410"/>
                  <a:gd name="connsiteY8" fmla="*/ 8196 h 57657"/>
                  <a:gd name="connsiteX9" fmla="*/ 9308 w 45410"/>
                  <a:gd name="connsiteY9" fmla="*/ 8196 h 57657"/>
                  <a:gd name="connsiteX10" fmla="*/ 9308 w 45410"/>
                  <a:gd name="connsiteY10" fmla="*/ 24307 h 57657"/>
                  <a:gd name="connsiteX11" fmla="*/ 25385 w 45410"/>
                  <a:gd name="connsiteY11" fmla="*/ 24307 h 57657"/>
                  <a:gd name="connsiteX12" fmla="*/ 32436 w 45410"/>
                  <a:gd name="connsiteY12" fmla="*/ 22328 h 57657"/>
                  <a:gd name="connsiteX13" fmla="*/ 34692 w 45410"/>
                  <a:gd name="connsiteY13" fmla="*/ 16110 h 57657"/>
                  <a:gd name="connsiteX14" fmla="*/ 32436 w 45410"/>
                  <a:gd name="connsiteY14" fmla="*/ 9892 h 57657"/>
                  <a:gd name="connsiteX15" fmla="*/ 24538 w 45410"/>
                  <a:gd name="connsiteY15" fmla="*/ 8196 h 57657"/>
                  <a:gd name="connsiteX16" fmla="*/ 0 w 45410"/>
                  <a:gd name="connsiteY16" fmla="*/ 57375 h 57657"/>
                  <a:gd name="connsiteX17" fmla="*/ 0 w 45410"/>
                  <a:gd name="connsiteY17" fmla="*/ 0 h 57657"/>
                  <a:gd name="connsiteX18" fmla="*/ 24538 w 45410"/>
                  <a:gd name="connsiteY18" fmla="*/ 0 h 57657"/>
                  <a:gd name="connsiteX19" fmla="*/ 38923 w 45410"/>
                  <a:gd name="connsiteY19" fmla="*/ 3957 h 57657"/>
                  <a:gd name="connsiteX20" fmla="*/ 44000 w 45410"/>
                  <a:gd name="connsiteY20" fmla="*/ 15545 h 57657"/>
                  <a:gd name="connsiteX21" fmla="*/ 42308 w 45410"/>
                  <a:gd name="connsiteY21" fmla="*/ 22328 h 57657"/>
                  <a:gd name="connsiteX22" fmla="*/ 35821 w 45410"/>
                  <a:gd name="connsiteY22" fmla="*/ 27698 h 57657"/>
                  <a:gd name="connsiteX23" fmla="*/ 43154 w 45410"/>
                  <a:gd name="connsiteY23" fmla="*/ 32786 h 57657"/>
                  <a:gd name="connsiteX24" fmla="*/ 45410 w 45410"/>
                  <a:gd name="connsiteY24" fmla="*/ 41265 h 57657"/>
                  <a:gd name="connsiteX25" fmla="*/ 40897 w 45410"/>
                  <a:gd name="connsiteY25" fmla="*/ 53135 h 57657"/>
                  <a:gd name="connsiteX26" fmla="*/ 26231 w 45410"/>
                  <a:gd name="connsiteY26" fmla="*/ 57657 h 57657"/>
                  <a:gd name="connsiteX27" fmla="*/ 0 w 45410"/>
                  <a:gd name="connsiteY27" fmla="*/ 57657 h 5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5410" h="57657">
                    <a:moveTo>
                      <a:pt x="26231" y="32220"/>
                    </a:moveTo>
                    <a:lnTo>
                      <a:pt x="9308" y="32220"/>
                    </a:lnTo>
                    <a:lnTo>
                      <a:pt x="9308" y="49178"/>
                    </a:lnTo>
                    <a:lnTo>
                      <a:pt x="26231" y="49178"/>
                    </a:lnTo>
                    <a:cubicBezTo>
                      <a:pt x="29897" y="49178"/>
                      <a:pt x="32436" y="48330"/>
                      <a:pt x="34128" y="46917"/>
                    </a:cubicBezTo>
                    <a:cubicBezTo>
                      <a:pt x="35538" y="45504"/>
                      <a:pt x="36385" y="43526"/>
                      <a:pt x="36385" y="40699"/>
                    </a:cubicBezTo>
                    <a:cubicBezTo>
                      <a:pt x="36385" y="37590"/>
                      <a:pt x="35538" y="35612"/>
                      <a:pt x="33846" y="34199"/>
                    </a:cubicBezTo>
                    <a:cubicBezTo>
                      <a:pt x="32436" y="33068"/>
                      <a:pt x="29897" y="32220"/>
                      <a:pt x="26231" y="32220"/>
                    </a:cubicBezTo>
                    <a:moveTo>
                      <a:pt x="24538" y="8196"/>
                    </a:moveTo>
                    <a:lnTo>
                      <a:pt x="9308" y="8196"/>
                    </a:lnTo>
                    <a:lnTo>
                      <a:pt x="9308" y="24307"/>
                    </a:lnTo>
                    <a:lnTo>
                      <a:pt x="25385" y="24307"/>
                    </a:lnTo>
                    <a:cubicBezTo>
                      <a:pt x="28487" y="24307"/>
                      <a:pt x="31026" y="23741"/>
                      <a:pt x="32436" y="22328"/>
                    </a:cubicBezTo>
                    <a:cubicBezTo>
                      <a:pt x="34128" y="20915"/>
                      <a:pt x="34692" y="18937"/>
                      <a:pt x="34692" y="16110"/>
                    </a:cubicBezTo>
                    <a:cubicBezTo>
                      <a:pt x="34692" y="13284"/>
                      <a:pt x="33846" y="11305"/>
                      <a:pt x="32436" y="9892"/>
                    </a:cubicBezTo>
                    <a:cubicBezTo>
                      <a:pt x="31308" y="9044"/>
                      <a:pt x="28487" y="8196"/>
                      <a:pt x="24538" y="8196"/>
                    </a:cubicBezTo>
                    <a:moveTo>
                      <a:pt x="0" y="57375"/>
                    </a:moveTo>
                    <a:lnTo>
                      <a:pt x="0" y="0"/>
                    </a:lnTo>
                    <a:lnTo>
                      <a:pt x="24538" y="0"/>
                    </a:lnTo>
                    <a:cubicBezTo>
                      <a:pt x="30744" y="0"/>
                      <a:pt x="35538" y="1413"/>
                      <a:pt x="38923" y="3957"/>
                    </a:cubicBezTo>
                    <a:cubicBezTo>
                      <a:pt x="42308" y="6501"/>
                      <a:pt x="44000" y="10457"/>
                      <a:pt x="44000" y="15545"/>
                    </a:cubicBezTo>
                    <a:cubicBezTo>
                      <a:pt x="44000" y="17806"/>
                      <a:pt x="43436" y="20067"/>
                      <a:pt x="42308" y="22328"/>
                    </a:cubicBezTo>
                    <a:cubicBezTo>
                      <a:pt x="41180" y="24589"/>
                      <a:pt x="39205" y="26568"/>
                      <a:pt x="35821" y="27698"/>
                    </a:cubicBezTo>
                    <a:cubicBezTo>
                      <a:pt x="39205" y="28829"/>
                      <a:pt x="41744" y="30524"/>
                      <a:pt x="43154" y="32786"/>
                    </a:cubicBezTo>
                    <a:cubicBezTo>
                      <a:pt x="44564" y="35047"/>
                      <a:pt x="45410" y="37873"/>
                      <a:pt x="45410" y="41265"/>
                    </a:cubicBezTo>
                    <a:cubicBezTo>
                      <a:pt x="45410" y="46069"/>
                      <a:pt x="44000" y="50026"/>
                      <a:pt x="40897" y="53135"/>
                    </a:cubicBezTo>
                    <a:cubicBezTo>
                      <a:pt x="37795" y="55962"/>
                      <a:pt x="33000" y="57657"/>
                      <a:pt x="26231" y="57657"/>
                    </a:cubicBezTo>
                    <a:lnTo>
                      <a:pt x="0" y="57657"/>
                    </a:lnTo>
                    <a:close/>
                  </a:path>
                </a:pathLst>
              </a:custGeom>
              <a:solidFill>
                <a:srgbClr val="7F8183"/>
              </a:solidFill>
              <a:ln w="2790" cap="flat">
                <a:noFill/>
                <a:prstDash val="solid"/>
                <a:miter/>
              </a:ln>
            </p:spPr>
            <p:txBody>
              <a:bodyPr rtlCol="0" anchor="ctr"/>
              <a:lstStyle/>
              <a:p>
                <a:endParaRPr lang="x-none" sz="1905"/>
              </a:p>
            </p:txBody>
          </p:sp>
          <p:sp>
            <p:nvSpPr>
              <p:cNvPr id="57" name="Freeform 56">
                <a:extLst>
                  <a:ext uri="{FF2B5EF4-FFF2-40B4-BE49-F238E27FC236}">
                    <a16:creationId xmlns:a16="http://schemas.microsoft.com/office/drawing/2014/main" id="{0005A2E5-AE64-F647-9860-4C90ECF12A1E}"/>
                  </a:ext>
                </a:extLst>
              </p:cNvPr>
              <p:cNvSpPr/>
              <p:nvPr/>
            </p:nvSpPr>
            <p:spPr>
              <a:xfrm>
                <a:off x="1472208" y="5811307"/>
                <a:ext cx="51333" cy="59635"/>
              </a:xfrm>
              <a:custGeom>
                <a:avLst/>
                <a:gdLst>
                  <a:gd name="connsiteX0" fmla="*/ 26795 w 51333"/>
                  <a:gd name="connsiteY0" fmla="*/ 7914 h 59635"/>
                  <a:gd name="connsiteX1" fmla="*/ 15795 w 51333"/>
                  <a:gd name="connsiteY1" fmla="*/ 12153 h 59635"/>
                  <a:gd name="connsiteX2" fmla="*/ 10154 w 51333"/>
                  <a:gd name="connsiteY2" fmla="*/ 23176 h 59635"/>
                  <a:gd name="connsiteX3" fmla="*/ 42308 w 51333"/>
                  <a:gd name="connsiteY3" fmla="*/ 23176 h 59635"/>
                  <a:gd name="connsiteX4" fmla="*/ 38359 w 51333"/>
                  <a:gd name="connsiteY4" fmla="*/ 12153 h 59635"/>
                  <a:gd name="connsiteX5" fmla="*/ 26795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8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795" y="7914"/>
                    </a:moveTo>
                    <a:cubicBezTo>
                      <a:pt x="22282" y="7914"/>
                      <a:pt x="18615" y="9327"/>
                      <a:pt x="15795" y="12153"/>
                    </a:cubicBezTo>
                    <a:cubicBezTo>
                      <a:pt x="12692" y="14980"/>
                      <a:pt x="11000" y="18654"/>
                      <a:pt x="10154" y="23176"/>
                    </a:cubicBezTo>
                    <a:lnTo>
                      <a:pt x="42308" y="23176"/>
                    </a:lnTo>
                    <a:cubicBezTo>
                      <a:pt x="42026" y="18654"/>
                      <a:pt x="40615" y="14980"/>
                      <a:pt x="38359" y="12153"/>
                    </a:cubicBezTo>
                    <a:cubicBezTo>
                      <a:pt x="35256" y="9327"/>
                      <a:pt x="31590" y="7914"/>
                      <a:pt x="26795"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8"/>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58" name="Freeform 57">
                <a:extLst>
                  <a:ext uri="{FF2B5EF4-FFF2-40B4-BE49-F238E27FC236}">
                    <a16:creationId xmlns:a16="http://schemas.microsoft.com/office/drawing/2014/main" id="{AE3555D9-27FB-5F49-9761-AE6DED37A7FD}"/>
                  </a:ext>
                </a:extLst>
              </p:cNvPr>
              <p:cNvSpPr/>
              <p:nvPr/>
            </p:nvSpPr>
            <p:spPr>
              <a:xfrm>
                <a:off x="1537644" y="5810742"/>
                <a:ext cx="54153" cy="82246"/>
              </a:xfrm>
              <a:custGeom>
                <a:avLst/>
                <a:gdLst>
                  <a:gd name="connsiteX0" fmla="*/ 9590 w 54153"/>
                  <a:gd name="connsiteY0" fmla="*/ 34764 h 82246"/>
                  <a:gd name="connsiteX1" fmla="*/ 14949 w 54153"/>
                  <a:gd name="connsiteY1" fmla="*/ 46917 h 82246"/>
                  <a:gd name="connsiteX2" fmla="*/ 27641 w 54153"/>
                  <a:gd name="connsiteY2" fmla="*/ 51439 h 82246"/>
                  <a:gd name="connsiteX3" fmla="*/ 40051 w 54153"/>
                  <a:gd name="connsiteY3" fmla="*/ 45504 h 82246"/>
                  <a:gd name="connsiteX4" fmla="*/ 44564 w 54153"/>
                  <a:gd name="connsiteY4" fmla="*/ 29677 h 82246"/>
                  <a:gd name="connsiteX5" fmla="*/ 40051 w 54153"/>
                  <a:gd name="connsiteY5" fmla="*/ 14414 h 82246"/>
                  <a:gd name="connsiteX6" fmla="*/ 27359 w 54153"/>
                  <a:gd name="connsiteY6" fmla="*/ 8479 h 82246"/>
                  <a:gd name="connsiteX7" fmla="*/ 20872 w 54153"/>
                  <a:gd name="connsiteY7" fmla="*/ 9610 h 82246"/>
                  <a:gd name="connsiteX8" fmla="*/ 15231 w 54153"/>
                  <a:gd name="connsiteY8" fmla="*/ 13284 h 82246"/>
                  <a:gd name="connsiteX9" fmla="*/ 11282 w 54153"/>
                  <a:gd name="connsiteY9" fmla="*/ 19219 h 82246"/>
                  <a:gd name="connsiteX10" fmla="*/ 9872 w 54153"/>
                  <a:gd name="connsiteY10" fmla="*/ 27416 h 82246"/>
                  <a:gd name="connsiteX11" fmla="*/ 9872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590" y="34764"/>
                    </a:moveTo>
                    <a:cubicBezTo>
                      <a:pt x="9590" y="40134"/>
                      <a:pt x="11282" y="44091"/>
                      <a:pt x="14949" y="46917"/>
                    </a:cubicBezTo>
                    <a:cubicBezTo>
                      <a:pt x="18615" y="49744"/>
                      <a:pt x="22846" y="51439"/>
                      <a:pt x="27641" y="51439"/>
                    </a:cubicBezTo>
                    <a:cubicBezTo>
                      <a:pt x="33000" y="51439"/>
                      <a:pt x="36949" y="49461"/>
                      <a:pt x="40051" y="45504"/>
                    </a:cubicBezTo>
                    <a:cubicBezTo>
                      <a:pt x="43154" y="41547"/>
                      <a:pt x="44564" y="36460"/>
                      <a:pt x="44564" y="29677"/>
                    </a:cubicBezTo>
                    <a:cubicBezTo>
                      <a:pt x="44564" y="23459"/>
                      <a:pt x="43154" y="18371"/>
                      <a:pt x="40051" y="14414"/>
                    </a:cubicBezTo>
                    <a:cubicBezTo>
                      <a:pt x="36949" y="10457"/>
                      <a:pt x="32718" y="8479"/>
                      <a:pt x="27359" y="8479"/>
                    </a:cubicBezTo>
                    <a:cubicBezTo>
                      <a:pt x="25103" y="8479"/>
                      <a:pt x="22846" y="8762"/>
                      <a:pt x="20872" y="9610"/>
                    </a:cubicBezTo>
                    <a:cubicBezTo>
                      <a:pt x="18897" y="10457"/>
                      <a:pt x="16923" y="11588"/>
                      <a:pt x="15231" y="13284"/>
                    </a:cubicBezTo>
                    <a:cubicBezTo>
                      <a:pt x="13538" y="14980"/>
                      <a:pt x="12128" y="16958"/>
                      <a:pt x="11282" y="19219"/>
                    </a:cubicBezTo>
                    <a:cubicBezTo>
                      <a:pt x="10154" y="21763"/>
                      <a:pt x="9872" y="24307"/>
                      <a:pt x="9872" y="27416"/>
                    </a:cubicBezTo>
                    <a:lnTo>
                      <a:pt x="9872" y="34764"/>
                    </a:lnTo>
                    <a:close/>
                    <a:moveTo>
                      <a:pt x="0" y="82247"/>
                    </a:moveTo>
                    <a:lnTo>
                      <a:pt x="0" y="1413"/>
                    </a:lnTo>
                    <a:lnTo>
                      <a:pt x="9590" y="1413"/>
                    </a:lnTo>
                    <a:lnTo>
                      <a:pt x="9590" y="9044"/>
                    </a:lnTo>
                    <a:cubicBezTo>
                      <a:pt x="11564" y="6218"/>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grpSp>
        <p:sp>
          <p:nvSpPr>
            <p:cNvPr id="25" name="Freeform 24">
              <a:extLst>
                <a:ext uri="{FF2B5EF4-FFF2-40B4-BE49-F238E27FC236}">
                  <a16:creationId xmlns:a16="http://schemas.microsoft.com/office/drawing/2014/main" id="{2DF8BBB9-43C0-5340-BA63-C4215310B614}"/>
                </a:ext>
              </a:extLst>
            </p:cNvPr>
            <p:cNvSpPr/>
            <p:nvPr/>
          </p:nvSpPr>
          <p:spPr>
            <a:xfrm>
              <a:off x="1606183" y="5812155"/>
              <a:ext cx="75307" cy="57374"/>
            </a:xfrm>
            <a:custGeom>
              <a:avLst/>
              <a:gdLst>
                <a:gd name="connsiteX0" fmla="*/ 75308 w 75307"/>
                <a:gd name="connsiteY0" fmla="*/ 0 h 57374"/>
                <a:gd name="connsiteX1" fmla="*/ 75308 w 75307"/>
                <a:gd name="connsiteY1" fmla="*/ 57375 h 57374"/>
                <a:gd name="connsiteX2" fmla="*/ 0 w 75307"/>
                <a:gd name="connsiteY2" fmla="*/ 57375 h 57374"/>
                <a:gd name="connsiteX3" fmla="*/ 0 w 75307"/>
                <a:gd name="connsiteY3" fmla="*/ 0 h 57374"/>
                <a:gd name="connsiteX4" fmla="*/ 9590 w 75307"/>
                <a:gd name="connsiteY4" fmla="*/ 0 h 57374"/>
                <a:gd name="connsiteX5" fmla="*/ 9590 w 75307"/>
                <a:gd name="connsiteY5" fmla="*/ 48613 h 57374"/>
                <a:gd name="connsiteX6" fmla="*/ 33000 w 75307"/>
                <a:gd name="connsiteY6" fmla="*/ 48613 h 57374"/>
                <a:gd name="connsiteX7" fmla="*/ 33000 w 75307"/>
                <a:gd name="connsiteY7" fmla="*/ 0 h 57374"/>
                <a:gd name="connsiteX8" fmla="*/ 42308 w 75307"/>
                <a:gd name="connsiteY8" fmla="*/ 0 h 57374"/>
                <a:gd name="connsiteX9" fmla="*/ 42308 w 75307"/>
                <a:gd name="connsiteY9" fmla="*/ 48613 h 57374"/>
                <a:gd name="connsiteX10" fmla="*/ 65718 w 75307"/>
                <a:gd name="connsiteY10" fmla="*/ 48613 h 57374"/>
                <a:gd name="connsiteX11" fmla="*/ 65718 w 75307"/>
                <a:gd name="connsiteY11" fmla="*/ 0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307" h="57374">
                  <a:moveTo>
                    <a:pt x="75308" y="0"/>
                  </a:moveTo>
                  <a:lnTo>
                    <a:pt x="75308" y="57375"/>
                  </a:lnTo>
                  <a:lnTo>
                    <a:pt x="0" y="57375"/>
                  </a:lnTo>
                  <a:lnTo>
                    <a:pt x="0" y="0"/>
                  </a:lnTo>
                  <a:lnTo>
                    <a:pt x="9590" y="0"/>
                  </a:lnTo>
                  <a:lnTo>
                    <a:pt x="9590" y="48613"/>
                  </a:lnTo>
                  <a:lnTo>
                    <a:pt x="33000" y="48613"/>
                  </a:lnTo>
                  <a:lnTo>
                    <a:pt x="33000" y="0"/>
                  </a:lnTo>
                  <a:lnTo>
                    <a:pt x="42308" y="0"/>
                  </a:lnTo>
                  <a:lnTo>
                    <a:pt x="42308" y="48613"/>
                  </a:lnTo>
                  <a:lnTo>
                    <a:pt x="65718" y="48613"/>
                  </a:lnTo>
                  <a:lnTo>
                    <a:pt x="65718" y="0"/>
                  </a:lnTo>
                  <a:close/>
                </a:path>
              </a:pathLst>
            </a:custGeom>
            <a:solidFill>
              <a:srgbClr val="7F8183"/>
            </a:solidFill>
            <a:ln w="2790" cap="flat">
              <a:noFill/>
              <a:prstDash val="solid"/>
              <a:miter/>
            </a:ln>
          </p:spPr>
          <p:txBody>
            <a:bodyPr rtlCol="0" anchor="ctr"/>
            <a:lstStyle/>
            <a:p>
              <a:endParaRPr lang="x-none" sz="1905"/>
            </a:p>
          </p:txBody>
        </p:sp>
        <p:sp>
          <p:nvSpPr>
            <p:cNvPr id="26" name="Freeform 25">
              <a:extLst>
                <a:ext uri="{FF2B5EF4-FFF2-40B4-BE49-F238E27FC236}">
                  <a16:creationId xmlns:a16="http://schemas.microsoft.com/office/drawing/2014/main" id="{FEB02A76-2CA2-4940-B211-4B76587F730D}"/>
                </a:ext>
              </a:extLst>
            </p:cNvPr>
            <p:cNvSpPr/>
            <p:nvPr/>
          </p:nvSpPr>
          <p:spPr>
            <a:xfrm>
              <a:off x="1695593" y="5811307"/>
              <a:ext cx="51615" cy="59635"/>
            </a:xfrm>
            <a:custGeom>
              <a:avLst/>
              <a:gdLst>
                <a:gd name="connsiteX0" fmla="*/ 26795 w 51615"/>
                <a:gd name="connsiteY0" fmla="*/ 7914 h 59635"/>
                <a:gd name="connsiteX1" fmla="*/ 15795 w 51615"/>
                <a:gd name="connsiteY1" fmla="*/ 12153 h 59635"/>
                <a:gd name="connsiteX2" fmla="*/ 10154 w 51615"/>
                <a:gd name="connsiteY2" fmla="*/ 23176 h 59635"/>
                <a:gd name="connsiteX3" fmla="*/ 42308 w 51615"/>
                <a:gd name="connsiteY3" fmla="*/ 23176 h 59635"/>
                <a:gd name="connsiteX4" fmla="*/ 38359 w 51615"/>
                <a:gd name="connsiteY4" fmla="*/ 12153 h 59635"/>
                <a:gd name="connsiteX5" fmla="*/ 26795 w 51615"/>
                <a:gd name="connsiteY5" fmla="*/ 7914 h 59635"/>
                <a:gd name="connsiteX6" fmla="*/ 51615 w 51615"/>
                <a:gd name="connsiteY6" fmla="*/ 31372 h 59635"/>
                <a:gd name="connsiteX7" fmla="*/ 9590 w 51615"/>
                <a:gd name="connsiteY7" fmla="*/ 31372 h 59635"/>
                <a:gd name="connsiteX8" fmla="*/ 14949 w 51615"/>
                <a:gd name="connsiteY8" fmla="*/ 46069 h 59635"/>
                <a:gd name="connsiteX9" fmla="*/ 27077 w 51615"/>
                <a:gd name="connsiteY9" fmla="*/ 51157 h 59635"/>
                <a:gd name="connsiteX10" fmla="*/ 37513 w 51615"/>
                <a:gd name="connsiteY10" fmla="*/ 48048 h 59635"/>
                <a:gd name="connsiteX11" fmla="*/ 42308 w 51615"/>
                <a:gd name="connsiteY11" fmla="*/ 40699 h 59635"/>
                <a:gd name="connsiteX12" fmla="*/ 51333 w 51615"/>
                <a:gd name="connsiteY12" fmla="*/ 42395 h 59635"/>
                <a:gd name="connsiteX13" fmla="*/ 42872 w 51615"/>
                <a:gd name="connsiteY13" fmla="*/ 55114 h 59635"/>
                <a:gd name="connsiteX14" fmla="*/ 26795 w 51615"/>
                <a:gd name="connsiteY14" fmla="*/ 59636 h 59635"/>
                <a:gd name="connsiteX15" fmla="*/ 7333 w 51615"/>
                <a:gd name="connsiteY15" fmla="*/ 51722 h 59635"/>
                <a:gd name="connsiteX16" fmla="*/ 0 w 51615"/>
                <a:gd name="connsiteY16" fmla="*/ 29677 h 59635"/>
                <a:gd name="connsiteX17" fmla="*/ 1974 w 51615"/>
                <a:gd name="connsiteY17" fmla="*/ 16958 h 59635"/>
                <a:gd name="connsiteX18" fmla="*/ 7615 w 51615"/>
                <a:gd name="connsiteY18" fmla="*/ 7631 h 59635"/>
                <a:gd name="connsiteX19" fmla="*/ 16077 w 51615"/>
                <a:gd name="connsiteY19" fmla="*/ 1978 h 59635"/>
                <a:gd name="connsiteX20" fmla="*/ 26513 w 51615"/>
                <a:gd name="connsiteY20" fmla="*/ 0 h 59635"/>
                <a:gd name="connsiteX21" fmla="*/ 44564 w 51615"/>
                <a:gd name="connsiteY21" fmla="*/ 7348 h 59635"/>
                <a:gd name="connsiteX22" fmla="*/ 51333 w 51615"/>
                <a:gd name="connsiteY22" fmla="*/ 27698 h 59635"/>
                <a:gd name="connsiteX23" fmla="*/ 51333 w 51615"/>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615" h="59635">
                  <a:moveTo>
                    <a:pt x="26795" y="7914"/>
                  </a:moveTo>
                  <a:cubicBezTo>
                    <a:pt x="22282" y="7914"/>
                    <a:pt x="18615" y="9327"/>
                    <a:pt x="15795" y="12153"/>
                  </a:cubicBezTo>
                  <a:cubicBezTo>
                    <a:pt x="12692" y="14980"/>
                    <a:pt x="11000" y="18654"/>
                    <a:pt x="10154" y="23176"/>
                  </a:cubicBezTo>
                  <a:lnTo>
                    <a:pt x="42308" y="23176"/>
                  </a:lnTo>
                  <a:cubicBezTo>
                    <a:pt x="42026" y="18654"/>
                    <a:pt x="40615" y="14980"/>
                    <a:pt x="38359" y="12153"/>
                  </a:cubicBezTo>
                  <a:cubicBezTo>
                    <a:pt x="35539" y="9327"/>
                    <a:pt x="31590" y="7914"/>
                    <a:pt x="26795" y="7914"/>
                  </a:cubicBezTo>
                  <a:moveTo>
                    <a:pt x="51615"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8"/>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27" name="Freeform 26">
              <a:extLst>
                <a:ext uri="{FF2B5EF4-FFF2-40B4-BE49-F238E27FC236}">
                  <a16:creationId xmlns:a16="http://schemas.microsoft.com/office/drawing/2014/main" id="{4615D367-45A5-D741-B403-75824813B360}"/>
                </a:ext>
              </a:extLst>
            </p:cNvPr>
            <p:cNvSpPr/>
            <p:nvPr/>
          </p:nvSpPr>
          <p:spPr>
            <a:xfrm>
              <a:off x="1761029" y="5812155"/>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28" name="Freeform 27">
              <a:extLst>
                <a:ext uri="{FF2B5EF4-FFF2-40B4-BE49-F238E27FC236}">
                  <a16:creationId xmlns:a16="http://schemas.microsoft.com/office/drawing/2014/main" id="{4EFE0182-0F7E-E440-9F38-7F6A6D0A5248}"/>
                </a:ext>
              </a:extLst>
            </p:cNvPr>
            <p:cNvSpPr/>
            <p:nvPr/>
          </p:nvSpPr>
          <p:spPr>
            <a:xfrm>
              <a:off x="1825055" y="5810742"/>
              <a:ext cx="50769" cy="59918"/>
            </a:xfrm>
            <a:custGeom>
              <a:avLst/>
              <a:gdLst>
                <a:gd name="connsiteX0" fmla="*/ 41744 w 50769"/>
                <a:gd name="connsiteY0" fmla="*/ 40134 h 59918"/>
                <a:gd name="connsiteX1" fmla="*/ 50769 w 50769"/>
                <a:gd name="connsiteY1" fmla="*/ 41547 h 59918"/>
                <a:gd name="connsiteX2" fmla="*/ 43154 w 50769"/>
                <a:gd name="connsiteY2" fmla="*/ 54548 h 59918"/>
                <a:gd name="connsiteX3" fmla="*/ 26513 w 50769"/>
                <a:gd name="connsiteY3" fmla="*/ 59919 h 59918"/>
                <a:gd name="connsiteX4" fmla="*/ 7333 w 50769"/>
                <a:gd name="connsiteY4" fmla="*/ 52287 h 59918"/>
                <a:gd name="connsiteX5" fmla="*/ 0 w 50769"/>
                <a:gd name="connsiteY5" fmla="*/ 29959 h 59918"/>
                <a:gd name="connsiteX6" fmla="*/ 1974 w 50769"/>
                <a:gd name="connsiteY6" fmla="*/ 16675 h 59918"/>
                <a:gd name="connsiteX7" fmla="*/ 7615 w 50769"/>
                <a:gd name="connsiteY7" fmla="*/ 7348 h 59918"/>
                <a:gd name="connsiteX8" fmla="*/ 16077 w 50769"/>
                <a:gd name="connsiteY8" fmla="*/ 1696 h 59918"/>
                <a:gd name="connsiteX9" fmla="*/ 26513 w 50769"/>
                <a:gd name="connsiteY9" fmla="*/ 0 h 59918"/>
                <a:gd name="connsiteX10" fmla="*/ 43436 w 50769"/>
                <a:gd name="connsiteY10" fmla="*/ 5370 h 59918"/>
                <a:gd name="connsiteX11" fmla="*/ 50769 w 50769"/>
                <a:gd name="connsiteY11" fmla="*/ 18089 h 59918"/>
                <a:gd name="connsiteX12" fmla="*/ 42026 w 50769"/>
                <a:gd name="connsiteY12" fmla="*/ 19784 h 59918"/>
                <a:gd name="connsiteX13" fmla="*/ 37513 w 50769"/>
                <a:gd name="connsiteY13" fmla="*/ 12153 h 59918"/>
                <a:gd name="connsiteX14" fmla="*/ 26795 w 50769"/>
                <a:gd name="connsiteY14" fmla="*/ 8479 h 59918"/>
                <a:gd name="connsiteX15" fmla="*/ 14103 w 50769"/>
                <a:gd name="connsiteY15" fmla="*/ 14132 h 59918"/>
                <a:gd name="connsiteX16" fmla="*/ 9590 w 50769"/>
                <a:gd name="connsiteY16" fmla="*/ 29677 h 59918"/>
                <a:gd name="connsiteX17" fmla="*/ 14103 w 50769"/>
                <a:gd name="connsiteY17" fmla="*/ 45222 h 59918"/>
                <a:gd name="connsiteX18" fmla="*/ 26795 w 50769"/>
                <a:gd name="connsiteY18" fmla="*/ 51157 h 59918"/>
                <a:gd name="connsiteX19" fmla="*/ 37795 w 50769"/>
                <a:gd name="connsiteY19" fmla="*/ 47483 h 59918"/>
                <a:gd name="connsiteX20" fmla="*/ 41744 w 50769"/>
                <a:gd name="connsiteY20" fmla="*/ 40134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769" h="59918">
                  <a:moveTo>
                    <a:pt x="41744" y="40134"/>
                  </a:moveTo>
                  <a:lnTo>
                    <a:pt x="50769" y="41547"/>
                  </a:lnTo>
                  <a:cubicBezTo>
                    <a:pt x="49641" y="46635"/>
                    <a:pt x="47103" y="51157"/>
                    <a:pt x="43154" y="54548"/>
                  </a:cubicBezTo>
                  <a:cubicBezTo>
                    <a:pt x="39205" y="58223"/>
                    <a:pt x="33564" y="59919"/>
                    <a:pt x="26513" y="59919"/>
                  </a:cubicBezTo>
                  <a:cubicBezTo>
                    <a:pt x="18615" y="59919"/>
                    <a:pt x="12128" y="57375"/>
                    <a:pt x="7333" y="52287"/>
                  </a:cubicBezTo>
                  <a:cubicBezTo>
                    <a:pt x="2538" y="47200"/>
                    <a:pt x="0" y="39851"/>
                    <a:pt x="0" y="29959"/>
                  </a:cubicBezTo>
                  <a:cubicBezTo>
                    <a:pt x="0" y="24872"/>
                    <a:pt x="564" y="20350"/>
                    <a:pt x="1974" y="16675"/>
                  </a:cubicBezTo>
                  <a:cubicBezTo>
                    <a:pt x="3385" y="13001"/>
                    <a:pt x="5359" y="9892"/>
                    <a:pt x="7615" y="7348"/>
                  </a:cubicBezTo>
                  <a:cubicBezTo>
                    <a:pt x="9872" y="4805"/>
                    <a:pt x="12692" y="3109"/>
                    <a:pt x="16077" y="1696"/>
                  </a:cubicBezTo>
                  <a:cubicBezTo>
                    <a:pt x="19462" y="565"/>
                    <a:pt x="22846" y="0"/>
                    <a:pt x="26513" y="0"/>
                  </a:cubicBezTo>
                  <a:cubicBezTo>
                    <a:pt x="33846" y="0"/>
                    <a:pt x="39487" y="1696"/>
                    <a:pt x="43436" y="5370"/>
                  </a:cubicBezTo>
                  <a:cubicBezTo>
                    <a:pt x="47385" y="9044"/>
                    <a:pt x="49641" y="13284"/>
                    <a:pt x="50769" y="18089"/>
                  </a:cubicBezTo>
                  <a:lnTo>
                    <a:pt x="42026" y="19784"/>
                  </a:lnTo>
                  <a:cubicBezTo>
                    <a:pt x="41179" y="16958"/>
                    <a:pt x="39769" y="14414"/>
                    <a:pt x="37513" y="12153"/>
                  </a:cubicBezTo>
                  <a:cubicBezTo>
                    <a:pt x="35256" y="9892"/>
                    <a:pt x="31590" y="8479"/>
                    <a:pt x="26795" y="8479"/>
                  </a:cubicBezTo>
                  <a:cubicBezTo>
                    <a:pt x="21436" y="8479"/>
                    <a:pt x="17205" y="10457"/>
                    <a:pt x="14103" y="14132"/>
                  </a:cubicBezTo>
                  <a:cubicBezTo>
                    <a:pt x="11000" y="18089"/>
                    <a:pt x="9590" y="23176"/>
                    <a:pt x="9590" y="29677"/>
                  </a:cubicBezTo>
                  <a:cubicBezTo>
                    <a:pt x="9590" y="36177"/>
                    <a:pt x="11000" y="41265"/>
                    <a:pt x="14103" y="45222"/>
                  </a:cubicBezTo>
                  <a:cubicBezTo>
                    <a:pt x="16923" y="49178"/>
                    <a:pt x="21154" y="51157"/>
                    <a:pt x="26795" y="51157"/>
                  </a:cubicBezTo>
                  <a:cubicBezTo>
                    <a:pt x="31872" y="51157"/>
                    <a:pt x="35538" y="50026"/>
                    <a:pt x="37795" y="47483"/>
                  </a:cubicBezTo>
                  <a:cubicBezTo>
                    <a:pt x="39487" y="45504"/>
                    <a:pt x="40897" y="42960"/>
                    <a:pt x="41744" y="40134"/>
                  </a:cubicBezTo>
                </a:path>
              </a:pathLst>
            </a:custGeom>
            <a:solidFill>
              <a:srgbClr val="7F8183"/>
            </a:solidFill>
            <a:ln w="2790" cap="flat">
              <a:noFill/>
              <a:prstDash val="solid"/>
              <a:miter/>
            </a:ln>
          </p:spPr>
          <p:txBody>
            <a:bodyPr rtlCol="0" anchor="ctr"/>
            <a:lstStyle/>
            <a:p>
              <a:endParaRPr lang="x-none" sz="1905"/>
            </a:p>
          </p:txBody>
        </p:sp>
        <p:sp>
          <p:nvSpPr>
            <p:cNvPr id="29" name="Freeform 28">
              <a:extLst>
                <a:ext uri="{FF2B5EF4-FFF2-40B4-BE49-F238E27FC236}">
                  <a16:creationId xmlns:a16="http://schemas.microsoft.com/office/drawing/2014/main" id="{FC4F3CAD-D4EC-D04A-AB16-B7E0CBFE8147}"/>
                </a:ext>
              </a:extLst>
            </p:cNvPr>
            <p:cNvSpPr/>
            <p:nvPr/>
          </p:nvSpPr>
          <p:spPr>
            <a:xfrm>
              <a:off x="1882875" y="5812155"/>
              <a:ext cx="51333" cy="57374"/>
            </a:xfrm>
            <a:custGeom>
              <a:avLst/>
              <a:gdLst>
                <a:gd name="connsiteX0" fmla="*/ 0 w 51333"/>
                <a:gd name="connsiteY0" fmla="*/ 9044 h 57374"/>
                <a:gd name="connsiteX1" fmla="*/ 0 w 51333"/>
                <a:gd name="connsiteY1" fmla="*/ 0 h 57374"/>
                <a:gd name="connsiteX2" fmla="*/ 51333 w 51333"/>
                <a:gd name="connsiteY2" fmla="*/ 0 h 57374"/>
                <a:gd name="connsiteX3" fmla="*/ 51333 w 51333"/>
                <a:gd name="connsiteY3" fmla="*/ 9044 h 57374"/>
                <a:gd name="connsiteX4" fmla="*/ 30462 w 51333"/>
                <a:gd name="connsiteY4" fmla="*/ 9044 h 57374"/>
                <a:gd name="connsiteX5" fmla="*/ 30462 w 51333"/>
                <a:gd name="connsiteY5" fmla="*/ 57375 h 57374"/>
                <a:gd name="connsiteX6" fmla="*/ 20872 w 51333"/>
                <a:gd name="connsiteY6" fmla="*/ 57375 h 57374"/>
                <a:gd name="connsiteX7" fmla="*/ 20872 w 51333"/>
                <a:gd name="connsiteY7" fmla="*/ 9044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333" h="57374">
                  <a:moveTo>
                    <a:pt x="0" y="9044"/>
                  </a:moveTo>
                  <a:lnTo>
                    <a:pt x="0" y="0"/>
                  </a:lnTo>
                  <a:lnTo>
                    <a:pt x="51333" y="0"/>
                  </a:lnTo>
                  <a:lnTo>
                    <a:pt x="51333" y="9044"/>
                  </a:lnTo>
                  <a:lnTo>
                    <a:pt x="30462" y="9044"/>
                  </a:lnTo>
                  <a:lnTo>
                    <a:pt x="30462" y="57375"/>
                  </a:lnTo>
                  <a:lnTo>
                    <a:pt x="20872" y="57375"/>
                  </a:lnTo>
                  <a:lnTo>
                    <a:pt x="20872" y="9044"/>
                  </a:lnTo>
                  <a:close/>
                </a:path>
              </a:pathLst>
            </a:custGeom>
            <a:solidFill>
              <a:srgbClr val="7F8183"/>
            </a:solidFill>
            <a:ln w="2790" cap="flat">
              <a:noFill/>
              <a:prstDash val="solid"/>
              <a:miter/>
            </a:ln>
          </p:spPr>
          <p:txBody>
            <a:bodyPr rtlCol="0" anchor="ctr"/>
            <a:lstStyle/>
            <a:p>
              <a:endParaRPr lang="x-none" sz="1905"/>
            </a:p>
          </p:txBody>
        </p:sp>
        <p:grpSp>
          <p:nvGrpSpPr>
            <p:cNvPr id="30" name="Graphic 13">
              <a:extLst>
                <a:ext uri="{FF2B5EF4-FFF2-40B4-BE49-F238E27FC236}">
                  <a16:creationId xmlns:a16="http://schemas.microsoft.com/office/drawing/2014/main" id="{9E58D493-46A1-F04D-B91B-2102D960FDFE}"/>
                </a:ext>
              </a:extLst>
            </p:cNvPr>
            <p:cNvGrpSpPr/>
            <p:nvPr/>
          </p:nvGrpSpPr>
          <p:grpSpPr>
            <a:xfrm>
              <a:off x="1946055" y="5811024"/>
              <a:ext cx="110282" cy="59918"/>
              <a:chOff x="1946055" y="5811024"/>
              <a:chExt cx="110282" cy="59918"/>
            </a:xfrm>
            <a:solidFill>
              <a:srgbClr val="CFD4D9"/>
            </a:solidFill>
          </p:grpSpPr>
          <p:sp>
            <p:nvSpPr>
              <p:cNvPr id="52" name="Freeform 51">
                <a:extLst>
                  <a:ext uri="{FF2B5EF4-FFF2-40B4-BE49-F238E27FC236}">
                    <a16:creationId xmlns:a16="http://schemas.microsoft.com/office/drawing/2014/main" id="{DE353E8B-52BE-3841-9C75-07A3097861EF}"/>
                  </a:ext>
                </a:extLst>
              </p:cNvPr>
              <p:cNvSpPr/>
              <p:nvPr/>
            </p:nvSpPr>
            <p:spPr>
              <a:xfrm>
                <a:off x="1946055" y="5812155"/>
                <a:ext cx="45410" cy="57657"/>
              </a:xfrm>
              <a:custGeom>
                <a:avLst/>
                <a:gdLst>
                  <a:gd name="connsiteX0" fmla="*/ 26231 w 45410"/>
                  <a:gd name="connsiteY0" fmla="*/ 32220 h 57657"/>
                  <a:gd name="connsiteX1" fmla="*/ 9308 w 45410"/>
                  <a:gd name="connsiteY1" fmla="*/ 32220 h 57657"/>
                  <a:gd name="connsiteX2" fmla="*/ 9308 w 45410"/>
                  <a:gd name="connsiteY2" fmla="*/ 49178 h 57657"/>
                  <a:gd name="connsiteX3" fmla="*/ 26231 w 45410"/>
                  <a:gd name="connsiteY3" fmla="*/ 49178 h 57657"/>
                  <a:gd name="connsiteX4" fmla="*/ 34128 w 45410"/>
                  <a:gd name="connsiteY4" fmla="*/ 46917 h 57657"/>
                  <a:gd name="connsiteX5" fmla="*/ 36385 w 45410"/>
                  <a:gd name="connsiteY5" fmla="*/ 40699 h 57657"/>
                  <a:gd name="connsiteX6" fmla="*/ 33846 w 45410"/>
                  <a:gd name="connsiteY6" fmla="*/ 34199 h 57657"/>
                  <a:gd name="connsiteX7" fmla="*/ 26231 w 45410"/>
                  <a:gd name="connsiteY7" fmla="*/ 32220 h 57657"/>
                  <a:gd name="connsiteX8" fmla="*/ 24538 w 45410"/>
                  <a:gd name="connsiteY8" fmla="*/ 8196 h 57657"/>
                  <a:gd name="connsiteX9" fmla="*/ 9308 w 45410"/>
                  <a:gd name="connsiteY9" fmla="*/ 8196 h 57657"/>
                  <a:gd name="connsiteX10" fmla="*/ 9308 w 45410"/>
                  <a:gd name="connsiteY10" fmla="*/ 24307 h 57657"/>
                  <a:gd name="connsiteX11" fmla="*/ 25385 w 45410"/>
                  <a:gd name="connsiteY11" fmla="*/ 24307 h 57657"/>
                  <a:gd name="connsiteX12" fmla="*/ 32436 w 45410"/>
                  <a:gd name="connsiteY12" fmla="*/ 22328 h 57657"/>
                  <a:gd name="connsiteX13" fmla="*/ 34692 w 45410"/>
                  <a:gd name="connsiteY13" fmla="*/ 16110 h 57657"/>
                  <a:gd name="connsiteX14" fmla="*/ 32436 w 45410"/>
                  <a:gd name="connsiteY14" fmla="*/ 9892 h 57657"/>
                  <a:gd name="connsiteX15" fmla="*/ 24538 w 45410"/>
                  <a:gd name="connsiteY15" fmla="*/ 8196 h 57657"/>
                  <a:gd name="connsiteX16" fmla="*/ 0 w 45410"/>
                  <a:gd name="connsiteY16" fmla="*/ 57375 h 57657"/>
                  <a:gd name="connsiteX17" fmla="*/ 0 w 45410"/>
                  <a:gd name="connsiteY17" fmla="*/ 0 h 57657"/>
                  <a:gd name="connsiteX18" fmla="*/ 24538 w 45410"/>
                  <a:gd name="connsiteY18" fmla="*/ 0 h 57657"/>
                  <a:gd name="connsiteX19" fmla="*/ 38923 w 45410"/>
                  <a:gd name="connsiteY19" fmla="*/ 3957 h 57657"/>
                  <a:gd name="connsiteX20" fmla="*/ 44000 w 45410"/>
                  <a:gd name="connsiteY20" fmla="*/ 15545 h 57657"/>
                  <a:gd name="connsiteX21" fmla="*/ 42308 w 45410"/>
                  <a:gd name="connsiteY21" fmla="*/ 22328 h 57657"/>
                  <a:gd name="connsiteX22" fmla="*/ 35821 w 45410"/>
                  <a:gd name="connsiteY22" fmla="*/ 27698 h 57657"/>
                  <a:gd name="connsiteX23" fmla="*/ 43154 w 45410"/>
                  <a:gd name="connsiteY23" fmla="*/ 32786 h 57657"/>
                  <a:gd name="connsiteX24" fmla="*/ 45410 w 45410"/>
                  <a:gd name="connsiteY24" fmla="*/ 41265 h 57657"/>
                  <a:gd name="connsiteX25" fmla="*/ 40898 w 45410"/>
                  <a:gd name="connsiteY25" fmla="*/ 53135 h 57657"/>
                  <a:gd name="connsiteX26" fmla="*/ 26231 w 45410"/>
                  <a:gd name="connsiteY26" fmla="*/ 57657 h 57657"/>
                  <a:gd name="connsiteX27" fmla="*/ 0 w 45410"/>
                  <a:gd name="connsiteY27" fmla="*/ 57657 h 5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5410" h="57657">
                    <a:moveTo>
                      <a:pt x="26231" y="32220"/>
                    </a:moveTo>
                    <a:lnTo>
                      <a:pt x="9308" y="32220"/>
                    </a:lnTo>
                    <a:lnTo>
                      <a:pt x="9308" y="49178"/>
                    </a:lnTo>
                    <a:lnTo>
                      <a:pt x="26231" y="49178"/>
                    </a:lnTo>
                    <a:cubicBezTo>
                      <a:pt x="29897" y="49178"/>
                      <a:pt x="32436" y="48330"/>
                      <a:pt x="34128" y="46917"/>
                    </a:cubicBezTo>
                    <a:cubicBezTo>
                      <a:pt x="35538" y="45504"/>
                      <a:pt x="36385" y="43526"/>
                      <a:pt x="36385" y="40699"/>
                    </a:cubicBezTo>
                    <a:cubicBezTo>
                      <a:pt x="36385" y="37590"/>
                      <a:pt x="35538" y="35612"/>
                      <a:pt x="33846" y="34199"/>
                    </a:cubicBezTo>
                    <a:cubicBezTo>
                      <a:pt x="32436" y="33068"/>
                      <a:pt x="29897" y="32220"/>
                      <a:pt x="26231" y="32220"/>
                    </a:cubicBezTo>
                    <a:moveTo>
                      <a:pt x="24538" y="8196"/>
                    </a:moveTo>
                    <a:lnTo>
                      <a:pt x="9308" y="8196"/>
                    </a:lnTo>
                    <a:lnTo>
                      <a:pt x="9308" y="24307"/>
                    </a:lnTo>
                    <a:lnTo>
                      <a:pt x="25385" y="24307"/>
                    </a:lnTo>
                    <a:cubicBezTo>
                      <a:pt x="28487" y="24307"/>
                      <a:pt x="31026" y="23741"/>
                      <a:pt x="32436" y="22328"/>
                    </a:cubicBezTo>
                    <a:cubicBezTo>
                      <a:pt x="34128" y="20915"/>
                      <a:pt x="34692" y="18937"/>
                      <a:pt x="34692" y="16110"/>
                    </a:cubicBezTo>
                    <a:cubicBezTo>
                      <a:pt x="34692" y="13284"/>
                      <a:pt x="33846" y="11305"/>
                      <a:pt x="32436" y="9892"/>
                    </a:cubicBezTo>
                    <a:cubicBezTo>
                      <a:pt x="31308" y="9044"/>
                      <a:pt x="28487" y="8196"/>
                      <a:pt x="24538" y="8196"/>
                    </a:cubicBezTo>
                    <a:moveTo>
                      <a:pt x="0" y="57375"/>
                    </a:moveTo>
                    <a:lnTo>
                      <a:pt x="0" y="0"/>
                    </a:lnTo>
                    <a:lnTo>
                      <a:pt x="24538" y="0"/>
                    </a:lnTo>
                    <a:cubicBezTo>
                      <a:pt x="30744" y="0"/>
                      <a:pt x="35538" y="1413"/>
                      <a:pt x="38923" y="3957"/>
                    </a:cubicBezTo>
                    <a:cubicBezTo>
                      <a:pt x="42308" y="6501"/>
                      <a:pt x="44000" y="10457"/>
                      <a:pt x="44000" y="15545"/>
                    </a:cubicBezTo>
                    <a:cubicBezTo>
                      <a:pt x="44000" y="17806"/>
                      <a:pt x="43436" y="20067"/>
                      <a:pt x="42308" y="22328"/>
                    </a:cubicBezTo>
                    <a:cubicBezTo>
                      <a:pt x="41179" y="24589"/>
                      <a:pt x="39205" y="26568"/>
                      <a:pt x="35821" y="27698"/>
                    </a:cubicBezTo>
                    <a:cubicBezTo>
                      <a:pt x="39205" y="28829"/>
                      <a:pt x="41744" y="30524"/>
                      <a:pt x="43154" y="32786"/>
                    </a:cubicBezTo>
                    <a:cubicBezTo>
                      <a:pt x="44564" y="35047"/>
                      <a:pt x="45410" y="37873"/>
                      <a:pt x="45410" y="41265"/>
                    </a:cubicBezTo>
                    <a:cubicBezTo>
                      <a:pt x="45410" y="46069"/>
                      <a:pt x="44000" y="50026"/>
                      <a:pt x="40898" y="53135"/>
                    </a:cubicBezTo>
                    <a:cubicBezTo>
                      <a:pt x="37795" y="55962"/>
                      <a:pt x="33000" y="57657"/>
                      <a:pt x="26231" y="57657"/>
                    </a:cubicBezTo>
                    <a:lnTo>
                      <a:pt x="0" y="57657"/>
                    </a:lnTo>
                    <a:close/>
                  </a:path>
                </a:pathLst>
              </a:custGeom>
              <a:solidFill>
                <a:srgbClr val="7F8183"/>
              </a:solidFill>
              <a:ln w="2790" cap="flat">
                <a:noFill/>
                <a:prstDash val="solid"/>
                <a:miter/>
              </a:ln>
            </p:spPr>
            <p:txBody>
              <a:bodyPr rtlCol="0" anchor="ctr"/>
              <a:lstStyle/>
              <a:p>
                <a:endParaRPr lang="x-none" sz="1905"/>
              </a:p>
            </p:txBody>
          </p:sp>
          <p:sp>
            <p:nvSpPr>
              <p:cNvPr id="53" name="Freeform 52">
                <a:extLst>
                  <a:ext uri="{FF2B5EF4-FFF2-40B4-BE49-F238E27FC236}">
                    <a16:creationId xmlns:a16="http://schemas.microsoft.com/office/drawing/2014/main" id="{BCFB102D-2526-6147-8518-3876737E3B72}"/>
                  </a:ext>
                </a:extLst>
              </p:cNvPr>
              <p:cNvSpPr/>
              <p:nvPr/>
            </p:nvSpPr>
            <p:spPr>
              <a:xfrm>
                <a:off x="2002465" y="5811024"/>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487" y="49461"/>
                      <a:pt x="21718"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764"/>
                      <a:pt x="0" y="29959"/>
                    </a:cubicBezTo>
                    <a:cubicBezTo>
                      <a:pt x="0" y="20350"/>
                      <a:pt x="2538" y="13001"/>
                      <a:pt x="7615" y="7914"/>
                    </a:cubicBezTo>
                    <a:cubicBezTo>
                      <a:pt x="12692" y="2826"/>
                      <a:pt x="19179" y="0"/>
                      <a:pt x="27359" y="0"/>
                    </a:cubicBezTo>
                    <a:cubicBezTo>
                      <a:pt x="35256" y="0"/>
                      <a:pt x="41744" y="2544"/>
                      <a:pt x="46539" y="7914"/>
                    </a:cubicBezTo>
                    <a:cubicBezTo>
                      <a:pt x="51333" y="13001"/>
                      <a:pt x="53872" y="20350"/>
                      <a:pt x="53872" y="29959"/>
                    </a:cubicBezTo>
                    <a:cubicBezTo>
                      <a:pt x="53872" y="39286"/>
                      <a:pt x="51333" y="46635"/>
                      <a:pt x="46539" y="52005"/>
                    </a:cubicBezTo>
                    <a:cubicBezTo>
                      <a:pt x="41462" y="57092"/>
                      <a:pt x="35256" y="59919"/>
                      <a:pt x="27359" y="59919"/>
                    </a:cubicBezTo>
                  </a:path>
                </a:pathLst>
              </a:custGeom>
              <a:solidFill>
                <a:srgbClr val="7F8183"/>
              </a:solidFill>
              <a:ln w="2790" cap="flat">
                <a:noFill/>
                <a:prstDash val="solid"/>
                <a:miter/>
              </a:ln>
            </p:spPr>
            <p:txBody>
              <a:bodyPr rtlCol="0" anchor="ctr"/>
              <a:lstStyle/>
              <a:p>
                <a:endParaRPr lang="x-none" sz="1905"/>
              </a:p>
            </p:txBody>
          </p:sp>
        </p:grpSp>
        <p:sp>
          <p:nvSpPr>
            <p:cNvPr id="31" name="Freeform 30">
              <a:extLst>
                <a:ext uri="{FF2B5EF4-FFF2-40B4-BE49-F238E27FC236}">
                  <a16:creationId xmlns:a16="http://schemas.microsoft.com/office/drawing/2014/main" id="{79D1E9F0-39F8-9F44-8C13-7278B90A5A55}"/>
                </a:ext>
              </a:extLst>
            </p:cNvPr>
            <p:cNvSpPr/>
            <p:nvPr/>
          </p:nvSpPr>
          <p:spPr>
            <a:xfrm>
              <a:off x="1266593" y="5935383"/>
              <a:ext cx="48230" cy="57374"/>
            </a:xfrm>
            <a:custGeom>
              <a:avLst/>
              <a:gdLst>
                <a:gd name="connsiteX0" fmla="*/ 0 w 48230"/>
                <a:gd name="connsiteY0" fmla="*/ 57375 h 57374"/>
                <a:gd name="connsiteX1" fmla="*/ 0 w 48230"/>
                <a:gd name="connsiteY1" fmla="*/ 0 h 57374"/>
                <a:gd name="connsiteX2" fmla="*/ 48231 w 48230"/>
                <a:gd name="connsiteY2" fmla="*/ 0 h 57374"/>
                <a:gd name="connsiteX3" fmla="*/ 48231 w 48230"/>
                <a:gd name="connsiteY3" fmla="*/ 57375 h 57374"/>
                <a:gd name="connsiteX4" fmla="*/ 38641 w 48230"/>
                <a:gd name="connsiteY4" fmla="*/ 57375 h 57374"/>
                <a:gd name="connsiteX5" fmla="*/ 38641 w 48230"/>
                <a:gd name="connsiteY5" fmla="*/ 9044 h 57374"/>
                <a:gd name="connsiteX6" fmla="*/ 9308 w 48230"/>
                <a:gd name="connsiteY6" fmla="*/ 9044 h 57374"/>
                <a:gd name="connsiteX7" fmla="*/ 9308 w 48230"/>
                <a:gd name="connsiteY7"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30" h="57374">
                  <a:moveTo>
                    <a:pt x="0" y="57375"/>
                  </a:moveTo>
                  <a:lnTo>
                    <a:pt x="0" y="0"/>
                  </a:lnTo>
                  <a:lnTo>
                    <a:pt x="48231" y="0"/>
                  </a:lnTo>
                  <a:lnTo>
                    <a:pt x="48231" y="57375"/>
                  </a:lnTo>
                  <a:lnTo>
                    <a:pt x="38641" y="57375"/>
                  </a:lnTo>
                  <a:lnTo>
                    <a:pt x="38641" y="9044"/>
                  </a:lnTo>
                  <a:lnTo>
                    <a:pt x="9308" y="9044"/>
                  </a:lnTo>
                  <a:lnTo>
                    <a:pt x="9308" y="57375"/>
                  </a:lnTo>
                  <a:close/>
                </a:path>
              </a:pathLst>
            </a:custGeom>
            <a:solidFill>
              <a:srgbClr val="7F8183"/>
            </a:solidFill>
            <a:ln w="2790" cap="flat">
              <a:noFill/>
              <a:prstDash val="solid"/>
              <a:miter/>
            </a:ln>
          </p:spPr>
          <p:txBody>
            <a:bodyPr rtlCol="0" anchor="ctr"/>
            <a:lstStyle/>
            <a:p>
              <a:endParaRPr lang="x-none" sz="1905"/>
            </a:p>
          </p:txBody>
        </p:sp>
        <p:grpSp>
          <p:nvGrpSpPr>
            <p:cNvPr id="32" name="Graphic 13">
              <a:extLst>
                <a:ext uri="{FF2B5EF4-FFF2-40B4-BE49-F238E27FC236}">
                  <a16:creationId xmlns:a16="http://schemas.microsoft.com/office/drawing/2014/main" id="{EB62BF0B-A81A-A44F-AE22-88162C3844CD}"/>
                </a:ext>
              </a:extLst>
            </p:cNvPr>
            <p:cNvGrpSpPr/>
            <p:nvPr/>
          </p:nvGrpSpPr>
          <p:grpSpPr>
            <a:xfrm>
              <a:off x="1332593" y="5933970"/>
              <a:ext cx="245948" cy="82246"/>
              <a:chOff x="1332593" y="5933970"/>
              <a:chExt cx="245948" cy="82246"/>
            </a:xfrm>
            <a:solidFill>
              <a:srgbClr val="CFD4D9"/>
            </a:solidFill>
          </p:grpSpPr>
          <p:sp>
            <p:nvSpPr>
              <p:cNvPr id="48" name="Freeform 47">
                <a:extLst>
                  <a:ext uri="{FF2B5EF4-FFF2-40B4-BE49-F238E27FC236}">
                    <a16:creationId xmlns:a16="http://schemas.microsoft.com/office/drawing/2014/main" id="{A2E89EF2-ED59-D544-B823-BC59B0DCABE9}"/>
                  </a:ext>
                </a:extLst>
              </p:cNvPr>
              <p:cNvSpPr/>
              <p:nvPr/>
            </p:nvSpPr>
            <p:spPr>
              <a:xfrm>
                <a:off x="1332593" y="5933970"/>
                <a:ext cx="54153" cy="82246"/>
              </a:xfrm>
              <a:custGeom>
                <a:avLst/>
                <a:gdLst>
                  <a:gd name="connsiteX0" fmla="*/ 9590 w 54153"/>
                  <a:gd name="connsiteY0" fmla="*/ 34764 h 82246"/>
                  <a:gd name="connsiteX1" fmla="*/ 14949 w 54153"/>
                  <a:gd name="connsiteY1" fmla="*/ 46917 h 82246"/>
                  <a:gd name="connsiteX2" fmla="*/ 27641 w 54153"/>
                  <a:gd name="connsiteY2" fmla="*/ 51439 h 82246"/>
                  <a:gd name="connsiteX3" fmla="*/ 40051 w 54153"/>
                  <a:gd name="connsiteY3" fmla="*/ 45504 h 82246"/>
                  <a:gd name="connsiteX4" fmla="*/ 44564 w 54153"/>
                  <a:gd name="connsiteY4" fmla="*/ 29677 h 82246"/>
                  <a:gd name="connsiteX5" fmla="*/ 40051 w 54153"/>
                  <a:gd name="connsiteY5" fmla="*/ 14414 h 82246"/>
                  <a:gd name="connsiteX6" fmla="*/ 27359 w 54153"/>
                  <a:gd name="connsiteY6" fmla="*/ 8479 h 82246"/>
                  <a:gd name="connsiteX7" fmla="*/ 20872 w 54153"/>
                  <a:gd name="connsiteY7" fmla="*/ 9610 h 82246"/>
                  <a:gd name="connsiteX8" fmla="*/ 15231 w 54153"/>
                  <a:gd name="connsiteY8" fmla="*/ 13284 h 82246"/>
                  <a:gd name="connsiteX9" fmla="*/ 11282 w 54153"/>
                  <a:gd name="connsiteY9" fmla="*/ 19219 h 82246"/>
                  <a:gd name="connsiteX10" fmla="*/ 9872 w 54153"/>
                  <a:gd name="connsiteY10" fmla="*/ 27416 h 82246"/>
                  <a:gd name="connsiteX11" fmla="*/ 9872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590" y="34764"/>
                    </a:moveTo>
                    <a:cubicBezTo>
                      <a:pt x="9590" y="40134"/>
                      <a:pt x="11282" y="44091"/>
                      <a:pt x="14949" y="46917"/>
                    </a:cubicBezTo>
                    <a:cubicBezTo>
                      <a:pt x="18615" y="49744"/>
                      <a:pt x="22846" y="51439"/>
                      <a:pt x="27641" y="51439"/>
                    </a:cubicBezTo>
                    <a:cubicBezTo>
                      <a:pt x="33000" y="51439"/>
                      <a:pt x="36949" y="49461"/>
                      <a:pt x="40051" y="45504"/>
                    </a:cubicBezTo>
                    <a:cubicBezTo>
                      <a:pt x="43154" y="41547"/>
                      <a:pt x="44564" y="36460"/>
                      <a:pt x="44564" y="29677"/>
                    </a:cubicBezTo>
                    <a:cubicBezTo>
                      <a:pt x="44564" y="23459"/>
                      <a:pt x="43154" y="18371"/>
                      <a:pt x="40051" y="14414"/>
                    </a:cubicBezTo>
                    <a:cubicBezTo>
                      <a:pt x="36949" y="10457"/>
                      <a:pt x="32718" y="8479"/>
                      <a:pt x="27359" y="8479"/>
                    </a:cubicBezTo>
                    <a:cubicBezTo>
                      <a:pt x="25103" y="8479"/>
                      <a:pt x="22846" y="8762"/>
                      <a:pt x="20872" y="9610"/>
                    </a:cubicBezTo>
                    <a:cubicBezTo>
                      <a:pt x="18897" y="10457"/>
                      <a:pt x="16923" y="11588"/>
                      <a:pt x="15231" y="13284"/>
                    </a:cubicBezTo>
                    <a:cubicBezTo>
                      <a:pt x="13538" y="14980"/>
                      <a:pt x="12128" y="16958"/>
                      <a:pt x="11282" y="19219"/>
                    </a:cubicBezTo>
                    <a:cubicBezTo>
                      <a:pt x="10154" y="21763"/>
                      <a:pt x="9872" y="24307"/>
                      <a:pt x="9872" y="27416"/>
                    </a:cubicBezTo>
                    <a:lnTo>
                      <a:pt x="9872" y="34764"/>
                    </a:lnTo>
                    <a:close/>
                    <a:moveTo>
                      <a:pt x="0" y="82247"/>
                    </a:moveTo>
                    <a:lnTo>
                      <a:pt x="0" y="1413"/>
                    </a:lnTo>
                    <a:lnTo>
                      <a:pt x="9590" y="1413"/>
                    </a:lnTo>
                    <a:lnTo>
                      <a:pt x="9590" y="9044"/>
                    </a:lnTo>
                    <a:cubicBezTo>
                      <a:pt x="11564" y="5935"/>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sp>
            <p:nvSpPr>
              <p:cNvPr id="49" name="Freeform 48">
                <a:extLst>
                  <a:ext uri="{FF2B5EF4-FFF2-40B4-BE49-F238E27FC236}">
                    <a16:creationId xmlns:a16="http://schemas.microsoft.com/office/drawing/2014/main" id="{C8E47D0C-8741-8B49-9ED1-24ACD2050C8E}"/>
                  </a:ext>
                </a:extLst>
              </p:cNvPr>
              <p:cNvSpPr/>
              <p:nvPr/>
            </p:nvSpPr>
            <p:spPr>
              <a:xfrm>
                <a:off x="1397747" y="5934253"/>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487" y="49461"/>
                      <a:pt x="22000"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481"/>
                      <a:pt x="0" y="29959"/>
                    </a:cubicBezTo>
                    <a:cubicBezTo>
                      <a:pt x="0" y="20350"/>
                      <a:pt x="2538" y="13001"/>
                      <a:pt x="7615" y="7914"/>
                    </a:cubicBezTo>
                    <a:cubicBezTo>
                      <a:pt x="12692" y="2826"/>
                      <a:pt x="19180" y="0"/>
                      <a:pt x="27359" y="0"/>
                    </a:cubicBezTo>
                    <a:cubicBezTo>
                      <a:pt x="35256" y="0"/>
                      <a:pt x="41744" y="2544"/>
                      <a:pt x="46539" y="7914"/>
                    </a:cubicBezTo>
                    <a:cubicBezTo>
                      <a:pt x="51333" y="13001"/>
                      <a:pt x="53872" y="20350"/>
                      <a:pt x="53872" y="29959"/>
                    </a:cubicBezTo>
                    <a:cubicBezTo>
                      <a:pt x="53872" y="39286"/>
                      <a:pt x="51333" y="46635"/>
                      <a:pt x="46539" y="52005"/>
                    </a:cubicBezTo>
                    <a:cubicBezTo>
                      <a:pt x="41744" y="57092"/>
                      <a:pt x="35256" y="59919"/>
                      <a:pt x="27359" y="59919"/>
                    </a:cubicBezTo>
                  </a:path>
                </a:pathLst>
              </a:custGeom>
              <a:solidFill>
                <a:srgbClr val="7F8183"/>
              </a:solidFill>
              <a:ln w="2790" cap="flat">
                <a:noFill/>
                <a:prstDash val="solid"/>
                <a:miter/>
              </a:ln>
            </p:spPr>
            <p:txBody>
              <a:bodyPr rtlCol="0" anchor="ctr"/>
              <a:lstStyle/>
              <a:p>
                <a:endParaRPr lang="x-none" sz="1905"/>
              </a:p>
            </p:txBody>
          </p:sp>
          <p:sp>
            <p:nvSpPr>
              <p:cNvPr id="50" name="Freeform 49">
                <a:extLst>
                  <a:ext uri="{FF2B5EF4-FFF2-40B4-BE49-F238E27FC236}">
                    <a16:creationId xmlns:a16="http://schemas.microsoft.com/office/drawing/2014/main" id="{369E8573-BBD4-6C45-A542-DD563484DACE}"/>
                  </a:ext>
                </a:extLst>
              </p:cNvPr>
              <p:cNvSpPr/>
              <p:nvPr/>
            </p:nvSpPr>
            <p:spPr>
              <a:xfrm>
                <a:off x="1456696" y="5935383"/>
                <a:ext cx="63461" cy="73767"/>
              </a:xfrm>
              <a:custGeom>
                <a:avLst/>
                <a:gdLst>
                  <a:gd name="connsiteX0" fmla="*/ 22282 w 63461"/>
                  <a:gd name="connsiteY0" fmla="*/ 33068 h 73767"/>
                  <a:gd name="connsiteX1" fmla="*/ 20308 w 63461"/>
                  <a:gd name="connsiteY1" fmla="*/ 41830 h 73767"/>
                  <a:gd name="connsiteX2" fmla="*/ 16923 w 63461"/>
                  <a:gd name="connsiteY2" fmla="*/ 48331 h 73767"/>
                  <a:gd name="connsiteX3" fmla="*/ 44846 w 63461"/>
                  <a:gd name="connsiteY3" fmla="*/ 48331 h 73767"/>
                  <a:gd name="connsiteX4" fmla="*/ 44846 w 63461"/>
                  <a:gd name="connsiteY4" fmla="*/ 8762 h 73767"/>
                  <a:gd name="connsiteX5" fmla="*/ 23128 w 63461"/>
                  <a:gd name="connsiteY5" fmla="*/ 8762 h 73767"/>
                  <a:gd name="connsiteX6" fmla="*/ 23128 w 63461"/>
                  <a:gd name="connsiteY6" fmla="*/ 23176 h 73767"/>
                  <a:gd name="connsiteX7" fmla="*/ 22282 w 63461"/>
                  <a:gd name="connsiteY7" fmla="*/ 33068 h 73767"/>
                  <a:gd name="connsiteX8" fmla="*/ 0 w 63461"/>
                  <a:gd name="connsiteY8" fmla="*/ 48613 h 73767"/>
                  <a:gd name="connsiteX9" fmla="*/ 5923 w 63461"/>
                  <a:gd name="connsiteY9" fmla="*/ 48613 h 73767"/>
                  <a:gd name="connsiteX10" fmla="*/ 11000 w 63461"/>
                  <a:gd name="connsiteY10" fmla="*/ 41547 h 73767"/>
                  <a:gd name="connsiteX11" fmla="*/ 13256 w 63461"/>
                  <a:gd name="connsiteY11" fmla="*/ 31938 h 73767"/>
                  <a:gd name="connsiteX12" fmla="*/ 13538 w 63461"/>
                  <a:gd name="connsiteY12" fmla="*/ 27416 h 73767"/>
                  <a:gd name="connsiteX13" fmla="*/ 13821 w 63461"/>
                  <a:gd name="connsiteY13" fmla="*/ 21198 h 73767"/>
                  <a:gd name="connsiteX14" fmla="*/ 13821 w 63461"/>
                  <a:gd name="connsiteY14" fmla="*/ 12436 h 73767"/>
                  <a:gd name="connsiteX15" fmla="*/ 13821 w 63461"/>
                  <a:gd name="connsiteY15" fmla="*/ 0 h 73767"/>
                  <a:gd name="connsiteX16" fmla="*/ 54154 w 63461"/>
                  <a:gd name="connsiteY16" fmla="*/ 0 h 73767"/>
                  <a:gd name="connsiteX17" fmla="*/ 54154 w 63461"/>
                  <a:gd name="connsiteY17" fmla="*/ 48613 h 73767"/>
                  <a:gd name="connsiteX18" fmla="*/ 63462 w 63461"/>
                  <a:gd name="connsiteY18" fmla="*/ 48613 h 73767"/>
                  <a:gd name="connsiteX19" fmla="*/ 63462 w 63461"/>
                  <a:gd name="connsiteY19" fmla="*/ 73768 h 73767"/>
                  <a:gd name="connsiteX20" fmla="*/ 54154 w 63461"/>
                  <a:gd name="connsiteY20" fmla="*/ 73768 h 73767"/>
                  <a:gd name="connsiteX21" fmla="*/ 54154 w 63461"/>
                  <a:gd name="connsiteY21" fmla="*/ 57657 h 73767"/>
                  <a:gd name="connsiteX22" fmla="*/ 9308 w 63461"/>
                  <a:gd name="connsiteY22" fmla="*/ 57657 h 73767"/>
                  <a:gd name="connsiteX23" fmla="*/ 9308 w 63461"/>
                  <a:gd name="connsiteY23" fmla="*/ 73768 h 73767"/>
                  <a:gd name="connsiteX24" fmla="*/ 0 w 63461"/>
                  <a:gd name="connsiteY24" fmla="*/ 73768 h 73767"/>
                  <a:gd name="connsiteX25" fmla="*/ 0 w 63461"/>
                  <a:gd name="connsiteY25" fmla="*/ 48613 h 7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3461" h="73767">
                    <a:moveTo>
                      <a:pt x="22282" y="33068"/>
                    </a:moveTo>
                    <a:cubicBezTo>
                      <a:pt x="22000" y="36460"/>
                      <a:pt x="21154" y="39286"/>
                      <a:pt x="20308" y="41830"/>
                    </a:cubicBezTo>
                    <a:cubicBezTo>
                      <a:pt x="19180" y="44374"/>
                      <a:pt x="18051" y="46635"/>
                      <a:pt x="16923" y="48331"/>
                    </a:cubicBezTo>
                    <a:lnTo>
                      <a:pt x="44846" y="48331"/>
                    </a:lnTo>
                    <a:lnTo>
                      <a:pt x="44846" y="8762"/>
                    </a:lnTo>
                    <a:lnTo>
                      <a:pt x="23128" y="8762"/>
                    </a:lnTo>
                    <a:cubicBezTo>
                      <a:pt x="23128" y="14414"/>
                      <a:pt x="23128" y="19219"/>
                      <a:pt x="23128" y="23176"/>
                    </a:cubicBezTo>
                    <a:cubicBezTo>
                      <a:pt x="22564" y="27698"/>
                      <a:pt x="22564" y="30807"/>
                      <a:pt x="22282" y="33068"/>
                    </a:cubicBezTo>
                    <a:moveTo>
                      <a:pt x="0" y="48613"/>
                    </a:moveTo>
                    <a:lnTo>
                      <a:pt x="5923" y="48613"/>
                    </a:lnTo>
                    <a:cubicBezTo>
                      <a:pt x="7897" y="46917"/>
                      <a:pt x="9590" y="44656"/>
                      <a:pt x="11000" y="41547"/>
                    </a:cubicBezTo>
                    <a:cubicBezTo>
                      <a:pt x="12410" y="38438"/>
                      <a:pt x="13256" y="35329"/>
                      <a:pt x="13256" y="31938"/>
                    </a:cubicBezTo>
                    <a:cubicBezTo>
                      <a:pt x="13256" y="30525"/>
                      <a:pt x="13538" y="29111"/>
                      <a:pt x="13538" y="27416"/>
                    </a:cubicBezTo>
                    <a:cubicBezTo>
                      <a:pt x="13538" y="25720"/>
                      <a:pt x="13538" y="23741"/>
                      <a:pt x="13821" y="21198"/>
                    </a:cubicBezTo>
                    <a:cubicBezTo>
                      <a:pt x="13821" y="18654"/>
                      <a:pt x="13821" y="15828"/>
                      <a:pt x="13821" y="12436"/>
                    </a:cubicBezTo>
                    <a:cubicBezTo>
                      <a:pt x="13821" y="9044"/>
                      <a:pt x="13821" y="4805"/>
                      <a:pt x="13821" y="0"/>
                    </a:cubicBezTo>
                    <a:lnTo>
                      <a:pt x="54154" y="0"/>
                    </a:lnTo>
                    <a:lnTo>
                      <a:pt x="54154" y="48613"/>
                    </a:lnTo>
                    <a:lnTo>
                      <a:pt x="63462" y="48613"/>
                    </a:lnTo>
                    <a:lnTo>
                      <a:pt x="63462" y="73768"/>
                    </a:lnTo>
                    <a:lnTo>
                      <a:pt x="54154" y="73768"/>
                    </a:lnTo>
                    <a:lnTo>
                      <a:pt x="54154" y="57657"/>
                    </a:lnTo>
                    <a:lnTo>
                      <a:pt x="9308" y="57657"/>
                    </a:lnTo>
                    <a:lnTo>
                      <a:pt x="9308" y="73768"/>
                    </a:lnTo>
                    <a:lnTo>
                      <a:pt x="0" y="73768"/>
                    </a:lnTo>
                    <a:lnTo>
                      <a:pt x="0" y="48613"/>
                    </a:lnTo>
                    <a:close/>
                  </a:path>
                </a:pathLst>
              </a:custGeom>
              <a:solidFill>
                <a:srgbClr val="7F8183"/>
              </a:solidFill>
              <a:ln w="2790" cap="flat">
                <a:noFill/>
                <a:prstDash val="solid"/>
                <a:miter/>
              </a:ln>
            </p:spPr>
            <p:txBody>
              <a:bodyPr rtlCol="0" anchor="ctr"/>
              <a:lstStyle/>
              <a:p>
                <a:endParaRPr lang="x-none" sz="1905"/>
              </a:p>
            </p:txBody>
          </p:sp>
          <p:sp>
            <p:nvSpPr>
              <p:cNvPr id="51" name="Freeform 50">
                <a:extLst>
                  <a:ext uri="{FF2B5EF4-FFF2-40B4-BE49-F238E27FC236}">
                    <a16:creationId xmlns:a16="http://schemas.microsoft.com/office/drawing/2014/main" id="{BF3BA814-018D-A143-9911-CD40CA9B619D}"/>
                  </a:ext>
                </a:extLst>
              </p:cNvPr>
              <p:cNvSpPr/>
              <p:nvPr/>
            </p:nvSpPr>
            <p:spPr>
              <a:xfrm>
                <a:off x="1522978" y="5935383"/>
                <a:ext cx="55564" cy="80833"/>
              </a:xfrm>
              <a:custGeom>
                <a:avLst/>
                <a:gdLst>
                  <a:gd name="connsiteX0" fmla="*/ 29615 w 55564"/>
                  <a:gd name="connsiteY0" fmla="*/ 66419 h 80833"/>
                  <a:gd name="connsiteX1" fmla="*/ 22000 w 55564"/>
                  <a:gd name="connsiteY1" fmla="*/ 77724 h 80833"/>
                  <a:gd name="connsiteX2" fmla="*/ 11282 w 55564"/>
                  <a:gd name="connsiteY2" fmla="*/ 80833 h 80833"/>
                  <a:gd name="connsiteX3" fmla="*/ 5923 w 55564"/>
                  <a:gd name="connsiteY3" fmla="*/ 80833 h 80833"/>
                  <a:gd name="connsiteX4" fmla="*/ 5923 w 55564"/>
                  <a:gd name="connsiteY4" fmla="*/ 71789 h 80833"/>
                  <a:gd name="connsiteX5" fmla="*/ 9590 w 55564"/>
                  <a:gd name="connsiteY5" fmla="*/ 71789 h 80833"/>
                  <a:gd name="connsiteX6" fmla="*/ 16641 w 55564"/>
                  <a:gd name="connsiteY6" fmla="*/ 70093 h 80833"/>
                  <a:gd name="connsiteX7" fmla="*/ 21436 w 55564"/>
                  <a:gd name="connsiteY7" fmla="*/ 63310 h 80833"/>
                  <a:gd name="connsiteX8" fmla="*/ 23974 w 55564"/>
                  <a:gd name="connsiteY8" fmla="*/ 57092 h 80833"/>
                  <a:gd name="connsiteX9" fmla="*/ 0 w 55564"/>
                  <a:gd name="connsiteY9" fmla="*/ 0 h 80833"/>
                  <a:gd name="connsiteX10" fmla="*/ 10436 w 55564"/>
                  <a:gd name="connsiteY10" fmla="*/ 0 h 80833"/>
                  <a:gd name="connsiteX11" fmla="*/ 29051 w 55564"/>
                  <a:gd name="connsiteY11" fmla="*/ 45504 h 80833"/>
                  <a:gd name="connsiteX12" fmla="*/ 45692 w 55564"/>
                  <a:gd name="connsiteY12" fmla="*/ 0 h 80833"/>
                  <a:gd name="connsiteX13" fmla="*/ 55564 w 55564"/>
                  <a:gd name="connsiteY13" fmla="*/ 0 h 80833"/>
                  <a:gd name="connsiteX14" fmla="*/ 29615 w 55564"/>
                  <a:gd name="connsiteY14" fmla="*/ 66419 h 8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564" h="80833">
                    <a:moveTo>
                      <a:pt x="29615" y="66419"/>
                    </a:moveTo>
                    <a:cubicBezTo>
                      <a:pt x="27359" y="71789"/>
                      <a:pt x="25103" y="75746"/>
                      <a:pt x="22000" y="77724"/>
                    </a:cubicBezTo>
                    <a:cubicBezTo>
                      <a:pt x="19180" y="79986"/>
                      <a:pt x="15513" y="80833"/>
                      <a:pt x="11282" y="80833"/>
                    </a:cubicBezTo>
                    <a:lnTo>
                      <a:pt x="5923" y="80833"/>
                    </a:lnTo>
                    <a:lnTo>
                      <a:pt x="5923" y="71789"/>
                    </a:lnTo>
                    <a:lnTo>
                      <a:pt x="9590" y="71789"/>
                    </a:lnTo>
                    <a:cubicBezTo>
                      <a:pt x="12410" y="71789"/>
                      <a:pt x="14667" y="71224"/>
                      <a:pt x="16641" y="70093"/>
                    </a:cubicBezTo>
                    <a:cubicBezTo>
                      <a:pt x="18615" y="68963"/>
                      <a:pt x="20308" y="66702"/>
                      <a:pt x="21436" y="63310"/>
                    </a:cubicBezTo>
                    <a:lnTo>
                      <a:pt x="23974" y="57092"/>
                    </a:lnTo>
                    <a:lnTo>
                      <a:pt x="0" y="0"/>
                    </a:lnTo>
                    <a:lnTo>
                      <a:pt x="10436" y="0"/>
                    </a:lnTo>
                    <a:lnTo>
                      <a:pt x="29051" y="45504"/>
                    </a:lnTo>
                    <a:lnTo>
                      <a:pt x="45692" y="0"/>
                    </a:lnTo>
                    <a:lnTo>
                      <a:pt x="55564" y="0"/>
                    </a:lnTo>
                    <a:lnTo>
                      <a:pt x="29615" y="66419"/>
                    </a:lnTo>
                    <a:close/>
                  </a:path>
                </a:pathLst>
              </a:custGeom>
              <a:solidFill>
                <a:srgbClr val="7F8183"/>
              </a:solidFill>
              <a:ln w="2790" cap="flat">
                <a:noFill/>
                <a:prstDash val="solid"/>
                <a:miter/>
              </a:ln>
            </p:spPr>
            <p:txBody>
              <a:bodyPr rtlCol="0" anchor="ctr"/>
              <a:lstStyle/>
              <a:p>
                <a:endParaRPr lang="x-none" sz="1905"/>
              </a:p>
            </p:txBody>
          </p:sp>
        </p:grpSp>
        <p:sp>
          <p:nvSpPr>
            <p:cNvPr id="33" name="Freeform 32">
              <a:extLst>
                <a:ext uri="{FF2B5EF4-FFF2-40B4-BE49-F238E27FC236}">
                  <a16:creationId xmlns:a16="http://schemas.microsoft.com/office/drawing/2014/main" id="{5FD52627-DEB5-9E49-9783-F91E48C0C719}"/>
                </a:ext>
              </a:extLst>
            </p:cNvPr>
            <p:cNvSpPr/>
            <p:nvPr/>
          </p:nvSpPr>
          <p:spPr>
            <a:xfrm>
              <a:off x="1588414" y="5935383"/>
              <a:ext cx="66282" cy="57374"/>
            </a:xfrm>
            <a:custGeom>
              <a:avLst/>
              <a:gdLst>
                <a:gd name="connsiteX0" fmla="*/ 0 w 66282"/>
                <a:gd name="connsiteY0" fmla="*/ 57375 h 57374"/>
                <a:gd name="connsiteX1" fmla="*/ 0 w 66282"/>
                <a:gd name="connsiteY1" fmla="*/ 0 h 57374"/>
                <a:gd name="connsiteX2" fmla="*/ 14103 w 66282"/>
                <a:gd name="connsiteY2" fmla="*/ 0 h 57374"/>
                <a:gd name="connsiteX3" fmla="*/ 33282 w 66282"/>
                <a:gd name="connsiteY3" fmla="*/ 48048 h 57374"/>
                <a:gd name="connsiteX4" fmla="*/ 52744 w 66282"/>
                <a:gd name="connsiteY4" fmla="*/ 0 h 57374"/>
                <a:gd name="connsiteX5" fmla="*/ 66282 w 66282"/>
                <a:gd name="connsiteY5" fmla="*/ 0 h 57374"/>
                <a:gd name="connsiteX6" fmla="*/ 66282 w 66282"/>
                <a:gd name="connsiteY6" fmla="*/ 57375 h 57374"/>
                <a:gd name="connsiteX7" fmla="*/ 56974 w 66282"/>
                <a:gd name="connsiteY7" fmla="*/ 57375 h 57374"/>
                <a:gd name="connsiteX8" fmla="*/ 56974 w 66282"/>
                <a:gd name="connsiteY8" fmla="*/ 10457 h 57374"/>
                <a:gd name="connsiteX9" fmla="*/ 37795 w 66282"/>
                <a:gd name="connsiteY9" fmla="*/ 57375 h 57374"/>
                <a:gd name="connsiteX10" fmla="*/ 27923 w 66282"/>
                <a:gd name="connsiteY10" fmla="*/ 57375 h 57374"/>
                <a:gd name="connsiteX11" fmla="*/ 8744 w 66282"/>
                <a:gd name="connsiteY11" fmla="*/ 10457 h 57374"/>
                <a:gd name="connsiteX12" fmla="*/ 8744 w 66282"/>
                <a:gd name="connsiteY12"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282" h="57374">
                  <a:moveTo>
                    <a:pt x="0" y="57375"/>
                  </a:moveTo>
                  <a:lnTo>
                    <a:pt x="0" y="0"/>
                  </a:lnTo>
                  <a:lnTo>
                    <a:pt x="14103" y="0"/>
                  </a:lnTo>
                  <a:lnTo>
                    <a:pt x="33282" y="48048"/>
                  </a:lnTo>
                  <a:lnTo>
                    <a:pt x="52744" y="0"/>
                  </a:lnTo>
                  <a:lnTo>
                    <a:pt x="66282" y="0"/>
                  </a:lnTo>
                  <a:lnTo>
                    <a:pt x="66282" y="57375"/>
                  </a:lnTo>
                  <a:lnTo>
                    <a:pt x="56974" y="57375"/>
                  </a:lnTo>
                  <a:lnTo>
                    <a:pt x="56974" y="10457"/>
                  </a:lnTo>
                  <a:lnTo>
                    <a:pt x="37795" y="57375"/>
                  </a:lnTo>
                  <a:lnTo>
                    <a:pt x="27923" y="57375"/>
                  </a:lnTo>
                  <a:lnTo>
                    <a:pt x="8744" y="10457"/>
                  </a:lnTo>
                  <a:lnTo>
                    <a:pt x="8744" y="57375"/>
                  </a:lnTo>
                  <a:close/>
                </a:path>
              </a:pathLst>
            </a:custGeom>
            <a:solidFill>
              <a:srgbClr val="7F8183"/>
            </a:solidFill>
            <a:ln w="2790" cap="flat">
              <a:noFill/>
              <a:prstDash val="solid"/>
              <a:miter/>
            </a:ln>
          </p:spPr>
          <p:txBody>
            <a:bodyPr rtlCol="0" anchor="ctr"/>
            <a:lstStyle/>
            <a:p>
              <a:endParaRPr lang="x-none" sz="1905"/>
            </a:p>
          </p:txBody>
        </p:sp>
        <p:sp>
          <p:nvSpPr>
            <p:cNvPr id="34" name="Freeform 33">
              <a:extLst>
                <a:ext uri="{FF2B5EF4-FFF2-40B4-BE49-F238E27FC236}">
                  <a16:creationId xmlns:a16="http://schemas.microsoft.com/office/drawing/2014/main" id="{F64B53A7-1C62-0741-B3C6-8C727DF601CA}"/>
                </a:ext>
              </a:extLst>
            </p:cNvPr>
            <p:cNvSpPr/>
            <p:nvPr/>
          </p:nvSpPr>
          <p:spPr>
            <a:xfrm>
              <a:off x="1669926" y="5934253"/>
              <a:ext cx="46820" cy="59635"/>
            </a:xfrm>
            <a:custGeom>
              <a:avLst/>
              <a:gdLst>
                <a:gd name="connsiteX0" fmla="*/ 37513 w 46820"/>
                <a:gd name="connsiteY0" fmla="*/ 33068 h 59635"/>
                <a:gd name="connsiteX1" fmla="*/ 29897 w 46820"/>
                <a:gd name="connsiteY1" fmla="*/ 33068 h 59635"/>
                <a:gd name="connsiteX2" fmla="*/ 21718 w 46820"/>
                <a:gd name="connsiteY2" fmla="*/ 33068 h 59635"/>
                <a:gd name="connsiteX3" fmla="*/ 12692 w 46820"/>
                <a:gd name="connsiteY3" fmla="*/ 35612 h 59635"/>
                <a:gd name="connsiteX4" fmla="*/ 9590 w 46820"/>
                <a:gd name="connsiteY4" fmla="*/ 42395 h 59635"/>
                <a:gd name="connsiteX5" fmla="*/ 12410 w 46820"/>
                <a:gd name="connsiteY5" fmla="*/ 48896 h 59635"/>
                <a:gd name="connsiteX6" fmla="*/ 20308 w 46820"/>
                <a:gd name="connsiteY6" fmla="*/ 51439 h 59635"/>
                <a:gd name="connsiteX7" fmla="*/ 32436 w 46820"/>
                <a:gd name="connsiteY7" fmla="*/ 47765 h 59635"/>
                <a:gd name="connsiteX8" fmla="*/ 37513 w 46820"/>
                <a:gd name="connsiteY8" fmla="*/ 38438 h 59635"/>
                <a:gd name="connsiteX9" fmla="*/ 37513 w 46820"/>
                <a:gd name="connsiteY9" fmla="*/ 33068 h 59635"/>
                <a:gd name="connsiteX10" fmla="*/ 38077 w 46820"/>
                <a:gd name="connsiteY10" fmla="*/ 58505 h 59635"/>
                <a:gd name="connsiteX11" fmla="*/ 38077 w 46820"/>
                <a:gd name="connsiteY11" fmla="*/ 51722 h 59635"/>
                <a:gd name="connsiteX12" fmla="*/ 30744 w 46820"/>
                <a:gd name="connsiteY12" fmla="*/ 57375 h 59635"/>
                <a:gd name="connsiteX13" fmla="*/ 20026 w 46820"/>
                <a:gd name="connsiteY13" fmla="*/ 59636 h 59635"/>
                <a:gd name="connsiteX14" fmla="*/ 5359 w 46820"/>
                <a:gd name="connsiteY14" fmla="*/ 55114 h 59635"/>
                <a:gd name="connsiteX15" fmla="*/ 0 w 46820"/>
                <a:gd name="connsiteY15" fmla="*/ 42678 h 59635"/>
                <a:gd name="connsiteX16" fmla="*/ 5923 w 46820"/>
                <a:gd name="connsiteY16" fmla="*/ 29677 h 59635"/>
                <a:gd name="connsiteX17" fmla="*/ 21718 w 46820"/>
                <a:gd name="connsiteY17" fmla="*/ 25437 h 59635"/>
                <a:gd name="connsiteX18" fmla="*/ 29897 w 46820"/>
                <a:gd name="connsiteY18" fmla="*/ 25437 h 59635"/>
                <a:gd name="connsiteX19" fmla="*/ 37513 w 46820"/>
                <a:gd name="connsiteY19" fmla="*/ 25720 h 59635"/>
                <a:gd name="connsiteX20" fmla="*/ 37513 w 46820"/>
                <a:gd name="connsiteY20" fmla="*/ 20632 h 59635"/>
                <a:gd name="connsiteX21" fmla="*/ 33846 w 46820"/>
                <a:gd name="connsiteY21" fmla="*/ 11588 h 59635"/>
                <a:gd name="connsiteX22" fmla="*/ 24821 w 46820"/>
                <a:gd name="connsiteY22" fmla="*/ 8762 h 59635"/>
                <a:gd name="connsiteX23" fmla="*/ 15513 w 46820"/>
                <a:gd name="connsiteY23" fmla="*/ 11871 h 59635"/>
                <a:gd name="connsiteX24" fmla="*/ 11000 w 46820"/>
                <a:gd name="connsiteY24" fmla="*/ 19219 h 59635"/>
                <a:gd name="connsiteX25" fmla="*/ 1974 w 46820"/>
                <a:gd name="connsiteY25" fmla="*/ 17241 h 59635"/>
                <a:gd name="connsiteX26" fmla="*/ 9590 w 46820"/>
                <a:gd name="connsiteY26" fmla="*/ 4805 h 59635"/>
                <a:gd name="connsiteX27" fmla="*/ 24821 w 46820"/>
                <a:gd name="connsiteY27" fmla="*/ 0 h 59635"/>
                <a:gd name="connsiteX28" fmla="*/ 40615 w 46820"/>
                <a:gd name="connsiteY28" fmla="*/ 4805 h 59635"/>
                <a:gd name="connsiteX29" fmla="*/ 46821 w 46820"/>
                <a:gd name="connsiteY29" fmla="*/ 20067 h 59635"/>
                <a:gd name="connsiteX30" fmla="*/ 46821 w 46820"/>
                <a:gd name="connsiteY30" fmla="*/ 58505 h 59635"/>
                <a:gd name="connsiteX31" fmla="*/ 38077 w 46820"/>
                <a:gd name="connsiteY31" fmla="*/ 58505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820" h="59635">
                  <a:moveTo>
                    <a:pt x="37513" y="33068"/>
                  </a:moveTo>
                  <a:cubicBezTo>
                    <a:pt x="35256" y="33068"/>
                    <a:pt x="32718" y="33068"/>
                    <a:pt x="29897" y="33068"/>
                  </a:cubicBezTo>
                  <a:cubicBezTo>
                    <a:pt x="27359" y="33068"/>
                    <a:pt x="24538" y="33068"/>
                    <a:pt x="21718" y="33068"/>
                  </a:cubicBezTo>
                  <a:cubicBezTo>
                    <a:pt x="17769" y="33351"/>
                    <a:pt x="14667" y="34199"/>
                    <a:pt x="12692" y="35612"/>
                  </a:cubicBezTo>
                  <a:cubicBezTo>
                    <a:pt x="10718" y="37308"/>
                    <a:pt x="9590" y="39569"/>
                    <a:pt x="9590" y="42395"/>
                  </a:cubicBezTo>
                  <a:cubicBezTo>
                    <a:pt x="9590" y="45222"/>
                    <a:pt x="10436" y="47200"/>
                    <a:pt x="12410" y="48896"/>
                  </a:cubicBezTo>
                  <a:cubicBezTo>
                    <a:pt x="14385" y="50592"/>
                    <a:pt x="16923" y="51439"/>
                    <a:pt x="20308" y="51439"/>
                  </a:cubicBezTo>
                  <a:cubicBezTo>
                    <a:pt x="25103" y="51439"/>
                    <a:pt x="29051" y="50309"/>
                    <a:pt x="32436" y="47765"/>
                  </a:cubicBezTo>
                  <a:cubicBezTo>
                    <a:pt x="35821" y="45504"/>
                    <a:pt x="37513" y="42395"/>
                    <a:pt x="37513" y="38438"/>
                  </a:cubicBezTo>
                  <a:lnTo>
                    <a:pt x="37513" y="33068"/>
                  </a:lnTo>
                  <a:close/>
                  <a:moveTo>
                    <a:pt x="38077" y="58505"/>
                  </a:moveTo>
                  <a:lnTo>
                    <a:pt x="38077" y="51722"/>
                  </a:lnTo>
                  <a:cubicBezTo>
                    <a:pt x="36385" y="53983"/>
                    <a:pt x="33846" y="55962"/>
                    <a:pt x="30744" y="57375"/>
                  </a:cubicBezTo>
                  <a:cubicBezTo>
                    <a:pt x="27641" y="58788"/>
                    <a:pt x="24256" y="59636"/>
                    <a:pt x="20026" y="59636"/>
                  </a:cubicBezTo>
                  <a:cubicBezTo>
                    <a:pt x="13821" y="59636"/>
                    <a:pt x="9026" y="58223"/>
                    <a:pt x="5359" y="55114"/>
                  </a:cubicBezTo>
                  <a:cubicBezTo>
                    <a:pt x="1692" y="52005"/>
                    <a:pt x="0" y="47765"/>
                    <a:pt x="0" y="42678"/>
                  </a:cubicBezTo>
                  <a:cubicBezTo>
                    <a:pt x="0" y="36742"/>
                    <a:pt x="1974" y="32503"/>
                    <a:pt x="5923" y="29677"/>
                  </a:cubicBezTo>
                  <a:cubicBezTo>
                    <a:pt x="9872" y="27133"/>
                    <a:pt x="14949" y="25437"/>
                    <a:pt x="21718" y="25437"/>
                  </a:cubicBezTo>
                  <a:cubicBezTo>
                    <a:pt x="24538" y="25437"/>
                    <a:pt x="27359" y="25437"/>
                    <a:pt x="29897" y="25437"/>
                  </a:cubicBezTo>
                  <a:cubicBezTo>
                    <a:pt x="32436" y="25437"/>
                    <a:pt x="34974" y="25437"/>
                    <a:pt x="37513" y="25720"/>
                  </a:cubicBezTo>
                  <a:lnTo>
                    <a:pt x="37513" y="20632"/>
                  </a:lnTo>
                  <a:cubicBezTo>
                    <a:pt x="37513" y="16393"/>
                    <a:pt x="36385" y="13284"/>
                    <a:pt x="33846" y="11588"/>
                  </a:cubicBezTo>
                  <a:cubicBezTo>
                    <a:pt x="31590" y="9610"/>
                    <a:pt x="28487" y="8762"/>
                    <a:pt x="24821" y="8762"/>
                  </a:cubicBezTo>
                  <a:cubicBezTo>
                    <a:pt x="20872" y="8762"/>
                    <a:pt x="17769" y="9892"/>
                    <a:pt x="15513" y="11871"/>
                  </a:cubicBezTo>
                  <a:cubicBezTo>
                    <a:pt x="13538" y="13849"/>
                    <a:pt x="11846" y="16393"/>
                    <a:pt x="11000" y="19219"/>
                  </a:cubicBezTo>
                  <a:lnTo>
                    <a:pt x="1974" y="17241"/>
                  </a:lnTo>
                  <a:cubicBezTo>
                    <a:pt x="3103" y="12153"/>
                    <a:pt x="5641" y="8196"/>
                    <a:pt x="9590" y="4805"/>
                  </a:cubicBezTo>
                  <a:cubicBezTo>
                    <a:pt x="13538" y="1696"/>
                    <a:pt x="18615" y="0"/>
                    <a:pt x="24821" y="0"/>
                  </a:cubicBezTo>
                  <a:cubicBezTo>
                    <a:pt x="31308" y="0"/>
                    <a:pt x="36667" y="1696"/>
                    <a:pt x="40615" y="4805"/>
                  </a:cubicBezTo>
                  <a:cubicBezTo>
                    <a:pt x="44846" y="8196"/>
                    <a:pt x="46821" y="13284"/>
                    <a:pt x="46821" y="20067"/>
                  </a:cubicBezTo>
                  <a:lnTo>
                    <a:pt x="46821" y="58505"/>
                  </a:lnTo>
                  <a:lnTo>
                    <a:pt x="38077" y="58505"/>
                  </a:lnTo>
                  <a:close/>
                </a:path>
              </a:pathLst>
            </a:custGeom>
            <a:solidFill>
              <a:srgbClr val="7F8183"/>
            </a:solidFill>
            <a:ln w="2790" cap="flat">
              <a:noFill/>
              <a:prstDash val="solid"/>
              <a:miter/>
            </a:ln>
          </p:spPr>
          <p:txBody>
            <a:bodyPr rtlCol="0" anchor="ctr"/>
            <a:lstStyle/>
            <a:p>
              <a:endParaRPr lang="x-none" sz="1905"/>
            </a:p>
          </p:txBody>
        </p:sp>
        <p:sp>
          <p:nvSpPr>
            <p:cNvPr id="35" name="Freeform 34">
              <a:extLst>
                <a:ext uri="{FF2B5EF4-FFF2-40B4-BE49-F238E27FC236}">
                  <a16:creationId xmlns:a16="http://schemas.microsoft.com/office/drawing/2014/main" id="{0FE8553B-705A-8946-943B-B4040C6E5182}"/>
                </a:ext>
              </a:extLst>
            </p:cNvPr>
            <p:cNvSpPr/>
            <p:nvPr/>
          </p:nvSpPr>
          <p:spPr>
            <a:xfrm>
              <a:off x="1734234" y="5935383"/>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36" name="Freeform 35">
              <a:extLst>
                <a:ext uri="{FF2B5EF4-FFF2-40B4-BE49-F238E27FC236}">
                  <a16:creationId xmlns:a16="http://schemas.microsoft.com/office/drawing/2014/main" id="{915C41A6-8644-654E-BFD5-33855C6C37D2}"/>
                </a:ext>
              </a:extLst>
            </p:cNvPr>
            <p:cNvSpPr/>
            <p:nvPr/>
          </p:nvSpPr>
          <p:spPr>
            <a:xfrm>
              <a:off x="1801362" y="5935383"/>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37" name="Freeform 36">
              <a:extLst>
                <a:ext uri="{FF2B5EF4-FFF2-40B4-BE49-F238E27FC236}">
                  <a16:creationId xmlns:a16="http://schemas.microsoft.com/office/drawing/2014/main" id="{16CEE1F9-E449-3647-A184-C21EA6155EA6}"/>
                </a:ext>
              </a:extLst>
            </p:cNvPr>
            <p:cNvSpPr/>
            <p:nvPr/>
          </p:nvSpPr>
          <p:spPr>
            <a:xfrm>
              <a:off x="1868491" y="5935383"/>
              <a:ext cx="62333" cy="57374"/>
            </a:xfrm>
            <a:custGeom>
              <a:avLst/>
              <a:gdLst>
                <a:gd name="connsiteX0" fmla="*/ 52744 w 62333"/>
                <a:gd name="connsiteY0" fmla="*/ 0 h 57374"/>
                <a:gd name="connsiteX1" fmla="*/ 62333 w 62333"/>
                <a:gd name="connsiteY1" fmla="*/ 0 h 57374"/>
                <a:gd name="connsiteX2" fmla="*/ 62333 w 62333"/>
                <a:gd name="connsiteY2" fmla="*/ 57375 h 57374"/>
                <a:gd name="connsiteX3" fmla="*/ 52744 w 62333"/>
                <a:gd name="connsiteY3" fmla="*/ 57375 h 57374"/>
                <a:gd name="connsiteX4" fmla="*/ 52744 w 62333"/>
                <a:gd name="connsiteY4" fmla="*/ 0 h 57374"/>
                <a:gd name="connsiteX5" fmla="*/ 24256 w 62333"/>
                <a:gd name="connsiteY5" fmla="*/ 28546 h 57374"/>
                <a:gd name="connsiteX6" fmla="*/ 9590 w 62333"/>
                <a:gd name="connsiteY6" fmla="*/ 28546 h 57374"/>
                <a:gd name="connsiteX7" fmla="*/ 9590 w 62333"/>
                <a:gd name="connsiteY7" fmla="*/ 48896 h 57374"/>
                <a:gd name="connsiteX8" fmla="*/ 24256 w 62333"/>
                <a:gd name="connsiteY8" fmla="*/ 48896 h 57374"/>
                <a:gd name="connsiteX9" fmla="*/ 33000 w 62333"/>
                <a:gd name="connsiteY9" fmla="*/ 46069 h 57374"/>
                <a:gd name="connsiteX10" fmla="*/ 35256 w 62333"/>
                <a:gd name="connsiteY10" fmla="*/ 38438 h 57374"/>
                <a:gd name="connsiteX11" fmla="*/ 33000 w 62333"/>
                <a:gd name="connsiteY11" fmla="*/ 31090 h 57374"/>
                <a:gd name="connsiteX12" fmla="*/ 24256 w 62333"/>
                <a:gd name="connsiteY12" fmla="*/ 28546 h 57374"/>
                <a:gd name="connsiteX13" fmla="*/ 0 w 62333"/>
                <a:gd name="connsiteY13" fmla="*/ 57375 h 57374"/>
                <a:gd name="connsiteX14" fmla="*/ 0 w 62333"/>
                <a:gd name="connsiteY14" fmla="*/ 0 h 57374"/>
                <a:gd name="connsiteX15" fmla="*/ 9590 w 62333"/>
                <a:gd name="connsiteY15" fmla="*/ 0 h 57374"/>
                <a:gd name="connsiteX16" fmla="*/ 9590 w 62333"/>
                <a:gd name="connsiteY16" fmla="*/ 19784 h 57374"/>
                <a:gd name="connsiteX17" fmla="*/ 24256 w 62333"/>
                <a:gd name="connsiteY17" fmla="*/ 19784 h 57374"/>
                <a:gd name="connsiteX18" fmla="*/ 39205 w 62333"/>
                <a:gd name="connsiteY18" fmla="*/ 24589 h 57374"/>
                <a:gd name="connsiteX19" fmla="*/ 44282 w 62333"/>
                <a:gd name="connsiteY19" fmla="*/ 38156 h 57374"/>
                <a:gd name="connsiteX20" fmla="*/ 39205 w 62333"/>
                <a:gd name="connsiteY20" fmla="*/ 52287 h 57374"/>
                <a:gd name="connsiteX21" fmla="*/ 23974 w 62333"/>
                <a:gd name="connsiteY21" fmla="*/ 57375 h 57374"/>
                <a:gd name="connsiteX22" fmla="*/ 0 w 62333"/>
                <a:gd name="connsiteY22"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333" h="57374">
                  <a:moveTo>
                    <a:pt x="52744" y="0"/>
                  </a:moveTo>
                  <a:lnTo>
                    <a:pt x="62333" y="0"/>
                  </a:lnTo>
                  <a:lnTo>
                    <a:pt x="62333" y="57375"/>
                  </a:lnTo>
                  <a:lnTo>
                    <a:pt x="52744" y="57375"/>
                  </a:lnTo>
                  <a:lnTo>
                    <a:pt x="52744" y="0"/>
                  </a:lnTo>
                  <a:close/>
                  <a:moveTo>
                    <a:pt x="24256" y="28546"/>
                  </a:moveTo>
                  <a:lnTo>
                    <a:pt x="9590" y="28546"/>
                  </a:lnTo>
                  <a:lnTo>
                    <a:pt x="9590" y="48896"/>
                  </a:lnTo>
                  <a:lnTo>
                    <a:pt x="24256" y="48896"/>
                  </a:lnTo>
                  <a:cubicBezTo>
                    <a:pt x="28487" y="48896"/>
                    <a:pt x="31590" y="47765"/>
                    <a:pt x="33000" y="46069"/>
                  </a:cubicBezTo>
                  <a:cubicBezTo>
                    <a:pt x="34692" y="44091"/>
                    <a:pt x="35256" y="41547"/>
                    <a:pt x="35256" y="38438"/>
                  </a:cubicBezTo>
                  <a:cubicBezTo>
                    <a:pt x="35256" y="35329"/>
                    <a:pt x="34410" y="32786"/>
                    <a:pt x="33000" y="31090"/>
                  </a:cubicBezTo>
                  <a:cubicBezTo>
                    <a:pt x="31590" y="29394"/>
                    <a:pt x="28769" y="28546"/>
                    <a:pt x="24256" y="28546"/>
                  </a:cubicBezTo>
                  <a:moveTo>
                    <a:pt x="0" y="57375"/>
                  </a:moveTo>
                  <a:lnTo>
                    <a:pt x="0" y="0"/>
                  </a:lnTo>
                  <a:lnTo>
                    <a:pt x="9590" y="0"/>
                  </a:lnTo>
                  <a:lnTo>
                    <a:pt x="9590" y="19784"/>
                  </a:lnTo>
                  <a:lnTo>
                    <a:pt x="24256" y="19784"/>
                  </a:lnTo>
                  <a:cubicBezTo>
                    <a:pt x="30744" y="19784"/>
                    <a:pt x="35821" y="21480"/>
                    <a:pt x="39205" y="24589"/>
                  </a:cubicBezTo>
                  <a:cubicBezTo>
                    <a:pt x="42590" y="27698"/>
                    <a:pt x="44282" y="32220"/>
                    <a:pt x="44282" y="38156"/>
                  </a:cubicBezTo>
                  <a:cubicBezTo>
                    <a:pt x="44282" y="44091"/>
                    <a:pt x="42590" y="48896"/>
                    <a:pt x="39205" y="52287"/>
                  </a:cubicBezTo>
                  <a:cubicBezTo>
                    <a:pt x="35821" y="55679"/>
                    <a:pt x="30744" y="57375"/>
                    <a:pt x="23974" y="57375"/>
                  </a:cubicBezTo>
                  <a:lnTo>
                    <a:pt x="0" y="57375"/>
                  </a:lnTo>
                  <a:close/>
                </a:path>
              </a:pathLst>
            </a:custGeom>
            <a:solidFill>
              <a:srgbClr val="7F8183"/>
            </a:solidFill>
            <a:ln w="2790" cap="flat">
              <a:noFill/>
              <a:prstDash val="solid"/>
              <a:miter/>
            </a:ln>
          </p:spPr>
          <p:txBody>
            <a:bodyPr rtlCol="0" anchor="ctr"/>
            <a:lstStyle/>
            <a:p>
              <a:endParaRPr lang="x-none" sz="1905"/>
            </a:p>
          </p:txBody>
        </p:sp>
        <p:sp>
          <p:nvSpPr>
            <p:cNvPr id="38" name="Freeform 37">
              <a:extLst>
                <a:ext uri="{FF2B5EF4-FFF2-40B4-BE49-F238E27FC236}">
                  <a16:creationId xmlns:a16="http://schemas.microsoft.com/office/drawing/2014/main" id="{036E6186-0105-E64A-8F4D-E90DC776E3BC}"/>
                </a:ext>
              </a:extLst>
            </p:cNvPr>
            <p:cNvSpPr/>
            <p:nvPr/>
          </p:nvSpPr>
          <p:spPr>
            <a:xfrm>
              <a:off x="1941542" y="5935383"/>
              <a:ext cx="54435" cy="57374"/>
            </a:xfrm>
            <a:custGeom>
              <a:avLst/>
              <a:gdLst>
                <a:gd name="connsiteX0" fmla="*/ 42872 w 54435"/>
                <a:gd name="connsiteY0" fmla="*/ 57375 h 57374"/>
                <a:gd name="connsiteX1" fmla="*/ 26795 w 54435"/>
                <a:gd name="connsiteY1" fmla="*/ 34481 h 57374"/>
                <a:gd name="connsiteX2" fmla="*/ 11282 w 54435"/>
                <a:gd name="connsiteY2" fmla="*/ 57375 h 57374"/>
                <a:gd name="connsiteX3" fmla="*/ 0 w 54435"/>
                <a:gd name="connsiteY3" fmla="*/ 57375 h 57374"/>
                <a:gd name="connsiteX4" fmla="*/ 21154 w 54435"/>
                <a:gd name="connsiteY4" fmla="*/ 27981 h 57374"/>
                <a:gd name="connsiteX5" fmla="*/ 1410 w 54435"/>
                <a:gd name="connsiteY5" fmla="*/ 0 h 57374"/>
                <a:gd name="connsiteX6" fmla="*/ 12410 w 54435"/>
                <a:gd name="connsiteY6" fmla="*/ 0 h 57374"/>
                <a:gd name="connsiteX7" fmla="*/ 26795 w 54435"/>
                <a:gd name="connsiteY7" fmla="*/ 21198 h 57374"/>
                <a:gd name="connsiteX8" fmla="*/ 41462 w 54435"/>
                <a:gd name="connsiteY8" fmla="*/ 0 h 57374"/>
                <a:gd name="connsiteX9" fmla="*/ 52462 w 54435"/>
                <a:gd name="connsiteY9" fmla="*/ 0 h 57374"/>
                <a:gd name="connsiteX10" fmla="*/ 32436 w 54435"/>
                <a:gd name="connsiteY10" fmla="*/ 27416 h 57374"/>
                <a:gd name="connsiteX11" fmla="*/ 54436 w 54435"/>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35" h="57374">
                  <a:moveTo>
                    <a:pt x="42872" y="57375"/>
                  </a:moveTo>
                  <a:lnTo>
                    <a:pt x="26795" y="34481"/>
                  </a:lnTo>
                  <a:lnTo>
                    <a:pt x="11282" y="57375"/>
                  </a:lnTo>
                  <a:lnTo>
                    <a:pt x="0" y="57375"/>
                  </a:lnTo>
                  <a:lnTo>
                    <a:pt x="21154" y="27981"/>
                  </a:lnTo>
                  <a:lnTo>
                    <a:pt x="1410" y="0"/>
                  </a:lnTo>
                  <a:lnTo>
                    <a:pt x="12410" y="0"/>
                  </a:lnTo>
                  <a:lnTo>
                    <a:pt x="26795" y="21198"/>
                  </a:lnTo>
                  <a:lnTo>
                    <a:pt x="41462" y="0"/>
                  </a:lnTo>
                  <a:lnTo>
                    <a:pt x="52462" y="0"/>
                  </a:lnTo>
                  <a:lnTo>
                    <a:pt x="32436" y="27416"/>
                  </a:lnTo>
                  <a:lnTo>
                    <a:pt x="54436" y="57375"/>
                  </a:lnTo>
                  <a:close/>
                </a:path>
              </a:pathLst>
            </a:custGeom>
            <a:solidFill>
              <a:srgbClr val="7F8183"/>
            </a:solidFill>
            <a:ln w="2790" cap="flat">
              <a:noFill/>
              <a:prstDash val="solid"/>
              <a:miter/>
            </a:ln>
          </p:spPr>
          <p:txBody>
            <a:bodyPr rtlCol="0" anchor="ctr"/>
            <a:lstStyle/>
            <a:p>
              <a:endParaRPr lang="x-none" sz="1905"/>
            </a:p>
          </p:txBody>
        </p:sp>
        <p:grpSp>
          <p:nvGrpSpPr>
            <p:cNvPr id="39" name="Graphic 13">
              <a:extLst>
                <a:ext uri="{FF2B5EF4-FFF2-40B4-BE49-F238E27FC236}">
                  <a16:creationId xmlns:a16="http://schemas.microsoft.com/office/drawing/2014/main" id="{5FBDBB02-33F0-E145-BD7C-F1E09FAEE3A4}"/>
                </a:ext>
              </a:extLst>
            </p:cNvPr>
            <p:cNvGrpSpPr/>
            <p:nvPr/>
          </p:nvGrpSpPr>
          <p:grpSpPr>
            <a:xfrm>
              <a:off x="1266593" y="6057199"/>
              <a:ext cx="116205" cy="82246"/>
              <a:chOff x="1266593" y="6057199"/>
              <a:chExt cx="116205" cy="82246"/>
            </a:xfrm>
            <a:solidFill>
              <a:srgbClr val="CFD4D9"/>
            </a:solidFill>
          </p:grpSpPr>
          <p:sp>
            <p:nvSpPr>
              <p:cNvPr id="46" name="Freeform 45">
                <a:extLst>
                  <a:ext uri="{FF2B5EF4-FFF2-40B4-BE49-F238E27FC236}">
                    <a16:creationId xmlns:a16="http://schemas.microsoft.com/office/drawing/2014/main" id="{F0FECE7F-8435-6044-B8FB-533A792EF2A6}"/>
                  </a:ext>
                </a:extLst>
              </p:cNvPr>
              <p:cNvSpPr/>
              <p:nvPr/>
            </p:nvSpPr>
            <p:spPr>
              <a:xfrm>
                <a:off x="1266593" y="6057199"/>
                <a:ext cx="54153" cy="82246"/>
              </a:xfrm>
              <a:custGeom>
                <a:avLst/>
                <a:gdLst>
                  <a:gd name="connsiteX0" fmla="*/ 9308 w 54153"/>
                  <a:gd name="connsiteY0" fmla="*/ 34764 h 82246"/>
                  <a:gd name="connsiteX1" fmla="*/ 14667 w 54153"/>
                  <a:gd name="connsiteY1" fmla="*/ 46917 h 82246"/>
                  <a:gd name="connsiteX2" fmla="*/ 27359 w 54153"/>
                  <a:gd name="connsiteY2" fmla="*/ 51439 h 82246"/>
                  <a:gd name="connsiteX3" fmla="*/ 39769 w 54153"/>
                  <a:gd name="connsiteY3" fmla="*/ 45504 h 82246"/>
                  <a:gd name="connsiteX4" fmla="*/ 44282 w 54153"/>
                  <a:gd name="connsiteY4" fmla="*/ 29677 h 82246"/>
                  <a:gd name="connsiteX5" fmla="*/ 39769 w 54153"/>
                  <a:gd name="connsiteY5" fmla="*/ 14414 h 82246"/>
                  <a:gd name="connsiteX6" fmla="*/ 27077 w 54153"/>
                  <a:gd name="connsiteY6" fmla="*/ 8479 h 82246"/>
                  <a:gd name="connsiteX7" fmla="*/ 20590 w 54153"/>
                  <a:gd name="connsiteY7" fmla="*/ 9610 h 82246"/>
                  <a:gd name="connsiteX8" fmla="*/ 14949 w 54153"/>
                  <a:gd name="connsiteY8" fmla="*/ 13284 h 82246"/>
                  <a:gd name="connsiteX9" fmla="*/ 11000 w 54153"/>
                  <a:gd name="connsiteY9" fmla="*/ 19219 h 82246"/>
                  <a:gd name="connsiteX10" fmla="*/ 9590 w 54153"/>
                  <a:gd name="connsiteY10" fmla="*/ 27416 h 82246"/>
                  <a:gd name="connsiteX11" fmla="*/ 9590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308" y="34764"/>
                    </a:moveTo>
                    <a:cubicBezTo>
                      <a:pt x="9308" y="40134"/>
                      <a:pt x="11000" y="44091"/>
                      <a:pt x="14667" y="46917"/>
                    </a:cubicBezTo>
                    <a:cubicBezTo>
                      <a:pt x="18333" y="49744"/>
                      <a:pt x="22564" y="51439"/>
                      <a:pt x="27359" y="51439"/>
                    </a:cubicBezTo>
                    <a:cubicBezTo>
                      <a:pt x="32718" y="51439"/>
                      <a:pt x="36667" y="49461"/>
                      <a:pt x="39769" y="45504"/>
                    </a:cubicBezTo>
                    <a:cubicBezTo>
                      <a:pt x="42872" y="41547"/>
                      <a:pt x="44282" y="36460"/>
                      <a:pt x="44282" y="29677"/>
                    </a:cubicBezTo>
                    <a:cubicBezTo>
                      <a:pt x="44282" y="23459"/>
                      <a:pt x="42872" y="18371"/>
                      <a:pt x="39769" y="14414"/>
                    </a:cubicBezTo>
                    <a:cubicBezTo>
                      <a:pt x="36667" y="10457"/>
                      <a:pt x="32436" y="8479"/>
                      <a:pt x="27077" y="8479"/>
                    </a:cubicBezTo>
                    <a:cubicBezTo>
                      <a:pt x="24821" y="8479"/>
                      <a:pt x="22564" y="8762"/>
                      <a:pt x="20590" y="9610"/>
                    </a:cubicBezTo>
                    <a:cubicBezTo>
                      <a:pt x="18615" y="10457"/>
                      <a:pt x="16641" y="11588"/>
                      <a:pt x="14949" y="13284"/>
                    </a:cubicBezTo>
                    <a:cubicBezTo>
                      <a:pt x="13256" y="14980"/>
                      <a:pt x="11846" y="16958"/>
                      <a:pt x="11000" y="19219"/>
                    </a:cubicBezTo>
                    <a:cubicBezTo>
                      <a:pt x="9872" y="21763"/>
                      <a:pt x="9590" y="24307"/>
                      <a:pt x="9590" y="27416"/>
                    </a:cubicBezTo>
                    <a:lnTo>
                      <a:pt x="9590" y="34764"/>
                    </a:lnTo>
                    <a:close/>
                    <a:moveTo>
                      <a:pt x="0" y="82247"/>
                    </a:moveTo>
                    <a:lnTo>
                      <a:pt x="0" y="1413"/>
                    </a:lnTo>
                    <a:lnTo>
                      <a:pt x="9590" y="1413"/>
                    </a:lnTo>
                    <a:lnTo>
                      <a:pt x="9590" y="9044"/>
                    </a:lnTo>
                    <a:cubicBezTo>
                      <a:pt x="11564" y="5935"/>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sp>
            <p:nvSpPr>
              <p:cNvPr id="47" name="Freeform 46">
                <a:extLst>
                  <a:ext uri="{FF2B5EF4-FFF2-40B4-BE49-F238E27FC236}">
                    <a16:creationId xmlns:a16="http://schemas.microsoft.com/office/drawing/2014/main" id="{FA796D1A-66D1-CB48-8C0F-A82179D510D8}"/>
                  </a:ext>
                </a:extLst>
              </p:cNvPr>
              <p:cNvSpPr/>
              <p:nvPr/>
            </p:nvSpPr>
            <p:spPr>
              <a:xfrm>
                <a:off x="1331465" y="6057764"/>
                <a:ext cx="51333" cy="59635"/>
              </a:xfrm>
              <a:custGeom>
                <a:avLst/>
                <a:gdLst>
                  <a:gd name="connsiteX0" fmla="*/ 26513 w 51333"/>
                  <a:gd name="connsiteY0" fmla="*/ 7914 h 59635"/>
                  <a:gd name="connsiteX1" fmla="*/ 15513 w 51333"/>
                  <a:gd name="connsiteY1" fmla="*/ 12153 h 59635"/>
                  <a:gd name="connsiteX2" fmla="*/ 9872 w 51333"/>
                  <a:gd name="connsiteY2" fmla="*/ 23176 h 59635"/>
                  <a:gd name="connsiteX3" fmla="*/ 42026 w 51333"/>
                  <a:gd name="connsiteY3" fmla="*/ 23176 h 59635"/>
                  <a:gd name="connsiteX4" fmla="*/ 38077 w 51333"/>
                  <a:gd name="connsiteY4" fmla="*/ 12153 h 59635"/>
                  <a:gd name="connsiteX5" fmla="*/ 26513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9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513" y="7914"/>
                    </a:moveTo>
                    <a:cubicBezTo>
                      <a:pt x="22000" y="7914"/>
                      <a:pt x="18333" y="9327"/>
                      <a:pt x="15513" y="12153"/>
                    </a:cubicBezTo>
                    <a:cubicBezTo>
                      <a:pt x="12410" y="14980"/>
                      <a:pt x="10718" y="18654"/>
                      <a:pt x="9872" y="23176"/>
                    </a:cubicBezTo>
                    <a:lnTo>
                      <a:pt x="42026" y="23176"/>
                    </a:lnTo>
                    <a:cubicBezTo>
                      <a:pt x="41744" y="18654"/>
                      <a:pt x="40333" y="14980"/>
                      <a:pt x="38077" y="12153"/>
                    </a:cubicBezTo>
                    <a:cubicBezTo>
                      <a:pt x="35256" y="9327"/>
                      <a:pt x="31590" y="7914"/>
                      <a:pt x="26513"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9"/>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grpSp>
        <p:sp>
          <p:nvSpPr>
            <p:cNvPr id="40" name="Freeform 39">
              <a:extLst>
                <a:ext uri="{FF2B5EF4-FFF2-40B4-BE49-F238E27FC236}">
                  <a16:creationId xmlns:a16="http://schemas.microsoft.com/office/drawing/2014/main" id="{ED918880-8324-C548-8AEE-314114EB481D}"/>
                </a:ext>
              </a:extLst>
            </p:cNvPr>
            <p:cNvSpPr/>
            <p:nvPr/>
          </p:nvSpPr>
          <p:spPr>
            <a:xfrm>
              <a:off x="1396901" y="6058612"/>
              <a:ext cx="75307" cy="57374"/>
            </a:xfrm>
            <a:custGeom>
              <a:avLst/>
              <a:gdLst>
                <a:gd name="connsiteX0" fmla="*/ 75308 w 75307"/>
                <a:gd name="connsiteY0" fmla="*/ 0 h 57374"/>
                <a:gd name="connsiteX1" fmla="*/ 75308 w 75307"/>
                <a:gd name="connsiteY1" fmla="*/ 57375 h 57374"/>
                <a:gd name="connsiteX2" fmla="*/ 0 w 75307"/>
                <a:gd name="connsiteY2" fmla="*/ 57375 h 57374"/>
                <a:gd name="connsiteX3" fmla="*/ 0 w 75307"/>
                <a:gd name="connsiteY3" fmla="*/ 0 h 57374"/>
                <a:gd name="connsiteX4" fmla="*/ 9308 w 75307"/>
                <a:gd name="connsiteY4" fmla="*/ 0 h 57374"/>
                <a:gd name="connsiteX5" fmla="*/ 9308 w 75307"/>
                <a:gd name="connsiteY5" fmla="*/ 48613 h 57374"/>
                <a:gd name="connsiteX6" fmla="*/ 32718 w 75307"/>
                <a:gd name="connsiteY6" fmla="*/ 48613 h 57374"/>
                <a:gd name="connsiteX7" fmla="*/ 32718 w 75307"/>
                <a:gd name="connsiteY7" fmla="*/ 0 h 57374"/>
                <a:gd name="connsiteX8" fmla="*/ 42308 w 75307"/>
                <a:gd name="connsiteY8" fmla="*/ 0 h 57374"/>
                <a:gd name="connsiteX9" fmla="*/ 42308 w 75307"/>
                <a:gd name="connsiteY9" fmla="*/ 48613 h 57374"/>
                <a:gd name="connsiteX10" fmla="*/ 65718 w 75307"/>
                <a:gd name="connsiteY10" fmla="*/ 48613 h 57374"/>
                <a:gd name="connsiteX11" fmla="*/ 65718 w 75307"/>
                <a:gd name="connsiteY11" fmla="*/ 0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307" h="57374">
                  <a:moveTo>
                    <a:pt x="75308" y="0"/>
                  </a:moveTo>
                  <a:lnTo>
                    <a:pt x="75308" y="57375"/>
                  </a:lnTo>
                  <a:lnTo>
                    <a:pt x="0" y="57375"/>
                  </a:lnTo>
                  <a:lnTo>
                    <a:pt x="0" y="0"/>
                  </a:lnTo>
                  <a:lnTo>
                    <a:pt x="9308" y="0"/>
                  </a:lnTo>
                  <a:lnTo>
                    <a:pt x="9308" y="48613"/>
                  </a:lnTo>
                  <a:lnTo>
                    <a:pt x="32718" y="48613"/>
                  </a:lnTo>
                  <a:lnTo>
                    <a:pt x="32718" y="0"/>
                  </a:lnTo>
                  <a:lnTo>
                    <a:pt x="42308" y="0"/>
                  </a:lnTo>
                  <a:lnTo>
                    <a:pt x="42308" y="48613"/>
                  </a:lnTo>
                  <a:lnTo>
                    <a:pt x="65718" y="48613"/>
                  </a:lnTo>
                  <a:lnTo>
                    <a:pt x="65718" y="0"/>
                  </a:lnTo>
                  <a:close/>
                </a:path>
              </a:pathLst>
            </a:custGeom>
            <a:solidFill>
              <a:srgbClr val="7F8183"/>
            </a:solidFill>
            <a:ln w="2790" cap="flat">
              <a:noFill/>
              <a:prstDash val="solid"/>
              <a:miter/>
            </a:ln>
          </p:spPr>
          <p:txBody>
            <a:bodyPr rtlCol="0" anchor="ctr"/>
            <a:lstStyle/>
            <a:p>
              <a:endParaRPr lang="x-none" sz="1905"/>
            </a:p>
          </p:txBody>
        </p:sp>
        <p:sp>
          <p:nvSpPr>
            <p:cNvPr id="41" name="Freeform 40">
              <a:extLst>
                <a:ext uri="{FF2B5EF4-FFF2-40B4-BE49-F238E27FC236}">
                  <a16:creationId xmlns:a16="http://schemas.microsoft.com/office/drawing/2014/main" id="{55E19C41-400A-C242-8A6E-11EAC64B30A5}"/>
                </a:ext>
              </a:extLst>
            </p:cNvPr>
            <p:cNvSpPr/>
            <p:nvPr/>
          </p:nvSpPr>
          <p:spPr>
            <a:xfrm>
              <a:off x="1486311" y="6057764"/>
              <a:ext cx="51333" cy="59635"/>
            </a:xfrm>
            <a:custGeom>
              <a:avLst/>
              <a:gdLst>
                <a:gd name="connsiteX0" fmla="*/ 26513 w 51333"/>
                <a:gd name="connsiteY0" fmla="*/ 7914 h 59635"/>
                <a:gd name="connsiteX1" fmla="*/ 15513 w 51333"/>
                <a:gd name="connsiteY1" fmla="*/ 12153 h 59635"/>
                <a:gd name="connsiteX2" fmla="*/ 9872 w 51333"/>
                <a:gd name="connsiteY2" fmla="*/ 23176 h 59635"/>
                <a:gd name="connsiteX3" fmla="*/ 41744 w 51333"/>
                <a:gd name="connsiteY3" fmla="*/ 23176 h 59635"/>
                <a:gd name="connsiteX4" fmla="*/ 37795 w 51333"/>
                <a:gd name="connsiteY4" fmla="*/ 12153 h 59635"/>
                <a:gd name="connsiteX5" fmla="*/ 26513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9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513" y="7914"/>
                  </a:moveTo>
                  <a:cubicBezTo>
                    <a:pt x="22000" y="7914"/>
                    <a:pt x="18333" y="9327"/>
                    <a:pt x="15513" y="12153"/>
                  </a:cubicBezTo>
                  <a:cubicBezTo>
                    <a:pt x="12410" y="14980"/>
                    <a:pt x="10718" y="18654"/>
                    <a:pt x="9872" y="23176"/>
                  </a:cubicBezTo>
                  <a:lnTo>
                    <a:pt x="41744" y="23176"/>
                  </a:lnTo>
                  <a:cubicBezTo>
                    <a:pt x="41462" y="18654"/>
                    <a:pt x="40051" y="14980"/>
                    <a:pt x="37795" y="12153"/>
                  </a:cubicBezTo>
                  <a:cubicBezTo>
                    <a:pt x="35256" y="9327"/>
                    <a:pt x="31590" y="7914"/>
                    <a:pt x="26513"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9"/>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42" name="Freeform 41">
              <a:extLst>
                <a:ext uri="{FF2B5EF4-FFF2-40B4-BE49-F238E27FC236}">
                  <a16:creationId xmlns:a16="http://schemas.microsoft.com/office/drawing/2014/main" id="{137CFA86-F04E-2744-A8C9-FA04A16062EA}"/>
                </a:ext>
              </a:extLst>
            </p:cNvPr>
            <p:cNvSpPr/>
            <p:nvPr/>
          </p:nvSpPr>
          <p:spPr>
            <a:xfrm>
              <a:off x="1551747" y="6058612"/>
              <a:ext cx="49076" cy="57374"/>
            </a:xfrm>
            <a:custGeom>
              <a:avLst/>
              <a:gdLst>
                <a:gd name="connsiteX0" fmla="*/ 0 w 49076"/>
                <a:gd name="connsiteY0" fmla="*/ 57375 h 57374"/>
                <a:gd name="connsiteX1" fmla="*/ 0 w 49076"/>
                <a:gd name="connsiteY1" fmla="*/ 0 h 57374"/>
                <a:gd name="connsiteX2" fmla="*/ 9308 w 49076"/>
                <a:gd name="connsiteY2" fmla="*/ 0 h 57374"/>
                <a:gd name="connsiteX3" fmla="*/ 9308 w 49076"/>
                <a:gd name="connsiteY3" fmla="*/ 23459 h 57374"/>
                <a:gd name="connsiteX4" fmla="*/ 39769 w 49076"/>
                <a:gd name="connsiteY4" fmla="*/ 23459 h 57374"/>
                <a:gd name="connsiteX5" fmla="*/ 39769 w 49076"/>
                <a:gd name="connsiteY5" fmla="*/ 0 h 57374"/>
                <a:gd name="connsiteX6" fmla="*/ 49077 w 49076"/>
                <a:gd name="connsiteY6" fmla="*/ 0 h 57374"/>
                <a:gd name="connsiteX7" fmla="*/ 49077 w 49076"/>
                <a:gd name="connsiteY7" fmla="*/ 57375 h 57374"/>
                <a:gd name="connsiteX8" fmla="*/ 39769 w 49076"/>
                <a:gd name="connsiteY8" fmla="*/ 57375 h 57374"/>
                <a:gd name="connsiteX9" fmla="*/ 39769 w 49076"/>
                <a:gd name="connsiteY9" fmla="*/ 32503 h 57374"/>
                <a:gd name="connsiteX10" fmla="*/ 9308 w 49076"/>
                <a:gd name="connsiteY10" fmla="*/ 32503 h 57374"/>
                <a:gd name="connsiteX11" fmla="*/ 9308 w 49076"/>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076" h="57374">
                  <a:moveTo>
                    <a:pt x="0" y="57375"/>
                  </a:moveTo>
                  <a:lnTo>
                    <a:pt x="0" y="0"/>
                  </a:lnTo>
                  <a:lnTo>
                    <a:pt x="9308" y="0"/>
                  </a:lnTo>
                  <a:lnTo>
                    <a:pt x="9308" y="23459"/>
                  </a:lnTo>
                  <a:lnTo>
                    <a:pt x="39769" y="23459"/>
                  </a:lnTo>
                  <a:lnTo>
                    <a:pt x="39769" y="0"/>
                  </a:lnTo>
                  <a:lnTo>
                    <a:pt x="49077" y="0"/>
                  </a:lnTo>
                  <a:lnTo>
                    <a:pt x="49077" y="57375"/>
                  </a:lnTo>
                  <a:lnTo>
                    <a:pt x="39769" y="57375"/>
                  </a:lnTo>
                  <a:lnTo>
                    <a:pt x="39769" y="32503"/>
                  </a:lnTo>
                  <a:lnTo>
                    <a:pt x="9308" y="32503"/>
                  </a:lnTo>
                  <a:lnTo>
                    <a:pt x="9308" y="57375"/>
                  </a:lnTo>
                  <a:close/>
                </a:path>
              </a:pathLst>
            </a:custGeom>
            <a:solidFill>
              <a:srgbClr val="7F8183"/>
            </a:solidFill>
            <a:ln w="2790" cap="flat">
              <a:noFill/>
              <a:prstDash val="solid"/>
              <a:miter/>
            </a:ln>
          </p:spPr>
          <p:txBody>
            <a:bodyPr rtlCol="0" anchor="ctr"/>
            <a:lstStyle/>
            <a:p>
              <a:endParaRPr lang="x-none" sz="1905"/>
            </a:p>
          </p:txBody>
        </p:sp>
        <p:sp>
          <p:nvSpPr>
            <p:cNvPr id="43" name="Freeform 42">
              <a:extLst>
                <a:ext uri="{FF2B5EF4-FFF2-40B4-BE49-F238E27FC236}">
                  <a16:creationId xmlns:a16="http://schemas.microsoft.com/office/drawing/2014/main" id="{1C592BFF-770B-F14D-B62F-70E6DC318FA9}"/>
                </a:ext>
              </a:extLst>
            </p:cNvPr>
            <p:cNvSpPr/>
            <p:nvPr/>
          </p:nvSpPr>
          <p:spPr>
            <a:xfrm>
              <a:off x="1618875" y="6058612"/>
              <a:ext cx="47948" cy="57374"/>
            </a:xfrm>
            <a:custGeom>
              <a:avLst/>
              <a:gdLst>
                <a:gd name="connsiteX0" fmla="*/ 10154 w 47948"/>
                <a:gd name="connsiteY0" fmla="*/ 57375 h 57374"/>
                <a:gd name="connsiteX1" fmla="*/ 0 w 47948"/>
                <a:gd name="connsiteY1" fmla="*/ 57375 h 57374"/>
                <a:gd name="connsiteX2" fmla="*/ 0 w 47948"/>
                <a:gd name="connsiteY2" fmla="*/ 0 h 57374"/>
                <a:gd name="connsiteX3" fmla="*/ 9026 w 47948"/>
                <a:gd name="connsiteY3" fmla="*/ 0 h 57374"/>
                <a:gd name="connsiteX4" fmla="*/ 9026 w 47948"/>
                <a:gd name="connsiteY4" fmla="*/ 44939 h 57374"/>
                <a:gd name="connsiteX5" fmla="*/ 37513 w 47948"/>
                <a:gd name="connsiteY5" fmla="*/ 0 h 57374"/>
                <a:gd name="connsiteX6" fmla="*/ 47949 w 47948"/>
                <a:gd name="connsiteY6" fmla="*/ 0 h 57374"/>
                <a:gd name="connsiteX7" fmla="*/ 47949 w 47948"/>
                <a:gd name="connsiteY7" fmla="*/ 57375 h 57374"/>
                <a:gd name="connsiteX8" fmla="*/ 38923 w 47948"/>
                <a:gd name="connsiteY8" fmla="*/ 57375 h 57374"/>
                <a:gd name="connsiteX9" fmla="*/ 38923 w 47948"/>
                <a:gd name="connsiteY9" fmla="*/ 12153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48" h="57374">
                  <a:moveTo>
                    <a:pt x="10154" y="57375"/>
                  </a:moveTo>
                  <a:lnTo>
                    <a:pt x="0" y="57375"/>
                  </a:lnTo>
                  <a:lnTo>
                    <a:pt x="0" y="0"/>
                  </a:lnTo>
                  <a:lnTo>
                    <a:pt x="9026" y="0"/>
                  </a:lnTo>
                  <a:lnTo>
                    <a:pt x="9026" y="44939"/>
                  </a:lnTo>
                  <a:lnTo>
                    <a:pt x="37513" y="0"/>
                  </a:lnTo>
                  <a:lnTo>
                    <a:pt x="47949" y="0"/>
                  </a:lnTo>
                  <a:lnTo>
                    <a:pt x="47949" y="57375"/>
                  </a:lnTo>
                  <a:lnTo>
                    <a:pt x="38923" y="57375"/>
                  </a:lnTo>
                  <a:lnTo>
                    <a:pt x="38923" y="12153"/>
                  </a:lnTo>
                  <a:close/>
                </a:path>
              </a:pathLst>
            </a:custGeom>
            <a:solidFill>
              <a:srgbClr val="7F8183"/>
            </a:solidFill>
            <a:ln w="2790" cap="flat">
              <a:noFill/>
              <a:prstDash val="solid"/>
              <a:miter/>
            </a:ln>
          </p:spPr>
          <p:txBody>
            <a:bodyPr rtlCol="0" anchor="ctr"/>
            <a:lstStyle/>
            <a:p>
              <a:endParaRPr lang="x-none" sz="1905"/>
            </a:p>
          </p:txBody>
        </p:sp>
        <p:sp>
          <p:nvSpPr>
            <p:cNvPr id="44" name="Freeform 43">
              <a:extLst>
                <a:ext uri="{FF2B5EF4-FFF2-40B4-BE49-F238E27FC236}">
                  <a16:creationId xmlns:a16="http://schemas.microsoft.com/office/drawing/2014/main" id="{3C14E56D-D5A9-8B4C-89D7-0E81073AB749}"/>
                </a:ext>
              </a:extLst>
            </p:cNvPr>
            <p:cNvSpPr/>
            <p:nvPr/>
          </p:nvSpPr>
          <p:spPr>
            <a:xfrm>
              <a:off x="1684875" y="6036849"/>
              <a:ext cx="48230" cy="79137"/>
            </a:xfrm>
            <a:custGeom>
              <a:avLst/>
              <a:gdLst>
                <a:gd name="connsiteX0" fmla="*/ 24256 w 48230"/>
                <a:gd name="connsiteY0" fmla="*/ 15545 h 79137"/>
                <a:gd name="connsiteX1" fmla="*/ 11282 w 48230"/>
                <a:gd name="connsiteY1" fmla="*/ 11305 h 79137"/>
                <a:gd name="connsiteX2" fmla="*/ 7051 w 48230"/>
                <a:gd name="connsiteY2" fmla="*/ 0 h 79137"/>
                <a:gd name="connsiteX3" fmla="*/ 14949 w 48230"/>
                <a:gd name="connsiteY3" fmla="*/ 0 h 79137"/>
                <a:gd name="connsiteX4" fmla="*/ 17487 w 48230"/>
                <a:gd name="connsiteY4" fmla="*/ 6218 h 79137"/>
                <a:gd name="connsiteX5" fmla="*/ 23974 w 48230"/>
                <a:gd name="connsiteY5" fmla="*/ 8479 h 79137"/>
                <a:gd name="connsiteX6" fmla="*/ 30462 w 48230"/>
                <a:gd name="connsiteY6" fmla="*/ 6218 h 79137"/>
                <a:gd name="connsiteX7" fmla="*/ 33000 w 48230"/>
                <a:gd name="connsiteY7" fmla="*/ 0 h 79137"/>
                <a:gd name="connsiteX8" fmla="*/ 40897 w 48230"/>
                <a:gd name="connsiteY8" fmla="*/ 0 h 79137"/>
                <a:gd name="connsiteX9" fmla="*/ 36667 w 48230"/>
                <a:gd name="connsiteY9" fmla="*/ 11305 h 79137"/>
                <a:gd name="connsiteX10" fmla="*/ 24256 w 48230"/>
                <a:gd name="connsiteY10" fmla="*/ 15545 h 79137"/>
                <a:gd name="connsiteX11" fmla="*/ 10154 w 48230"/>
                <a:gd name="connsiteY11" fmla="*/ 79138 h 79137"/>
                <a:gd name="connsiteX12" fmla="*/ 0 w 48230"/>
                <a:gd name="connsiteY12" fmla="*/ 79138 h 79137"/>
                <a:gd name="connsiteX13" fmla="*/ 0 w 48230"/>
                <a:gd name="connsiteY13" fmla="*/ 21763 h 79137"/>
                <a:gd name="connsiteX14" fmla="*/ 9308 w 48230"/>
                <a:gd name="connsiteY14" fmla="*/ 21763 h 79137"/>
                <a:gd name="connsiteX15" fmla="*/ 9308 w 48230"/>
                <a:gd name="connsiteY15" fmla="*/ 66702 h 79137"/>
                <a:gd name="connsiteX16" fmla="*/ 37795 w 48230"/>
                <a:gd name="connsiteY16" fmla="*/ 21763 h 79137"/>
                <a:gd name="connsiteX17" fmla="*/ 48231 w 48230"/>
                <a:gd name="connsiteY17" fmla="*/ 21763 h 79137"/>
                <a:gd name="connsiteX18" fmla="*/ 48231 w 48230"/>
                <a:gd name="connsiteY18" fmla="*/ 79138 h 79137"/>
                <a:gd name="connsiteX19" fmla="*/ 38923 w 48230"/>
                <a:gd name="connsiteY19" fmla="*/ 79138 h 79137"/>
                <a:gd name="connsiteX20" fmla="*/ 38923 w 48230"/>
                <a:gd name="connsiteY20" fmla="*/ 33916 h 79137"/>
                <a:gd name="connsiteX21" fmla="*/ 10154 w 48230"/>
                <a:gd name="connsiteY21" fmla="*/ 79138 h 7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230" h="79137">
                  <a:moveTo>
                    <a:pt x="24256" y="15545"/>
                  </a:moveTo>
                  <a:cubicBezTo>
                    <a:pt x="18333" y="15545"/>
                    <a:pt x="14103" y="14132"/>
                    <a:pt x="11282" y="11305"/>
                  </a:cubicBezTo>
                  <a:cubicBezTo>
                    <a:pt x="8462" y="8479"/>
                    <a:pt x="7051" y="4805"/>
                    <a:pt x="7051" y="0"/>
                  </a:cubicBezTo>
                  <a:lnTo>
                    <a:pt x="14949" y="0"/>
                  </a:lnTo>
                  <a:cubicBezTo>
                    <a:pt x="15231" y="2544"/>
                    <a:pt x="16077" y="4805"/>
                    <a:pt x="17487" y="6218"/>
                  </a:cubicBezTo>
                  <a:cubicBezTo>
                    <a:pt x="18897" y="7631"/>
                    <a:pt x="21154" y="8479"/>
                    <a:pt x="23974" y="8479"/>
                  </a:cubicBezTo>
                  <a:cubicBezTo>
                    <a:pt x="26795" y="8479"/>
                    <a:pt x="29051" y="7631"/>
                    <a:pt x="30462" y="6218"/>
                  </a:cubicBezTo>
                  <a:cubicBezTo>
                    <a:pt x="31872" y="4805"/>
                    <a:pt x="32718" y="2544"/>
                    <a:pt x="33000" y="0"/>
                  </a:cubicBezTo>
                  <a:lnTo>
                    <a:pt x="40897" y="0"/>
                  </a:lnTo>
                  <a:cubicBezTo>
                    <a:pt x="40615" y="4522"/>
                    <a:pt x="39205" y="8196"/>
                    <a:pt x="36667" y="11305"/>
                  </a:cubicBezTo>
                  <a:cubicBezTo>
                    <a:pt x="34128" y="14132"/>
                    <a:pt x="29897" y="15545"/>
                    <a:pt x="24256" y="15545"/>
                  </a:cubicBezTo>
                  <a:moveTo>
                    <a:pt x="10154" y="79138"/>
                  </a:moveTo>
                  <a:lnTo>
                    <a:pt x="0" y="79138"/>
                  </a:lnTo>
                  <a:lnTo>
                    <a:pt x="0" y="21763"/>
                  </a:lnTo>
                  <a:lnTo>
                    <a:pt x="9308" y="21763"/>
                  </a:lnTo>
                  <a:lnTo>
                    <a:pt x="9308" y="66702"/>
                  </a:lnTo>
                  <a:lnTo>
                    <a:pt x="37795" y="21763"/>
                  </a:lnTo>
                  <a:lnTo>
                    <a:pt x="48231" y="21763"/>
                  </a:lnTo>
                  <a:lnTo>
                    <a:pt x="48231" y="79138"/>
                  </a:lnTo>
                  <a:lnTo>
                    <a:pt x="38923" y="79138"/>
                  </a:lnTo>
                  <a:lnTo>
                    <a:pt x="38923" y="33916"/>
                  </a:lnTo>
                  <a:lnTo>
                    <a:pt x="10154" y="79138"/>
                  </a:lnTo>
                  <a:close/>
                </a:path>
              </a:pathLst>
            </a:custGeom>
            <a:solidFill>
              <a:srgbClr val="7F8183"/>
            </a:solidFill>
            <a:ln w="2790" cap="flat">
              <a:noFill/>
              <a:prstDash val="solid"/>
              <a:miter/>
            </a:ln>
          </p:spPr>
          <p:txBody>
            <a:bodyPr rtlCol="0" anchor="ctr"/>
            <a:lstStyle/>
            <a:p>
              <a:endParaRPr lang="x-none" sz="1905"/>
            </a:p>
          </p:txBody>
        </p:sp>
        <p:sp>
          <p:nvSpPr>
            <p:cNvPr id="45" name="Freeform 44">
              <a:extLst>
                <a:ext uri="{FF2B5EF4-FFF2-40B4-BE49-F238E27FC236}">
                  <a16:creationId xmlns:a16="http://schemas.microsoft.com/office/drawing/2014/main" id="{D1C3A2D8-A269-6A47-A139-5A656E0B37D0}"/>
                </a:ext>
              </a:extLst>
            </p:cNvPr>
            <p:cNvSpPr/>
            <p:nvPr/>
          </p:nvSpPr>
          <p:spPr>
            <a:xfrm>
              <a:off x="1260952" y="5466493"/>
              <a:ext cx="483718" cy="255784"/>
            </a:xfrm>
            <a:custGeom>
              <a:avLst/>
              <a:gdLst>
                <a:gd name="connsiteX0" fmla="*/ 483718 w 483718"/>
                <a:gd name="connsiteY0" fmla="*/ 0 h 255784"/>
                <a:gd name="connsiteX1" fmla="*/ 0 w 483718"/>
                <a:gd name="connsiteY1" fmla="*/ 212541 h 255784"/>
                <a:gd name="connsiteX2" fmla="*/ 0 w 483718"/>
                <a:gd name="connsiteY2" fmla="*/ 255784 h 255784"/>
                <a:gd name="connsiteX3" fmla="*/ 483718 w 483718"/>
                <a:gd name="connsiteY3" fmla="*/ 43243 h 255784"/>
              </a:gdLst>
              <a:ahLst/>
              <a:cxnLst>
                <a:cxn ang="0">
                  <a:pos x="connsiteX0" y="connsiteY0"/>
                </a:cxn>
                <a:cxn ang="0">
                  <a:pos x="connsiteX1" y="connsiteY1"/>
                </a:cxn>
                <a:cxn ang="0">
                  <a:pos x="connsiteX2" y="connsiteY2"/>
                </a:cxn>
                <a:cxn ang="0">
                  <a:pos x="connsiteX3" y="connsiteY3"/>
                </a:cxn>
              </a:cxnLst>
              <a:rect l="l" t="t" r="r" b="b"/>
              <a:pathLst>
                <a:path w="483718" h="255784">
                  <a:moveTo>
                    <a:pt x="483718" y="0"/>
                  </a:moveTo>
                  <a:lnTo>
                    <a:pt x="0" y="212541"/>
                  </a:lnTo>
                  <a:lnTo>
                    <a:pt x="0" y="255784"/>
                  </a:lnTo>
                  <a:lnTo>
                    <a:pt x="483718" y="43243"/>
                  </a:lnTo>
                  <a:close/>
                </a:path>
              </a:pathLst>
            </a:custGeom>
            <a:solidFill>
              <a:srgbClr val="E22B26"/>
            </a:solidFill>
            <a:ln w="2790" cap="flat">
              <a:noFill/>
              <a:prstDash val="solid"/>
              <a:miter/>
            </a:ln>
          </p:spPr>
          <p:txBody>
            <a:bodyPr rtlCol="0" anchor="ctr"/>
            <a:lstStyle/>
            <a:p>
              <a:endParaRPr lang="x-none" sz="1905"/>
            </a:p>
          </p:txBody>
        </p:sp>
      </p:grpSp>
    </p:spTree>
    <p:extLst>
      <p:ext uri="{BB962C8B-B14F-4D97-AF65-F5344CB8AC3E}">
        <p14:creationId xmlns:p14="http://schemas.microsoft.com/office/powerpoint/2010/main" val="2919688785"/>
      </p:ext>
    </p:extLst>
  </p:cSld>
  <p:clrMapOvr>
    <a:masterClrMapping/>
  </p:clrMapOvr>
  <p:transition>
    <p:fade/>
  </p:transition>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p:bg>
      <p:bgPr>
        <a:solidFill>
          <a:srgbClr val="FFFFFF"/>
        </a:solidFill>
        <a:effectLst/>
      </p:bgPr>
    </p:bg>
    <p:spTree>
      <p:nvGrpSpPr>
        <p:cNvPr id="1" name=""/>
        <p:cNvGrpSpPr/>
        <p:nvPr/>
      </p:nvGrpSpPr>
      <p:grpSpPr>
        <a:xfrm>
          <a:off x="0" y="0"/>
          <a:ext cx="0" cy="0"/>
          <a:chOff x="0" y="0"/>
          <a:chExt cx="0" cy="0"/>
        </a:xfrm>
      </p:grpSpPr>
      <p:sp>
        <p:nvSpPr>
          <p:cNvPr id="15" name="Text Placeholder 10">
            <a:extLst>
              <a:ext uri="{FF2B5EF4-FFF2-40B4-BE49-F238E27FC236}">
                <a16:creationId xmlns:a16="http://schemas.microsoft.com/office/drawing/2014/main" id="{E22FD203-2C1F-4E4C-9734-9F16B1997A4F}"/>
              </a:ext>
            </a:extLst>
          </p:cNvPr>
          <p:cNvSpPr>
            <a:spLocks noGrp="1"/>
          </p:cNvSpPr>
          <p:nvPr>
            <p:ph type="body" sz="quarter" idx="12" hasCustomPrompt="1"/>
          </p:nvPr>
        </p:nvSpPr>
        <p:spPr>
          <a:xfrm>
            <a:off x="3124432" y="4539715"/>
            <a:ext cx="7733807" cy="546241"/>
          </a:xfrm>
          <a:prstGeom prst="rect">
            <a:avLst/>
          </a:prstGeom>
        </p:spPr>
        <p:txBody>
          <a:bodyPr lIns="180000" rIns="864000" anchor="t"/>
          <a:lstStyle>
            <a:lvl1pPr marL="0" marR="0" indent="0" algn="l" defTabSz="967332" rtl="0" eaLnBrk="1" fontAlgn="auto" latinLnBrk="0" hangingPunct="1">
              <a:lnSpc>
                <a:spcPct val="100000"/>
              </a:lnSpc>
              <a:spcBef>
                <a:spcPct val="20000"/>
              </a:spcBef>
              <a:spcAft>
                <a:spcPts val="0"/>
              </a:spcAft>
              <a:buClrTx/>
              <a:buSzTx/>
              <a:buFontTx/>
              <a:buNone/>
              <a:tabLst/>
              <a:defRPr lang="en-GB" sz="1905" b="0" i="0" smtClean="0">
                <a:solidFill>
                  <a:srgbClr val="19212C"/>
                </a:solidFill>
                <a:effectLst/>
              </a:defRPr>
            </a:lvl1pPr>
          </a:lstStyle>
          <a:p>
            <a:pPr marL="0" marR="0" lvl="0" indent="0" algn="l" defTabSz="967332" rtl="0" eaLnBrk="1" fontAlgn="auto" latinLnBrk="0" hangingPunct="1">
              <a:lnSpc>
                <a:spcPct val="100000"/>
              </a:lnSpc>
              <a:spcBef>
                <a:spcPct val="20000"/>
              </a:spcBef>
              <a:spcAft>
                <a:spcPts val="0"/>
              </a:spcAft>
              <a:buClrTx/>
              <a:buSzTx/>
              <a:buFontTx/>
              <a:buNone/>
              <a:tabLst/>
              <a:defRPr/>
            </a:pPr>
            <a:r>
              <a:rPr lang="en-US" dirty="0"/>
              <a:t>Lorem ipsum dolor sit </a:t>
            </a:r>
            <a:r>
              <a:rPr lang="en-US" dirty="0" err="1"/>
              <a:t>amet</a:t>
            </a:r>
            <a:r>
              <a:rPr lang="ru-RU" dirty="0"/>
              <a:t>, </a:t>
            </a:r>
            <a:r>
              <a:rPr lang="en-GB" dirty="0" err="1"/>
              <a:t>consectetur</a:t>
            </a:r>
            <a:r>
              <a:rPr lang="en-GB" dirty="0"/>
              <a:t> </a:t>
            </a:r>
            <a:r>
              <a:rPr lang="en-GB" dirty="0" err="1"/>
              <a:t>adipiscing</a:t>
            </a:r>
            <a:r>
              <a:rPr lang="ru-RU" dirty="0"/>
              <a:t> </a:t>
            </a:r>
            <a:endParaRPr lang="x-none" dirty="0"/>
          </a:p>
        </p:txBody>
      </p:sp>
      <p:sp>
        <p:nvSpPr>
          <p:cNvPr id="17" name="Text Placeholder 10">
            <a:extLst>
              <a:ext uri="{FF2B5EF4-FFF2-40B4-BE49-F238E27FC236}">
                <a16:creationId xmlns:a16="http://schemas.microsoft.com/office/drawing/2014/main" id="{99DCB56B-BDDC-0847-BBF5-0FBB08D48C30}"/>
              </a:ext>
            </a:extLst>
          </p:cNvPr>
          <p:cNvSpPr>
            <a:spLocks noGrp="1"/>
          </p:cNvSpPr>
          <p:nvPr>
            <p:ph type="body" sz="quarter" idx="11" hasCustomPrompt="1"/>
          </p:nvPr>
        </p:nvSpPr>
        <p:spPr>
          <a:xfrm>
            <a:off x="3088055" y="5661530"/>
            <a:ext cx="3884802" cy="888610"/>
          </a:xfrm>
          <a:prstGeom prst="rect">
            <a:avLst/>
          </a:prstGeom>
        </p:spPr>
        <p:txBody>
          <a:bodyPr lIns="180000" rIns="864000" anchor="b"/>
          <a:lstStyle>
            <a:lvl1pPr marL="0" indent="0">
              <a:buFontTx/>
              <a:buNone/>
              <a:defRPr sz="1376"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Докладчик</a:t>
            </a:r>
            <a:br>
              <a:rPr lang="ru-RU" dirty="0"/>
            </a:br>
            <a:r>
              <a:rPr lang="ru-RU" dirty="0"/>
              <a:t>Фамилия Имя Отчество</a:t>
            </a:r>
            <a:endParaRPr lang="x-none" dirty="0"/>
          </a:p>
        </p:txBody>
      </p:sp>
      <p:sp>
        <p:nvSpPr>
          <p:cNvPr id="18" name="Text Placeholder 10">
            <a:extLst>
              <a:ext uri="{FF2B5EF4-FFF2-40B4-BE49-F238E27FC236}">
                <a16:creationId xmlns:a16="http://schemas.microsoft.com/office/drawing/2014/main" id="{F6500C01-2B19-2F42-91FE-7C84F669F253}"/>
              </a:ext>
            </a:extLst>
          </p:cNvPr>
          <p:cNvSpPr>
            <a:spLocks noGrp="1"/>
          </p:cNvSpPr>
          <p:nvPr>
            <p:ph type="body" sz="quarter" idx="10" hasCustomPrompt="1"/>
          </p:nvPr>
        </p:nvSpPr>
        <p:spPr>
          <a:xfrm>
            <a:off x="7975017" y="5661530"/>
            <a:ext cx="4837829" cy="888610"/>
          </a:xfrm>
          <a:prstGeom prst="rect">
            <a:avLst/>
          </a:prstGeom>
        </p:spPr>
        <p:txBody>
          <a:bodyPr lIns="180000" rIns="864000" anchor="b"/>
          <a:lstStyle>
            <a:lvl1pPr marL="0" indent="0">
              <a:buFontTx/>
              <a:buNone/>
              <a:defRPr sz="1376" b="0" i="0">
                <a:solidFill>
                  <a:srgbClr val="E41910"/>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Subtitle</a:t>
            </a:r>
            <a:endParaRPr lang="x-none" dirty="0"/>
          </a:p>
        </p:txBody>
      </p:sp>
      <p:sp>
        <p:nvSpPr>
          <p:cNvPr id="19" name="Title 1">
            <a:extLst>
              <a:ext uri="{FF2B5EF4-FFF2-40B4-BE49-F238E27FC236}">
                <a16:creationId xmlns:a16="http://schemas.microsoft.com/office/drawing/2014/main" id="{E86D0E17-017B-CF40-9CCB-7F9B1B25165C}"/>
              </a:ext>
            </a:extLst>
          </p:cNvPr>
          <p:cNvSpPr>
            <a:spLocks noGrp="1"/>
          </p:cNvSpPr>
          <p:nvPr>
            <p:ph type="ctrTitle" hasCustomPrompt="1"/>
          </p:nvPr>
        </p:nvSpPr>
        <p:spPr>
          <a:xfrm>
            <a:off x="3124431" y="1043288"/>
            <a:ext cx="8686255" cy="2476276"/>
          </a:xfrm>
          <a:prstGeom prst="rect">
            <a:avLst/>
          </a:prstGeom>
          <a:noFill/>
        </p:spPr>
        <p:txBody>
          <a:bodyPr lIns="180000" tIns="180000" rIns="864000" bIns="36000" anchor="b" anchorCtr="0">
            <a:noAutofit/>
          </a:bodyPr>
          <a:lstStyle>
            <a:lvl1pPr algn="l">
              <a:lnSpc>
                <a:spcPct val="100000"/>
              </a:lnSpc>
              <a:defRPr sz="4443" b="0" i="0" cap="none" spc="212" baseline="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Title slide header</a:t>
            </a:r>
            <a:r>
              <a:rPr lang="mr-IN" dirty="0"/>
              <a:t>…</a:t>
            </a:r>
            <a:r>
              <a:rPr lang="en-US" dirty="0"/>
              <a:t/>
            </a:r>
            <a:br>
              <a:rPr lang="en-US" dirty="0"/>
            </a:br>
            <a:r>
              <a:rPr lang="en-US" dirty="0"/>
              <a:t>Title slide header</a:t>
            </a:r>
            <a:r>
              <a:rPr lang="mr-IN" dirty="0"/>
              <a:t>…</a:t>
            </a:r>
            <a:r>
              <a:rPr lang="en-US" dirty="0"/>
              <a:t> </a:t>
            </a:r>
            <a:br>
              <a:rPr lang="en-US" dirty="0"/>
            </a:br>
            <a:r>
              <a:rPr lang="en-US" dirty="0"/>
              <a:t>Title slide header</a:t>
            </a:r>
            <a:r>
              <a:rPr lang="mr-IN" dirty="0"/>
              <a:t>…</a:t>
            </a:r>
            <a:endParaRPr lang="en-US" dirty="0"/>
          </a:p>
        </p:txBody>
      </p:sp>
      <p:grpSp>
        <p:nvGrpSpPr>
          <p:cNvPr id="8" name="Graphic 2">
            <a:extLst>
              <a:ext uri="{FF2B5EF4-FFF2-40B4-BE49-F238E27FC236}">
                <a16:creationId xmlns:a16="http://schemas.microsoft.com/office/drawing/2014/main" id="{9179D459-76A3-234B-BBDE-A62C80D7F483}"/>
              </a:ext>
            </a:extLst>
          </p:cNvPr>
          <p:cNvGrpSpPr/>
          <p:nvPr userDrawn="1"/>
        </p:nvGrpSpPr>
        <p:grpSpPr>
          <a:xfrm>
            <a:off x="381317" y="1430358"/>
            <a:ext cx="1793447" cy="1905660"/>
            <a:chOff x="4522787" y="1925637"/>
            <a:chExt cx="2472690" cy="2627001"/>
          </a:xfrm>
        </p:grpSpPr>
        <p:sp>
          <p:nvSpPr>
            <p:cNvPr id="9" name="Freeform 8">
              <a:extLst>
                <a:ext uri="{FF2B5EF4-FFF2-40B4-BE49-F238E27FC236}">
                  <a16:creationId xmlns:a16="http://schemas.microsoft.com/office/drawing/2014/main" id="{D245156D-F4D5-764B-B8BC-D8FB794705CF}"/>
                </a:ext>
              </a:extLst>
            </p:cNvPr>
            <p:cNvSpPr/>
            <p:nvPr/>
          </p:nvSpPr>
          <p:spPr>
            <a:xfrm>
              <a:off x="4522787" y="1925637"/>
              <a:ext cx="2472690" cy="1641876"/>
            </a:xfrm>
            <a:custGeom>
              <a:avLst/>
              <a:gdLst>
                <a:gd name="connsiteX0" fmla="*/ 700088 w 2472690"/>
                <a:gd name="connsiteY0" fmla="*/ 820938 h 1641876"/>
                <a:gd name="connsiteX1" fmla="*/ 1235393 w 2472690"/>
                <a:gd name="connsiteY1" fmla="*/ 287566 h 1641876"/>
                <a:gd name="connsiteX2" fmla="*/ 1497330 w 2472690"/>
                <a:gd name="connsiteY2" fmla="*/ 355898 h 1641876"/>
                <a:gd name="connsiteX3" fmla="*/ 1497330 w 2472690"/>
                <a:gd name="connsiteY3" fmla="*/ 0 h 1641876"/>
                <a:gd name="connsiteX4" fmla="*/ 0 w 2472690"/>
                <a:gd name="connsiteY4" fmla="*/ 647260 h 1641876"/>
                <a:gd name="connsiteX5" fmla="*/ 0 w 2472690"/>
                <a:gd name="connsiteY5" fmla="*/ 1641876 h 1641876"/>
                <a:gd name="connsiteX6" fmla="*/ 914400 w 2472690"/>
                <a:gd name="connsiteY6" fmla="*/ 1247067 h 1641876"/>
                <a:gd name="connsiteX7" fmla="*/ 700088 w 2472690"/>
                <a:gd name="connsiteY7" fmla="*/ 820938 h 1641876"/>
                <a:gd name="connsiteX8" fmla="*/ 1558290 w 2472690"/>
                <a:gd name="connsiteY8" fmla="*/ 394810 h 1641876"/>
                <a:gd name="connsiteX9" fmla="*/ 1771650 w 2472690"/>
                <a:gd name="connsiteY9" fmla="*/ 820938 h 1641876"/>
                <a:gd name="connsiteX10" fmla="*/ 1236345 w 2472690"/>
                <a:gd name="connsiteY10" fmla="*/ 1354311 h 1641876"/>
                <a:gd name="connsiteX11" fmla="*/ 974408 w 2472690"/>
                <a:gd name="connsiteY11" fmla="*/ 1285978 h 1641876"/>
                <a:gd name="connsiteX12" fmla="*/ 974408 w 2472690"/>
                <a:gd name="connsiteY12" fmla="*/ 1641876 h 1641876"/>
                <a:gd name="connsiteX13" fmla="*/ 2472690 w 2472690"/>
                <a:gd name="connsiteY13" fmla="*/ 994616 h 1641876"/>
                <a:gd name="connsiteX14" fmla="*/ 2472690 w 2472690"/>
                <a:gd name="connsiteY14" fmla="*/ 0 h 1641876"/>
                <a:gd name="connsiteX15" fmla="*/ 1558290 w 2472690"/>
                <a:gd name="connsiteY15" fmla="*/ 394810 h 164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72690" h="1641876">
                  <a:moveTo>
                    <a:pt x="700088" y="820938"/>
                  </a:moveTo>
                  <a:cubicBezTo>
                    <a:pt x="700088" y="525780"/>
                    <a:pt x="940118" y="287566"/>
                    <a:pt x="1235393" y="287566"/>
                  </a:cubicBezTo>
                  <a:cubicBezTo>
                    <a:pt x="1330643" y="287566"/>
                    <a:pt x="1420178" y="312241"/>
                    <a:pt x="1497330" y="355898"/>
                  </a:cubicBezTo>
                  <a:lnTo>
                    <a:pt x="1497330" y="0"/>
                  </a:lnTo>
                  <a:lnTo>
                    <a:pt x="0" y="647260"/>
                  </a:lnTo>
                  <a:lnTo>
                    <a:pt x="0" y="1641876"/>
                  </a:lnTo>
                  <a:lnTo>
                    <a:pt x="914400" y="1247067"/>
                  </a:lnTo>
                  <a:cubicBezTo>
                    <a:pt x="784860" y="1150262"/>
                    <a:pt x="700088" y="995565"/>
                    <a:pt x="700088" y="820938"/>
                  </a:cubicBezTo>
                  <a:close/>
                  <a:moveTo>
                    <a:pt x="1558290" y="394810"/>
                  </a:moveTo>
                  <a:cubicBezTo>
                    <a:pt x="1687830" y="491614"/>
                    <a:pt x="1771650" y="647260"/>
                    <a:pt x="1771650" y="820938"/>
                  </a:cubicBezTo>
                  <a:cubicBezTo>
                    <a:pt x="1771650" y="1116096"/>
                    <a:pt x="1531620" y="1354311"/>
                    <a:pt x="1236345" y="1354311"/>
                  </a:cubicBezTo>
                  <a:cubicBezTo>
                    <a:pt x="1141095" y="1354311"/>
                    <a:pt x="1051560" y="1329635"/>
                    <a:pt x="974408" y="1285978"/>
                  </a:cubicBezTo>
                  <a:lnTo>
                    <a:pt x="974408" y="1641876"/>
                  </a:lnTo>
                  <a:lnTo>
                    <a:pt x="2472690" y="994616"/>
                  </a:lnTo>
                  <a:lnTo>
                    <a:pt x="2472690" y="0"/>
                  </a:lnTo>
                  <a:lnTo>
                    <a:pt x="1558290" y="394810"/>
                  </a:lnTo>
                  <a:close/>
                </a:path>
              </a:pathLst>
            </a:custGeom>
            <a:solidFill>
              <a:srgbClr val="7F8183"/>
            </a:solidFill>
            <a:ln w="9525" cap="flat">
              <a:noFill/>
              <a:prstDash val="solid"/>
              <a:miter/>
            </a:ln>
          </p:spPr>
          <p:txBody>
            <a:bodyPr rtlCol="0" anchor="ctr"/>
            <a:lstStyle/>
            <a:p>
              <a:endParaRPr lang="x-none" sz="1905"/>
            </a:p>
          </p:txBody>
        </p:sp>
        <p:sp>
          <p:nvSpPr>
            <p:cNvPr id="10" name="Freeform 9">
              <a:extLst>
                <a:ext uri="{FF2B5EF4-FFF2-40B4-BE49-F238E27FC236}">
                  <a16:creationId xmlns:a16="http://schemas.microsoft.com/office/drawing/2014/main" id="{22759C32-66C4-F746-B268-4A60EC6F21C0}"/>
                </a:ext>
              </a:extLst>
            </p:cNvPr>
            <p:cNvSpPr/>
            <p:nvPr/>
          </p:nvSpPr>
          <p:spPr>
            <a:xfrm>
              <a:off x="5470524" y="2459009"/>
              <a:ext cx="577215" cy="575131"/>
            </a:xfrm>
            <a:custGeom>
              <a:avLst/>
              <a:gdLst>
                <a:gd name="connsiteX0" fmla="*/ 577215 w 577215"/>
                <a:gd name="connsiteY0" fmla="*/ 287566 h 575131"/>
                <a:gd name="connsiteX1" fmla="*/ 288608 w 577215"/>
                <a:gd name="connsiteY1" fmla="*/ 575131 h 575131"/>
                <a:gd name="connsiteX2" fmla="*/ 0 w 577215"/>
                <a:gd name="connsiteY2" fmla="*/ 287566 h 575131"/>
                <a:gd name="connsiteX3" fmla="*/ 288608 w 577215"/>
                <a:gd name="connsiteY3" fmla="*/ 0 h 575131"/>
                <a:gd name="connsiteX4" fmla="*/ 577215 w 577215"/>
                <a:gd name="connsiteY4" fmla="*/ 287566 h 57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15" h="575131">
                  <a:moveTo>
                    <a:pt x="577215" y="287566"/>
                  </a:moveTo>
                  <a:cubicBezTo>
                    <a:pt x="577215" y="446059"/>
                    <a:pt x="447675" y="575131"/>
                    <a:pt x="288608" y="575131"/>
                  </a:cubicBezTo>
                  <a:cubicBezTo>
                    <a:pt x="129540" y="575131"/>
                    <a:pt x="0" y="446059"/>
                    <a:pt x="0" y="287566"/>
                  </a:cubicBezTo>
                  <a:cubicBezTo>
                    <a:pt x="0" y="129072"/>
                    <a:pt x="129540" y="0"/>
                    <a:pt x="288608" y="0"/>
                  </a:cubicBezTo>
                  <a:cubicBezTo>
                    <a:pt x="447675" y="0"/>
                    <a:pt x="577215" y="129072"/>
                    <a:pt x="577215" y="287566"/>
                  </a:cubicBezTo>
                  <a:close/>
                </a:path>
              </a:pathLst>
            </a:custGeom>
            <a:solidFill>
              <a:srgbClr val="E72B2B"/>
            </a:solidFill>
            <a:ln w="9525" cap="flat">
              <a:noFill/>
              <a:prstDash val="solid"/>
              <a:miter/>
            </a:ln>
          </p:spPr>
          <p:txBody>
            <a:bodyPr rtlCol="0" anchor="ctr"/>
            <a:lstStyle/>
            <a:p>
              <a:endParaRPr lang="x-none" sz="1905"/>
            </a:p>
          </p:txBody>
        </p:sp>
        <p:sp>
          <p:nvSpPr>
            <p:cNvPr id="11" name="Freeform 10">
              <a:extLst>
                <a:ext uri="{FF2B5EF4-FFF2-40B4-BE49-F238E27FC236}">
                  <a16:creationId xmlns:a16="http://schemas.microsoft.com/office/drawing/2014/main" id="{1D30D49F-F7A4-D142-9453-95E50EA0436F}"/>
                </a:ext>
              </a:extLst>
            </p:cNvPr>
            <p:cNvSpPr/>
            <p:nvPr/>
          </p:nvSpPr>
          <p:spPr>
            <a:xfrm>
              <a:off x="4522787" y="3863620"/>
              <a:ext cx="2472690" cy="689018"/>
            </a:xfrm>
            <a:custGeom>
              <a:avLst/>
              <a:gdLst>
                <a:gd name="connsiteX0" fmla="*/ 345758 w 2472690"/>
                <a:gd name="connsiteY0" fmla="*/ 0 h 689018"/>
                <a:gd name="connsiteX1" fmla="*/ 0 w 2472690"/>
                <a:gd name="connsiteY1" fmla="*/ 344509 h 689018"/>
                <a:gd name="connsiteX2" fmla="*/ 345758 w 2472690"/>
                <a:gd name="connsiteY2" fmla="*/ 689019 h 689018"/>
                <a:gd name="connsiteX3" fmla="*/ 691515 w 2472690"/>
                <a:gd name="connsiteY3" fmla="*/ 344509 h 689018"/>
                <a:gd name="connsiteX4" fmla="*/ 345758 w 2472690"/>
                <a:gd name="connsiteY4" fmla="*/ 0 h 689018"/>
                <a:gd name="connsiteX5" fmla="*/ 345758 w 2472690"/>
                <a:gd name="connsiteY5" fmla="*/ 525780 h 689018"/>
                <a:gd name="connsiteX6" fmla="*/ 164783 w 2472690"/>
                <a:gd name="connsiteY6" fmla="*/ 345458 h 689018"/>
                <a:gd name="connsiteX7" fmla="*/ 345758 w 2472690"/>
                <a:gd name="connsiteY7" fmla="*/ 165137 h 689018"/>
                <a:gd name="connsiteX8" fmla="*/ 526733 w 2472690"/>
                <a:gd name="connsiteY8" fmla="*/ 345458 h 689018"/>
                <a:gd name="connsiteX9" fmla="*/ 345758 w 2472690"/>
                <a:gd name="connsiteY9" fmla="*/ 525780 h 689018"/>
                <a:gd name="connsiteX10" fmla="*/ 1253490 w 2472690"/>
                <a:gd name="connsiteY10" fmla="*/ 284718 h 689018"/>
                <a:gd name="connsiteX11" fmla="*/ 1063943 w 2472690"/>
                <a:gd name="connsiteY11" fmla="*/ 17083 h 689018"/>
                <a:gd name="connsiteX12" fmla="*/ 899160 w 2472690"/>
                <a:gd name="connsiteY12" fmla="*/ 17083 h 689018"/>
                <a:gd name="connsiteX13" fmla="*/ 899160 w 2472690"/>
                <a:gd name="connsiteY13" fmla="*/ 673834 h 689018"/>
                <a:gd name="connsiteX14" fmla="*/ 1063943 w 2472690"/>
                <a:gd name="connsiteY14" fmla="*/ 673834 h 689018"/>
                <a:gd name="connsiteX15" fmla="*/ 1063943 w 2472690"/>
                <a:gd name="connsiteY15" fmla="*/ 301802 h 689018"/>
                <a:gd name="connsiteX16" fmla="*/ 1152525 w 2472690"/>
                <a:gd name="connsiteY16" fmla="*/ 427078 h 689018"/>
                <a:gd name="connsiteX17" fmla="*/ 1253490 w 2472690"/>
                <a:gd name="connsiteY17" fmla="*/ 569437 h 689018"/>
                <a:gd name="connsiteX18" fmla="*/ 1354455 w 2472690"/>
                <a:gd name="connsiteY18" fmla="*/ 427078 h 689018"/>
                <a:gd name="connsiteX19" fmla="*/ 1443038 w 2472690"/>
                <a:gd name="connsiteY19" fmla="*/ 301802 h 689018"/>
                <a:gd name="connsiteX20" fmla="*/ 1443038 w 2472690"/>
                <a:gd name="connsiteY20" fmla="*/ 673834 h 689018"/>
                <a:gd name="connsiteX21" fmla="*/ 1607820 w 2472690"/>
                <a:gd name="connsiteY21" fmla="*/ 673834 h 689018"/>
                <a:gd name="connsiteX22" fmla="*/ 1607820 w 2472690"/>
                <a:gd name="connsiteY22" fmla="*/ 17083 h 689018"/>
                <a:gd name="connsiteX23" fmla="*/ 1443038 w 2472690"/>
                <a:gd name="connsiteY23" fmla="*/ 17083 h 689018"/>
                <a:gd name="connsiteX24" fmla="*/ 1253490 w 2472690"/>
                <a:gd name="connsiteY24" fmla="*/ 284718 h 689018"/>
                <a:gd name="connsiteX25" fmla="*/ 2472690 w 2472690"/>
                <a:gd name="connsiteY25" fmla="*/ 18032 h 689018"/>
                <a:gd name="connsiteX26" fmla="*/ 2270760 w 2472690"/>
                <a:gd name="connsiteY26" fmla="*/ 18032 h 689018"/>
                <a:gd name="connsiteX27" fmla="*/ 2037398 w 2472690"/>
                <a:gd name="connsiteY27" fmla="*/ 336917 h 689018"/>
                <a:gd name="connsiteX28" fmla="*/ 2037398 w 2472690"/>
                <a:gd name="connsiteY28" fmla="*/ 18032 h 689018"/>
                <a:gd name="connsiteX29" fmla="*/ 1872615 w 2472690"/>
                <a:gd name="connsiteY29" fmla="*/ 18032 h 689018"/>
                <a:gd name="connsiteX30" fmla="*/ 1872615 w 2472690"/>
                <a:gd name="connsiteY30" fmla="*/ 674783 h 689018"/>
                <a:gd name="connsiteX31" fmla="*/ 2037398 w 2472690"/>
                <a:gd name="connsiteY31" fmla="*/ 674783 h 689018"/>
                <a:gd name="connsiteX32" fmla="*/ 2037398 w 2472690"/>
                <a:gd name="connsiteY32" fmla="*/ 354000 h 689018"/>
                <a:gd name="connsiteX33" fmla="*/ 2270760 w 2472690"/>
                <a:gd name="connsiteY33" fmla="*/ 674783 h 689018"/>
                <a:gd name="connsiteX34" fmla="*/ 2472690 w 2472690"/>
                <a:gd name="connsiteY34" fmla="*/ 674783 h 689018"/>
                <a:gd name="connsiteX35" fmla="*/ 2231708 w 2472690"/>
                <a:gd name="connsiteY35" fmla="*/ 346407 h 689018"/>
                <a:gd name="connsiteX36" fmla="*/ 2472690 w 2472690"/>
                <a:gd name="connsiteY36" fmla="*/ 18032 h 68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72690" h="689018">
                  <a:moveTo>
                    <a:pt x="345758" y="0"/>
                  </a:moveTo>
                  <a:cubicBezTo>
                    <a:pt x="155258" y="0"/>
                    <a:pt x="0" y="154697"/>
                    <a:pt x="0" y="344509"/>
                  </a:cubicBezTo>
                  <a:cubicBezTo>
                    <a:pt x="0" y="535271"/>
                    <a:pt x="155258" y="689019"/>
                    <a:pt x="345758" y="689019"/>
                  </a:cubicBezTo>
                  <a:cubicBezTo>
                    <a:pt x="537210" y="689019"/>
                    <a:pt x="691515" y="534322"/>
                    <a:pt x="691515" y="344509"/>
                  </a:cubicBezTo>
                  <a:cubicBezTo>
                    <a:pt x="692468" y="154697"/>
                    <a:pt x="537210" y="0"/>
                    <a:pt x="345758" y="0"/>
                  </a:cubicBezTo>
                  <a:close/>
                  <a:moveTo>
                    <a:pt x="345758" y="525780"/>
                  </a:moveTo>
                  <a:cubicBezTo>
                    <a:pt x="245745" y="525780"/>
                    <a:pt x="164783" y="445110"/>
                    <a:pt x="164783" y="345458"/>
                  </a:cubicBezTo>
                  <a:cubicBezTo>
                    <a:pt x="164783" y="245807"/>
                    <a:pt x="245745" y="165137"/>
                    <a:pt x="345758" y="165137"/>
                  </a:cubicBezTo>
                  <a:cubicBezTo>
                    <a:pt x="445770" y="165137"/>
                    <a:pt x="526733" y="245807"/>
                    <a:pt x="526733" y="345458"/>
                  </a:cubicBezTo>
                  <a:cubicBezTo>
                    <a:pt x="527685" y="444161"/>
                    <a:pt x="445770" y="525780"/>
                    <a:pt x="345758" y="525780"/>
                  </a:cubicBezTo>
                  <a:close/>
                  <a:moveTo>
                    <a:pt x="1253490" y="284718"/>
                  </a:moveTo>
                  <a:lnTo>
                    <a:pt x="1063943" y="17083"/>
                  </a:lnTo>
                  <a:lnTo>
                    <a:pt x="899160" y="17083"/>
                  </a:lnTo>
                  <a:lnTo>
                    <a:pt x="899160" y="673834"/>
                  </a:lnTo>
                  <a:lnTo>
                    <a:pt x="1063943" y="673834"/>
                  </a:lnTo>
                  <a:lnTo>
                    <a:pt x="1063943" y="301802"/>
                  </a:lnTo>
                  <a:lnTo>
                    <a:pt x="1152525" y="427078"/>
                  </a:lnTo>
                  <a:lnTo>
                    <a:pt x="1253490" y="569437"/>
                  </a:lnTo>
                  <a:lnTo>
                    <a:pt x="1354455" y="427078"/>
                  </a:lnTo>
                  <a:lnTo>
                    <a:pt x="1443038" y="301802"/>
                  </a:lnTo>
                  <a:lnTo>
                    <a:pt x="1443038" y="673834"/>
                  </a:lnTo>
                  <a:lnTo>
                    <a:pt x="1607820" y="673834"/>
                  </a:lnTo>
                  <a:lnTo>
                    <a:pt x="1607820" y="17083"/>
                  </a:lnTo>
                  <a:lnTo>
                    <a:pt x="1443038" y="17083"/>
                  </a:lnTo>
                  <a:lnTo>
                    <a:pt x="1253490" y="284718"/>
                  </a:lnTo>
                  <a:close/>
                  <a:moveTo>
                    <a:pt x="2472690" y="18032"/>
                  </a:moveTo>
                  <a:lnTo>
                    <a:pt x="2270760" y="18032"/>
                  </a:lnTo>
                  <a:lnTo>
                    <a:pt x="2037398" y="336917"/>
                  </a:lnTo>
                  <a:lnTo>
                    <a:pt x="2037398" y="18032"/>
                  </a:lnTo>
                  <a:lnTo>
                    <a:pt x="1872615" y="18032"/>
                  </a:lnTo>
                  <a:lnTo>
                    <a:pt x="1872615" y="674783"/>
                  </a:lnTo>
                  <a:lnTo>
                    <a:pt x="2037398" y="674783"/>
                  </a:lnTo>
                  <a:lnTo>
                    <a:pt x="2037398" y="354000"/>
                  </a:lnTo>
                  <a:lnTo>
                    <a:pt x="2270760" y="674783"/>
                  </a:lnTo>
                  <a:lnTo>
                    <a:pt x="2472690" y="674783"/>
                  </a:lnTo>
                  <a:lnTo>
                    <a:pt x="2231708" y="346407"/>
                  </a:lnTo>
                  <a:lnTo>
                    <a:pt x="2472690" y="18032"/>
                  </a:lnTo>
                  <a:close/>
                </a:path>
              </a:pathLst>
            </a:custGeom>
            <a:solidFill>
              <a:srgbClr val="7F8183"/>
            </a:solidFill>
            <a:ln w="9525" cap="flat">
              <a:noFill/>
              <a:prstDash val="solid"/>
              <a:miter/>
            </a:ln>
          </p:spPr>
          <p:txBody>
            <a:bodyPr rtlCol="0" anchor="ctr"/>
            <a:lstStyle/>
            <a:p>
              <a:endParaRPr lang="x-none" sz="1905"/>
            </a:p>
          </p:txBody>
        </p:sp>
      </p:grpSp>
      <p:grpSp>
        <p:nvGrpSpPr>
          <p:cNvPr id="2" name="Graphic 11">
            <a:extLst>
              <a:ext uri="{FF2B5EF4-FFF2-40B4-BE49-F238E27FC236}">
                <a16:creationId xmlns:a16="http://schemas.microsoft.com/office/drawing/2014/main" id="{2B14A07C-F107-AD4B-84D8-19021835B693}"/>
              </a:ext>
            </a:extLst>
          </p:cNvPr>
          <p:cNvGrpSpPr/>
          <p:nvPr/>
        </p:nvGrpSpPr>
        <p:grpSpPr>
          <a:xfrm>
            <a:off x="324376" y="4961067"/>
            <a:ext cx="1904203" cy="1638552"/>
            <a:chOff x="306551" y="4687749"/>
            <a:chExt cx="1799571" cy="1548280"/>
          </a:xfrm>
        </p:grpSpPr>
        <p:grpSp>
          <p:nvGrpSpPr>
            <p:cNvPr id="3" name="Graphic 11">
              <a:extLst>
                <a:ext uri="{FF2B5EF4-FFF2-40B4-BE49-F238E27FC236}">
                  <a16:creationId xmlns:a16="http://schemas.microsoft.com/office/drawing/2014/main" id="{2B14A07C-F107-AD4B-84D8-19021835B693}"/>
                </a:ext>
              </a:extLst>
            </p:cNvPr>
            <p:cNvGrpSpPr/>
            <p:nvPr/>
          </p:nvGrpSpPr>
          <p:grpSpPr>
            <a:xfrm>
              <a:off x="363507" y="5419387"/>
              <a:ext cx="704074" cy="228902"/>
              <a:chOff x="363507" y="5419387"/>
              <a:chExt cx="704074" cy="228902"/>
            </a:xfrm>
            <a:solidFill>
              <a:srgbClr val="CFD4D9"/>
            </a:solidFill>
          </p:grpSpPr>
          <p:sp>
            <p:nvSpPr>
              <p:cNvPr id="4" name="Freeform 3">
                <a:extLst>
                  <a:ext uri="{FF2B5EF4-FFF2-40B4-BE49-F238E27FC236}">
                    <a16:creationId xmlns:a16="http://schemas.microsoft.com/office/drawing/2014/main" id="{A10631D4-F199-2743-A560-F09432C5EC06}"/>
                  </a:ext>
                </a:extLst>
              </p:cNvPr>
              <p:cNvSpPr/>
              <p:nvPr/>
            </p:nvSpPr>
            <p:spPr>
              <a:xfrm>
                <a:off x="363507" y="5419387"/>
                <a:ext cx="155114" cy="180936"/>
              </a:xfrm>
              <a:custGeom>
                <a:avLst/>
                <a:gdLst>
                  <a:gd name="connsiteX0" fmla="*/ 81799 w 155114"/>
                  <a:gd name="connsiteY0" fmla="*/ 160900 h 180936"/>
                  <a:gd name="connsiteX1" fmla="*/ 118154 w 155114"/>
                  <a:gd name="connsiteY1" fmla="*/ 149971 h 180936"/>
                  <a:gd name="connsiteX2" fmla="*/ 134513 w 155114"/>
                  <a:gd name="connsiteY2" fmla="*/ 120219 h 180936"/>
                  <a:gd name="connsiteX3" fmla="*/ 155115 w 155114"/>
                  <a:gd name="connsiteY3" fmla="*/ 123862 h 180936"/>
                  <a:gd name="connsiteX4" fmla="*/ 130878 w 155114"/>
                  <a:gd name="connsiteY4" fmla="*/ 166364 h 180936"/>
                  <a:gd name="connsiteX5" fmla="*/ 81193 w 155114"/>
                  <a:gd name="connsiteY5" fmla="*/ 180936 h 180936"/>
                  <a:gd name="connsiteX6" fmla="*/ 21813 w 155114"/>
                  <a:gd name="connsiteY6" fmla="*/ 156650 h 180936"/>
                  <a:gd name="connsiteX7" fmla="*/ 0 w 155114"/>
                  <a:gd name="connsiteY7" fmla="*/ 90468 h 180936"/>
                  <a:gd name="connsiteX8" fmla="*/ 6059 w 155114"/>
                  <a:gd name="connsiteY8" fmla="*/ 52217 h 180936"/>
                  <a:gd name="connsiteX9" fmla="*/ 22419 w 155114"/>
                  <a:gd name="connsiteY9" fmla="*/ 23680 h 180936"/>
                  <a:gd name="connsiteX10" fmla="*/ 47867 w 155114"/>
                  <a:gd name="connsiteY10" fmla="*/ 6072 h 180936"/>
                  <a:gd name="connsiteX11" fmla="*/ 81193 w 155114"/>
                  <a:gd name="connsiteY11" fmla="*/ 0 h 180936"/>
                  <a:gd name="connsiteX12" fmla="*/ 130878 w 155114"/>
                  <a:gd name="connsiteY12" fmla="*/ 14572 h 180936"/>
                  <a:gd name="connsiteX13" fmla="*/ 154509 w 155114"/>
                  <a:gd name="connsiteY13" fmla="*/ 57074 h 180936"/>
                  <a:gd name="connsiteX14" fmla="*/ 133907 w 155114"/>
                  <a:gd name="connsiteY14" fmla="*/ 60717 h 180936"/>
                  <a:gd name="connsiteX15" fmla="*/ 117548 w 155114"/>
                  <a:gd name="connsiteY15" fmla="*/ 31573 h 180936"/>
                  <a:gd name="connsiteX16" fmla="*/ 81193 w 155114"/>
                  <a:gd name="connsiteY16" fmla="*/ 20037 h 180936"/>
                  <a:gd name="connsiteX17" fmla="*/ 55138 w 155114"/>
                  <a:gd name="connsiteY17" fmla="*/ 25501 h 180936"/>
                  <a:gd name="connsiteX18" fmla="*/ 36355 w 155114"/>
                  <a:gd name="connsiteY18" fmla="*/ 40073 h 180936"/>
                  <a:gd name="connsiteX19" fmla="*/ 24843 w 155114"/>
                  <a:gd name="connsiteY19" fmla="*/ 62538 h 180936"/>
                  <a:gd name="connsiteX20" fmla="*/ 21207 w 155114"/>
                  <a:gd name="connsiteY20" fmla="*/ 91683 h 180936"/>
                  <a:gd name="connsiteX21" fmla="*/ 36961 w 155114"/>
                  <a:gd name="connsiteY21" fmla="*/ 142685 h 180936"/>
                  <a:gd name="connsiteX22" fmla="*/ 81799 w 155114"/>
                  <a:gd name="connsiteY22" fmla="*/ 160900 h 180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5114" h="180936">
                    <a:moveTo>
                      <a:pt x="81799" y="160900"/>
                    </a:moveTo>
                    <a:cubicBezTo>
                      <a:pt x="97553" y="160900"/>
                      <a:pt x="109671" y="157257"/>
                      <a:pt x="118154" y="149971"/>
                    </a:cubicBezTo>
                    <a:cubicBezTo>
                      <a:pt x="126636" y="142685"/>
                      <a:pt x="132090" y="132970"/>
                      <a:pt x="134513" y="120219"/>
                    </a:cubicBezTo>
                    <a:lnTo>
                      <a:pt x="155115" y="123862"/>
                    </a:lnTo>
                    <a:cubicBezTo>
                      <a:pt x="152085" y="142077"/>
                      <a:pt x="143602" y="156650"/>
                      <a:pt x="130878" y="166364"/>
                    </a:cubicBezTo>
                    <a:cubicBezTo>
                      <a:pt x="118154" y="176079"/>
                      <a:pt x="101794" y="180936"/>
                      <a:pt x="81193" y="180936"/>
                    </a:cubicBezTo>
                    <a:cubicBezTo>
                      <a:pt x="56350" y="180936"/>
                      <a:pt x="36355" y="173043"/>
                      <a:pt x="21813" y="156650"/>
                    </a:cubicBezTo>
                    <a:cubicBezTo>
                      <a:pt x="7271" y="140256"/>
                      <a:pt x="0" y="118398"/>
                      <a:pt x="0" y="90468"/>
                    </a:cubicBezTo>
                    <a:cubicBezTo>
                      <a:pt x="0" y="75896"/>
                      <a:pt x="1818" y="63146"/>
                      <a:pt x="6059" y="52217"/>
                    </a:cubicBezTo>
                    <a:cubicBezTo>
                      <a:pt x="9695" y="40680"/>
                      <a:pt x="15754" y="31573"/>
                      <a:pt x="22419" y="23680"/>
                    </a:cubicBezTo>
                    <a:cubicBezTo>
                      <a:pt x="29690" y="15786"/>
                      <a:pt x="38173" y="9715"/>
                      <a:pt x="47867" y="6072"/>
                    </a:cubicBezTo>
                    <a:cubicBezTo>
                      <a:pt x="58168" y="1822"/>
                      <a:pt x="69074" y="0"/>
                      <a:pt x="81193" y="0"/>
                    </a:cubicBezTo>
                    <a:cubicBezTo>
                      <a:pt x="101794" y="0"/>
                      <a:pt x="118154" y="4857"/>
                      <a:pt x="130878" y="14572"/>
                    </a:cubicBezTo>
                    <a:cubicBezTo>
                      <a:pt x="143602" y="24287"/>
                      <a:pt x="151479" y="38859"/>
                      <a:pt x="154509" y="57074"/>
                    </a:cubicBezTo>
                    <a:lnTo>
                      <a:pt x="133907" y="60717"/>
                    </a:lnTo>
                    <a:cubicBezTo>
                      <a:pt x="131484" y="49181"/>
                      <a:pt x="126031" y="39466"/>
                      <a:pt x="117548" y="31573"/>
                    </a:cubicBezTo>
                    <a:cubicBezTo>
                      <a:pt x="109065" y="23680"/>
                      <a:pt x="96947" y="20037"/>
                      <a:pt x="81193" y="20037"/>
                    </a:cubicBezTo>
                    <a:cubicBezTo>
                      <a:pt x="71498" y="20037"/>
                      <a:pt x="63015" y="21858"/>
                      <a:pt x="55138" y="25501"/>
                    </a:cubicBezTo>
                    <a:cubicBezTo>
                      <a:pt x="47867" y="29144"/>
                      <a:pt x="41202" y="34001"/>
                      <a:pt x="36355" y="40073"/>
                    </a:cubicBezTo>
                    <a:cubicBezTo>
                      <a:pt x="31508" y="46145"/>
                      <a:pt x="27872" y="53431"/>
                      <a:pt x="24843" y="62538"/>
                    </a:cubicBezTo>
                    <a:cubicBezTo>
                      <a:pt x="22419" y="71039"/>
                      <a:pt x="21207" y="80753"/>
                      <a:pt x="21207" y="91683"/>
                    </a:cubicBezTo>
                    <a:cubicBezTo>
                      <a:pt x="21207" y="112933"/>
                      <a:pt x="26660" y="129934"/>
                      <a:pt x="36961" y="142685"/>
                    </a:cubicBezTo>
                    <a:cubicBezTo>
                      <a:pt x="47867" y="154828"/>
                      <a:pt x="62409" y="160900"/>
                      <a:pt x="81799" y="160900"/>
                    </a:cubicBezTo>
                  </a:path>
                </a:pathLst>
              </a:custGeom>
              <a:solidFill>
                <a:srgbClr val="7F8183"/>
              </a:solidFill>
              <a:ln w="6029" cap="flat">
                <a:noFill/>
                <a:prstDash val="solid"/>
                <a:miter/>
              </a:ln>
            </p:spPr>
            <p:txBody>
              <a:bodyPr rtlCol="0" anchor="ctr"/>
              <a:lstStyle/>
              <a:p>
                <a:endParaRPr lang="x-none" sz="1905"/>
              </a:p>
            </p:txBody>
          </p:sp>
          <p:sp>
            <p:nvSpPr>
              <p:cNvPr id="5" name="Freeform 4">
                <a:extLst>
                  <a:ext uri="{FF2B5EF4-FFF2-40B4-BE49-F238E27FC236}">
                    <a16:creationId xmlns:a16="http://schemas.microsoft.com/office/drawing/2014/main" id="{95F7A21D-6CE6-3D40-87B8-A27DCD746457}"/>
                  </a:ext>
                </a:extLst>
              </p:cNvPr>
              <p:cNvSpPr/>
              <p:nvPr/>
            </p:nvSpPr>
            <p:spPr>
              <a:xfrm>
                <a:off x="542858" y="5472210"/>
                <a:ext cx="115729" cy="128719"/>
              </a:xfrm>
              <a:custGeom>
                <a:avLst/>
                <a:gdLst>
                  <a:gd name="connsiteX0" fmla="*/ 58774 w 115729"/>
                  <a:gd name="connsiteY0" fmla="*/ 109898 h 128719"/>
                  <a:gd name="connsiteX1" fmla="*/ 86646 w 115729"/>
                  <a:gd name="connsiteY1" fmla="*/ 97754 h 128719"/>
                  <a:gd name="connsiteX2" fmla="*/ 95735 w 115729"/>
                  <a:gd name="connsiteY2" fmla="*/ 63753 h 128719"/>
                  <a:gd name="connsiteX3" fmla="*/ 86646 w 115729"/>
                  <a:gd name="connsiteY3" fmla="*/ 29751 h 128719"/>
                  <a:gd name="connsiteX4" fmla="*/ 58774 w 115729"/>
                  <a:gd name="connsiteY4" fmla="*/ 17608 h 128719"/>
                  <a:gd name="connsiteX5" fmla="*/ 30902 w 115729"/>
                  <a:gd name="connsiteY5" fmla="*/ 29751 h 128719"/>
                  <a:gd name="connsiteX6" fmla="*/ 21207 w 115729"/>
                  <a:gd name="connsiteY6" fmla="*/ 63753 h 128719"/>
                  <a:gd name="connsiteX7" fmla="*/ 31508 w 115729"/>
                  <a:gd name="connsiteY7" fmla="*/ 97754 h 128719"/>
                  <a:gd name="connsiteX8" fmla="*/ 58774 w 115729"/>
                  <a:gd name="connsiteY8" fmla="*/ 109898 h 128719"/>
                  <a:gd name="connsiteX9" fmla="*/ 58774 w 115729"/>
                  <a:gd name="connsiteY9" fmla="*/ 128720 h 128719"/>
                  <a:gd name="connsiteX10" fmla="*/ 35143 w 115729"/>
                  <a:gd name="connsiteY10" fmla="*/ 124470 h 128719"/>
                  <a:gd name="connsiteX11" fmla="*/ 16360 w 115729"/>
                  <a:gd name="connsiteY11" fmla="*/ 112326 h 128719"/>
                  <a:gd name="connsiteX12" fmla="*/ 4241 w 115729"/>
                  <a:gd name="connsiteY12" fmla="*/ 91683 h 128719"/>
                  <a:gd name="connsiteX13" fmla="*/ 0 w 115729"/>
                  <a:gd name="connsiteY13" fmla="*/ 64360 h 128719"/>
                  <a:gd name="connsiteX14" fmla="*/ 16360 w 115729"/>
                  <a:gd name="connsiteY14" fmla="*/ 17001 h 128719"/>
                  <a:gd name="connsiteX15" fmla="*/ 58774 w 115729"/>
                  <a:gd name="connsiteY15" fmla="*/ 0 h 128719"/>
                  <a:gd name="connsiteX16" fmla="*/ 99976 w 115729"/>
                  <a:gd name="connsiteY16" fmla="*/ 17001 h 128719"/>
                  <a:gd name="connsiteX17" fmla="*/ 115730 w 115729"/>
                  <a:gd name="connsiteY17" fmla="*/ 64360 h 128719"/>
                  <a:gd name="connsiteX18" fmla="*/ 99976 w 115729"/>
                  <a:gd name="connsiteY18" fmla="*/ 111719 h 128719"/>
                  <a:gd name="connsiteX19" fmla="*/ 58774 w 115729"/>
                  <a:gd name="connsiteY19" fmla="*/ 128720 h 12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5729" h="128719">
                    <a:moveTo>
                      <a:pt x="58774" y="109898"/>
                    </a:moveTo>
                    <a:cubicBezTo>
                      <a:pt x="70892" y="109898"/>
                      <a:pt x="79981" y="105647"/>
                      <a:pt x="86646" y="97754"/>
                    </a:cubicBezTo>
                    <a:cubicBezTo>
                      <a:pt x="92705" y="89254"/>
                      <a:pt x="95735" y="78325"/>
                      <a:pt x="95735" y="63753"/>
                    </a:cubicBezTo>
                    <a:cubicBezTo>
                      <a:pt x="95735" y="49181"/>
                      <a:pt x="92705" y="38252"/>
                      <a:pt x="86646" y="29751"/>
                    </a:cubicBezTo>
                    <a:cubicBezTo>
                      <a:pt x="80587" y="21858"/>
                      <a:pt x="71498" y="17608"/>
                      <a:pt x="58774" y="17608"/>
                    </a:cubicBezTo>
                    <a:cubicBezTo>
                      <a:pt x="46656" y="17608"/>
                      <a:pt x="37567" y="21858"/>
                      <a:pt x="30902" y="29751"/>
                    </a:cubicBezTo>
                    <a:cubicBezTo>
                      <a:pt x="24237" y="37644"/>
                      <a:pt x="21207" y="49181"/>
                      <a:pt x="21207" y="63753"/>
                    </a:cubicBezTo>
                    <a:cubicBezTo>
                      <a:pt x="21207" y="78325"/>
                      <a:pt x="24843" y="89254"/>
                      <a:pt x="31508" y="97754"/>
                    </a:cubicBezTo>
                    <a:cubicBezTo>
                      <a:pt x="38173" y="106255"/>
                      <a:pt x="47261" y="109898"/>
                      <a:pt x="58774" y="109898"/>
                    </a:cubicBezTo>
                    <a:moveTo>
                      <a:pt x="58774" y="128720"/>
                    </a:moveTo>
                    <a:cubicBezTo>
                      <a:pt x="50291" y="128720"/>
                      <a:pt x="42414" y="127505"/>
                      <a:pt x="35143" y="124470"/>
                    </a:cubicBezTo>
                    <a:cubicBezTo>
                      <a:pt x="27872" y="121434"/>
                      <a:pt x="21813" y="117184"/>
                      <a:pt x="16360" y="112326"/>
                    </a:cubicBezTo>
                    <a:cubicBezTo>
                      <a:pt x="11512" y="106862"/>
                      <a:pt x="7271" y="100183"/>
                      <a:pt x="4241" y="91683"/>
                    </a:cubicBezTo>
                    <a:cubicBezTo>
                      <a:pt x="1212" y="83789"/>
                      <a:pt x="0" y="74682"/>
                      <a:pt x="0" y="64360"/>
                    </a:cubicBezTo>
                    <a:cubicBezTo>
                      <a:pt x="0" y="43716"/>
                      <a:pt x="5453" y="27930"/>
                      <a:pt x="16360" y="17001"/>
                    </a:cubicBezTo>
                    <a:cubicBezTo>
                      <a:pt x="27266" y="6072"/>
                      <a:pt x="41202" y="0"/>
                      <a:pt x="58774" y="0"/>
                    </a:cubicBezTo>
                    <a:cubicBezTo>
                      <a:pt x="75740" y="0"/>
                      <a:pt x="89676" y="5465"/>
                      <a:pt x="99976" y="17001"/>
                    </a:cubicBezTo>
                    <a:cubicBezTo>
                      <a:pt x="110277" y="27930"/>
                      <a:pt x="115730" y="43716"/>
                      <a:pt x="115730" y="64360"/>
                    </a:cubicBezTo>
                    <a:cubicBezTo>
                      <a:pt x="115730" y="84396"/>
                      <a:pt x="110277" y="100183"/>
                      <a:pt x="99976" y="111719"/>
                    </a:cubicBezTo>
                    <a:cubicBezTo>
                      <a:pt x="89676" y="122648"/>
                      <a:pt x="76345" y="128720"/>
                      <a:pt x="58774" y="128720"/>
                    </a:cubicBezTo>
                  </a:path>
                </a:pathLst>
              </a:custGeom>
              <a:solidFill>
                <a:srgbClr val="7F8183"/>
              </a:solidFill>
              <a:ln w="6029" cap="flat">
                <a:noFill/>
                <a:prstDash val="solid"/>
                <a:miter/>
              </a:ln>
            </p:spPr>
            <p:txBody>
              <a:bodyPr rtlCol="0" anchor="ctr"/>
              <a:lstStyle/>
              <a:p>
                <a:endParaRPr lang="x-none" sz="1905"/>
              </a:p>
            </p:txBody>
          </p:sp>
          <p:sp>
            <p:nvSpPr>
              <p:cNvPr id="6" name="Freeform 5">
                <a:extLst>
                  <a:ext uri="{FF2B5EF4-FFF2-40B4-BE49-F238E27FC236}">
                    <a16:creationId xmlns:a16="http://schemas.microsoft.com/office/drawing/2014/main" id="{26B82B9C-C334-8B4F-8B44-53E8A3865E31}"/>
                  </a:ext>
                </a:extLst>
              </p:cNvPr>
              <p:cNvSpPr/>
              <p:nvPr/>
            </p:nvSpPr>
            <p:spPr>
              <a:xfrm>
                <a:off x="690095" y="5474639"/>
                <a:ext cx="97552" cy="123862"/>
              </a:xfrm>
              <a:custGeom>
                <a:avLst/>
                <a:gdLst>
                  <a:gd name="connsiteX0" fmla="*/ 56350 w 97552"/>
                  <a:gd name="connsiteY0" fmla="*/ 69217 h 123862"/>
                  <a:gd name="connsiteX1" fmla="*/ 19995 w 97552"/>
                  <a:gd name="connsiteY1" fmla="*/ 69217 h 123862"/>
                  <a:gd name="connsiteX2" fmla="*/ 19995 w 97552"/>
                  <a:gd name="connsiteY2" fmla="*/ 105647 h 123862"/>
                  <a:gd name="connsiteX3" fmla="*/ 56350 w 97552"/>
                  <a:gd name="connsiteY3" fmla="*/ 105647 h 123862"/>
                  <a:gd name="connsiteX4" fmla="*/ 73316 w 97552"/>
                  <a:gd name="connsiteY4" fmla="*/ 100790 h 123862"/>
                  <a:gd name="connsiteX5" fmla="*/ 78163 w 97552"/>
                  <a:gd name="connsiteY5" fmla="*/ 87432 h 123862"/>
                  <a:gd name="connsiteX6" fmla="*/ 72710 w 97552"/>
                  <a:gd name="connsiteY6" fmla="*/ 73467 h 123862"/>
                  <a:gd name="connsiteX7" fmla="*/ 56350 w 97552"/>
                  <a:gd name="connsiteY7" fmla="*/ 69217 h 123862"/>
                  <a:gd name="connsiteX8" fmla="*/ 52715 w 97552"/>
                  <a:gd name="connsiteY8" fmla="*/ 17608 h 123862"/>
                  <a:gd name="connsiteX9" fmla="*/ 19995 w 97552"/>
                  <a:gd name="connsiteY9" fmla="*/ 17608 h 123862"/>
                  <a:gd name="connsiteX10" fmla="*/ 19995 w 97552"/>
                  <a:gd name="connsiteY10" fmla="*/ 52216 h 123862"/>
                  <a:gd name="connsiteX11" fmla="*/ 54532 w 97552"/>
                  <a:gd name="connsiteY11" fmla="*/ 52216 h 123862"/>
                  <a:gd name="connsiteX12" fmla="*/ 69680 w 97552"/>
                  <a:gd name="connsiteY12" fmla="*/ 47966 h 123862"/>
                  <a:gd name="connsiteX13" fmla="*/ 74528 w 97552"/>
                  <a:gd name="connsiteY13" fmla="*/ 34609 h 123862"/>
                  <a:gd name="connsiteX14" fmla="*/ 69680 w 97552"/>
                  <a:gd name="connsiteY14" fmla="*/ 21251 h 123862"/>
                  <a:gd name="connsiteX15" fmla="*/ 52715 w 97552"/>
                  <a:gd name="connsiteY15" fmla="*/ 17608 h 123862"/>
                  <a:gd name="connsiteX16" fmla="*/ 0 w 97552"/>
                  <a:gd name="connsiteY16" fmla="*/ 123255 h 123862"/>
                  <a:gd name="connsiteX17" fmla="*/ 0 w 97552"/>
                  <a:gd name="connsiteY17" fmla="*/ 0 h 123862"/>
                  <a:gd name="connsiteX18" fmla="*/ 52715 w 97552"/>
                  <a:gd name="connsiteY18" fmla="*/ 0 h 123862"/>
                  <a:gd name="connsiteX19" fmla="*/ 83616 w 97552"/>
                  <a:gd name="connsiteY19" fmla="*/ 8500 h 123862"/>
                  <a:gd name="connsiteX20" fmla="*/ 94523 w 97552"/>
                  <a:gd name="connsiteY20" fmla="*/ 33394 h 123862"/>
                  <a:gd name="connsiteX21" fmla="*/ 90887 w 97552"/>
                  <a:gd name="connsiteY21" fmla="*/ 47966 h 123862"/>
                  <a:gd name="connsiteX22" fmla="*/ 76951 w 97552"/>
                  <a:gd name="connsiteY22" fmla="*/ 59502 h 123862"/>
                  <a:gd name="connsiteX23" fmla="*/ 92705 w 97552"/>
                  <a:gd name="connsiteY23" fmla="*/ 70432 h 123862"/>
                  <a:gd name="connsiteX24" fmla="*/ 97553 w 97552"/>
                  <a:gd name="connsiteY24" fmla="*/ 88647 h 123862"/>
                  <a:gd name="connsiteX25" fmla="*/ 87858 w 97552"/>
                  <a:gd name="connsiteY25" fmla="*/ 114148 h 123862"/>
                  <a:gd name="connsiteX26" fmla="*/ 56350 w 97552"/>
                  <a:gd name="connsiteY26" fmla="*/ 123862 h 123862"/>
                  <a:gd name="connsiteX27" fmla="*/ 0 w 97552"/>
                  <a:gd name="connsiteY27" fmla="*/ 123862 h 123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7552" h="123862">
                    <a:moveTo>
                      <a:pt x="56350" y="69217"/>
                    </a:moveTo>
                    <a:lnTo>
                      <a:pt x="19995" y="69217"/>
                    </a:lnTo>
                    <a:lnTo>
                      <a:pt x="19995" y="105647"/>
                    </a:lnTo>
                    <a:lnTo>
                      <a:pt x="56350" y="105647"/>
                    </a:lnTo>
                    <a:cubicBezTo>
                      <a:pt x="64227" y="105647"/>
                      <a:pt x="69680" y="103826"/>
                      <a:pt x="73316" y="100790"/>
                    </a:cubicBezTo>
                    <a:cubicBezTo>
                      <a:pt x="76345" y="97754"/>
                      <a:pt x="78163" y="93504"/>
                      <a:pt x="78163" y="87432"/>
                    </a:cubicBezTo>
                    <a:cubicBezTo>
                      <a:pt x="78163" y="80753"/>
                      <a:pt x="76345" y="76503"/>
                      <a:pt x="72710" y="73467"/>
                    </a:cubicBezTo>
                    <a:cubicBezTo>
                      <a:pt x="69680" y="71039"/>
                      <a:pt x="64227" y="69217"/>
                      <a:pt x="56350" y="69217"/>
                    </a:cubicBezTo>
                    <a:moveTo>
                      <a:pt x="52715" y="17608"/>
                    </a:moveTo>
                    <a:lnTo>
                      <a:pt x="19995" y="17608"/>
                    </a:lnTo>
                    <a:lnTo>
                      <a:pt x="19995" y="52216"/>
                    </a:lnTo>
                    <a:lnTo>
                      <a:pt x="54532" y="52216"/>
                    </a:lnTo>
                    <a:cubicBezTo>
                      <a:pt x="61198" y="52216"/>
                      <a:pt x="66651" y="51002"/>
                      <a:pt x="69680" y="47966"/>
                    </a:cubicBezTo>
                    <a:cubicBezTo>
                      <a:pt x="73316" y="44930"/>
                      <a:pt x="74528" y="40680"/>
                      <a:pt x="74528" y="34609"/>
                    </a:cubicBezTo>
                    <a:cubicBezTo>
                      <a:pt x="74528" y="28537"/>
                      <a:pt x="72710" y="24287"/>
                      <a:pt x="69680" y="21251"/>
                    </a:cubicBezTo>
                    <a:cubicBezTo>
                      <a:pt x="67257" y="19429"/>
                      <a:pt x="61198" y="17608"/>
                      <a:pt x="52715" y="17608"/>
                    </a:cubicBezTo>
                    <a:moveTo>
                      <a:pt x="0" y="123255"/>
                    </a:moveTo>
                    <a:lnTo>
                      <a:pt x="0" y="0"/>
                    </a:lnTo>
                    <a:lnTo>
                      <a:pt x="52715" y="0"/>
                    </a:lnTo>
                    <a:cubicBezTo>
                      <a:pt x="66045" y="0"/>
                      <a:pt x="76345" y="3036"/>
                      <a:pt x="83616" y="8500"/>
                    </a:cubicBezTo>
                    <a:cubicBezTo>
                      <a:pt x="90887" y="13965"/>
                      <a:pt x="94523" y="22465"/>
                      <a:pt x="94523" y="33394"/>
                    </a:cubicBezTo>
                    <a:cubicBezTo>
                      <a:pt x="94523" y="38252"/>
                      <a:pt x="93311" y="43109"/>
                      <a:pt x="90887" y="47966"/>
                    </a:cubicBezTo>
                    <a:cubicBezTo>
                      <a:pt x="88464" y="52824"/>
                      <a:pt x="84222" y="57074"/>
                      <a:pt x="76951" y="59502"/>
                    </a:cubicBezTo>
                    <a:cubicBezTo>
                      <a:pt x="84222" y="61931"/>
                      <a:pt x="89676" y="65574"/>
                      <a:pt x="92705" y="70432"/>
                    </a:cubicBezTo>
                    <a:cubicBezTo>
                      <a:pt x="95735" y="75289"/>
                      <a:pt x="97553" y="81361"/>
                      <a:pt x="97553" y="88647"/>
                    </a:cubicBezTo>
                    <a:cubicBezTo>
                      <a:pt x="97553" y="98968"/>
                      <a:pt x="94523" y="107469"/>
                      <a:pt x="87858" y="114148"/>
                    </a:cubicBezTo>
                    <a:cubicBezTo>
                      <a:pt x="81193" y="120219"/>
                      <a:pt x="70892" y="123862"/>
                      <a:pt x="56350" y="123862"/>
                    </a:cubicBezTo>
                    <a:lnTo>
                      <a:pt x="0" y="123862"/>
                    </a:lnTo>
                    <a:close/>
                  </a:path>
                </a:pathLst>
              </a:custGeom>
              <a:solidFill>
                <a:srgbClr val="7F8183"/>
              </a:solidFill>
              <a:ln w="6029" cap="flat">
                <a:noFill/>
                <a:prstDash val="solid"/>
                <a:miter/>
              </a:ln>
            </p:spPr>
            <p:txBody>
              <a:bodyPr rtlCol="0" anchor="ctr"/>
              <a:lstStyle/>
              <a:p>
                <a:endParaRPr lang="x-none" sz="1905"/>
              </a:p>
            </p:txBody>
          </p:sp>
          <p:sp>
            <p:nvSpPr>
              <p:cNvPr id="7" name="Freeform 6">
                <a:extLst>
                  <a:ext uri="{FF2B5EF4-FFF2-40B4-BE49-F238E27FC236}">
                    <a16:creationId xmlns:a16="http://schemas.microsoft.com/office/drawing/2014/main" id="{74343383-0ABD-2B40-A082-B3607EEAF702}"/>
                  </a:ext>
                </a:extLst>
              </p:cNvPr>
              <p:cNvSpPr/>
              <p:nvPr/>
            </p:nvSpPr>
            <p:spPr>
              <a:xfrm>
                <a:off x="810673" y="5472818"/>
                <a:ext cx="110276" cy="128112"/>
              </a:xfrm>
              <a:custGeom>
                <a:avLst/>
                <a:gdLst>
                  <a:gd name="connsiteX0" fmla="*/ 57562 w 110276"/>
                  <a:gd name="connsiteY0" fmla="*/ 17001 h 128112"/>
                  <a:gd name="connsiteX1" fmla="*/ 33931 w 110276"/>
                  <a:gd name="connsiteY1" fmla="*/ 26108 h 128112"/>
                  <a:gd name="connsiteX2" fmla="*/ 21813 w 110276"/>
                  <a:gd name="connsiteY2" fmla="*/ 49788 h 128112"/>
                  <a:gd name="connsiteX3" fmla="*/ 90887 w 110276"/>
                  <a:gd name="connsiteY3" fmla="*/ 49788 h 128112"/>
                  <a:gd name="connsiteX4" fmla="*/ 82405 w 110276"/>
                  <a:gd name="connsiteY4" fmla="*/ 26108 h 128112"/>
                  <a:gd name="connsiteX5" fmla="*/ 57562 w 110276"/>
                  <a:gd name="connsiteY5" fmla="*/ 17001 h 128112"/>
                  <a:gd name="connsiteX6" fmla="*/ 110277 w 110276"/>
                  <a:gd name="connsiteY6" fmla="*/ 67396 h 128112"/>
                  <a:gd name="connsiteX7" fmla="*/ 20601 w 110276"/>
                  <a:gd name="connsiteY7" fmla="*/ 67396 h 128112"/>
                  <a:gd name="connsiteX8" fmla="*/ 32114 w 110276"/>
                  <a:gd name="connsiteY8" fmla="*/ 98969 h 128112"/>
                  <a:gd name="connsiteX9" fmla="*/ 58168 w 110276"/>
                  <a:gd name="connsiteY9" fmla="*/ 109897 h 128112"/>
                  <a:gd name="connsiteX10" fmla="*/ 80587 w 110276"/>
                  <a:gd name="connsiteY10" fmla="*/ 103219 h 128112"/>
                  <a:gd name="connsiteX11" fmla="*/ 90887 w 110276"/>
                  <a:gd name="connsiteY11" fmla="*/ 87432 h 128112"/>
                  <a:gd name="connsiteX12" fmla="*/ 110277 w 110276"/>
                  <a:gd name="connsiteY12" fmla="*/ 91075 h 128112"/>
                  <a:gd name="connsiteX13" fmla="*/ 92099 w 110276"/>
                  <a:gd name="connsiteY13" fmla="*/ 118398 h 128112"/>
                  <a:gd name="connsiteX14" fmla="*/ 57562 w 110276"/>
                  <a:gd name="connsiteY14" fmla="*/ 128113 h 128112"/>
                  <a:gd name="connsiteX15" fmla="*/ 15754 w 110276"/>
                  <a:gd name="connsiteY15" fmla="*/ 111112 h 128112"/>
                  <a:gd name="connsiteX16" fmla="*/ 0 w 110276"/>
                  <a:gd name="connsiteY16" fmla="*/ 63753 h 128112"/>
                  <a:gd name="connsiteX17" fmla="*/ 4241 w 110276"/>
                  <a:gd name="connsiteY17" fmla="*/ 36430 h 128112"/>
                  <a:gd name="connsiteX18" fmla="*/ 16360 w 110276"/>
                  <a:gd name="connsiteY18" fmla="*/ 16394 h 128112"/>
                  <a:gd name="connsiteX19" fmla="*/ 34537 w 110276"/>
                  <a:gd name="connsiteY19" fmla="*/ 4250 h 128112"/>
                  <a:gd name="connsiteX20" fmla="*/ 56956 w 110276"/>
                  <a:gd name="connsiteY20" fmla="*/ 0 h 128112"/>
                  <a:gd name="connsiteX21" fmla="*/ 95735 w 110276"/>
                  <a:gd name="connsiteY21" fmla="*/ 15786 h 128112"/>
                  <a:gd name="connsiteX22" fmla="*/ 110277 w 110276"/>
                  <a:gd name="connsiteY22" fmla="*/ 59503 h 128112"/>
                  <a:gd name="connsiteX23" fmla="*/ 110277 w 110276"/>
                  <a:gd name="connsiteY23" fmla="*/ 67396 h 12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0276" h="128112">
                    <a:moveTo>
                      <a:pt x="57562" y="17001"/>
                    </a:moveTo>
                    <a:cubicBezTo>
                      <a:pt x="47867" y="17001"/>
                      <a:pt x="39991" y="20037"/>
                      <a:pt x="33931" y="26108"/>
                    </a:cubicBezTo>
                    <a:cubicBezTo>
                      <a:pt x="27266" y="32180"/>
                      <a:pt x="23631" y="40073"/>
                      <a:pt x="21813" y="49788"/>
                    </a:cubicBezTo>
                    <a:lnTo>
                      <a:pt x="90887" y="49788"/>
                    </a:lnTo>
                    <a:cubicBezTo>
                      <a:pt x="90282" y="40073"/>
                      <a:pt x="87252" y="32180"/>
                      <a:pt x="82405" y="26108"/>
                    </a:cubicBezTo>
                    <a:cubicBezTo>
                      <a:pt x="75740" y="20037"/>
                      <a:pt x="67863" y="17001"/>
                      <a:pt x="57562" y="17001"/>
                    </a:cubicBezTo>
                    <a:moveTo>
                      <a:pt x="110277" y="67396"/>
                    </a:moveTo>
                    <a:lnTo>
                      <a:pt x="20601" y="67396"/>
                    </a:lnTo>
                    <a:cubicBezTo>
                      <a:pt x="21207" y="81361"/>
                      <a:pt x="24843" y="91682"/>
                      <a:pt x="32114" y="98969"/>
                    </a:cubicBezTo>
                    <a:cubicBezTo>
                      <a:pt x="38779" y="106255"/>
                      <a:pt x="47867" y="109897"/>
                      <a:pt x="58168" y="109897"/>
                    </a:cubicBezTo>
                    <a:cubicBezTo>
                      <a:pt x="67863" y="109897"/>
                      <a:pt x="75134" y="107469"/>
                      <a:pt x="80587" y="103219"/>
                    </a:cubicBezTo>
                    <a:cubicBezTo>
                      <a:pt x="86040" y="98969"/>
                      <a:pt x="89070" y="93504"/>
                      <a:pt x="90887" y="87432"/>
                    </a:cubicBezTo>
                    <a:lnTo>
                      <a:pt x="110277" y="91075"/>
                    </a:lnTo>
                    <a:cubicBezTo>
                      <a:pt x="107247" y="102611"/>
                      <a:pt x="101188" y="111719"/>
                      <a:pt x="92099" y="118398"/>
                    </a:cubicBezTo>
                    <a:cubicBezTo>
                      <a:pt x="83011" y="125077"/>
                      <a:pt x="71498" y="128113"/>
                      <a:pt x="57562" y="128113"/>
                    </a:cubicBezTo>
                    <a:cubicBezTo>
                      <a:pt x="39991" y="128113"/>
                      <a:pt x="26054" y="122648"/>
                      <a:pt x="15754" y="111112"/>
                    </a:cubicBezTo>
                    <a:cubicBezTo>
                      <a:pt x="5453" y="99576"/>
                      <a:pt x="0" y="83789"/>
                      <a:pt x="0" y="63753"/>
                    </a:cubicBezTo>
                    <a:cubicBezTo>
                      <a:pt x="0" y="53431"/>
                      <a:pt x="1212" y="44323"/>
                      <a:pt x="4241" y="36430"/>
                    </a:cubicBezTo>
                    <a:cubicBezTo>
                      <a:pt x="7271" y="28537"/>
                      <a:pt x="11512" y="21858"/>
                      <a:pt x="16360" y="16394"/>
                    </a:cubicBezTo>
                    <a:cubicBezTo>
                      <a:pt x="21207" y="10929"/>
                      <a:pt x="27872" y="6679"/>
                      <a:pt x="34537" y="4250"/>
                    </a:cubicBezTo>
                    <a:cubicBezTo>
                      <a:pt x="41808" y="1214"/>
                      <a:pt x="49079" y="0"/>
                      <a:pt x="56956" y="0"/>
                    </a:cubicBezTo>
                    <a:cubicBezTo>
                      <a:pt x="73316" y="0"/>
                      <a:pt x="86040" y="5464"/>
                      <a:pt x="95735" y="15786"/>
                    </a:cubicBezTo>
                    <a:cubicBezTo>
                      <a:pt x="105429" y="26108"/>
                      <a:pt x="110277" y="40680"/>
                      <a:pt x="110277" y="59503"/>
                    </a:cubicBezTo>
                    <a:lnTo>
                      <a:pt x="110277" y="67396"/>
                    </a:lnTo>
                    <a:close/>
                  </a:path>
                </a:pathLst>
              </a:custGeom>
              <a:solidFill>
                <a:srgbClr val="7F8183"/>
              </a:solidFill>
              <a:ln w="6029" cap="flat">
                <a:noFill/>
                <a:prstDash val="solid"/>
                <a:miter/>
              </a:ln>
            </p:spPr>
            <p:txBody>
              <a:bodyPr rtlCol="0" anchor="ctr"/>
              <a:lstStyle/>
              <a:p>
                <a:endParaRPr lang="x-none" sz="1905"/>
              </a:p>
            </p:txBody>
          </p:sp>
          <p:sp>
            <p:nvSpPr>
              <p:cNvPr id="13" name="Freeform 12">
                <a:extLst>
                  <a:ext uri="{FF2B5EF4-FFF2-40B4-BE49-F238E27FC236}">
                    <a16:creationId xmlns:a16="http://schemas.microsoft.com/office/drawing/2014/main" id="{9B15B812-661C-8541-A3A5-7627839E7AD2}"/>
                  </a:ext>
                </a:extLst>
              </p:cNvPr>
              <p:cNvSpPr/>
              <p:nvPr/>
            </p:nvSpPr>
            <p:spPr>
              <a:xfrm>
                <a:off x="951245" y="5471603"/>
                <a:ext cx="116335" cy="176686"/>
              </a:xfrm>
              <a:custGeom>
                <a:avLst/>
                <a:gdLst>
                  <a:gd name="connsiteX0" fmla="*/ 20601 w 116335"/>
                  <a:gd name="connsiteY0" fmla="*/ 74682 h 176686"/>
                  <a:gd name="connsiteX1" fmla="*/ 32114 w 116335"/>
                  <a:gd name="connsiteY1" fmla="*/ 100790 h 176686"/>
                  <a:gd name="connsiteX2" fmla="*/ 59380 w 116335"/>
                  <a:gd name="connsiteY2" fmla="*/ 110505 h 176686"/>
                  <a:gd name="connsiteX3" fmla="*/ 86040 w 116335"/>
                  <a:gd name="connsiteY3" fmla="*/ 97754 h 176686"/>
                  <a:gd name="connsiteX4" fmla="*/ 95735 w 116335"/>
                  <a:gd name="connsiteY4" fmla="*/ 63753 h 176686"/>
                  <a:gd name="connsiteX5" fmla="*/ 86040 w 116335"/>
                  <a:gd name="connsiteY5" fmla="*/ 30966 h 176686"/>
                  <a:gd name="connsiteX6" fmla="*/ 58774 w 116335"/>
                  <a:gd name="connsiteY6" fmla="*/ 18215 h 176686"/>
                  <a:gd name="connsiteX7" fmla="*/ 44838 w 116335"/>
                  <a:gd name="connsiteY7" fmla="*/ 20644 h 176686"/>
                  <a:gd name="connsiteX8" fmla="*/ 32719 w 116335"/>
                  <a:gd name="connsiteY8" fmla="*/ 28537 h 176686"/>
                  <a:gd name="connsiteX9" fmla="*/ 24237 w 116335"/>
                  <a:gd name="connsiteY9" fmla="*/ 41287 h 176686"/>
                  <a:gd name="connsiteX10" fmla="*/ 21207 w 116335"/>
                  <a:gd name="connsiteY10" fmla="*/ 58895 h 176686"/>
                  <a:gd name="connsiteX11" fmla="*/ 21207 w 116335"/>
                  <a:gd name="connsiteY11" fmla="*/ 74682 h 176686"/>
                  <a:gd name="connsiteX12" fmla="*/ 0 w 116335"/>
                  <a:gd name="connsiteY12" fmla="*/ 176686 h 176686"/>
                  <a:gd name="connsiteX13" fmla="*/ 0 w 116335"/>
                  <a:gd name="connsiteY13" fmla="*/ 3036 h 176686"/>
                  <a:gd name="connsiteX14" fmla="*/ 20601 w 116335"/>
                  <a:gd name="connsiteY14" fmla="*/ 3036 h 176686"/>
                  <a:gd name="connsiteX15" fmla="*/ 20601 w 116335"/>
                  <a:gd name="connsiteY15" fmla="*/ 19429 h 176686"/>
                  <a:gd name="connsiteX16" fmla="*/ 38779 w 116335"/>
                  <a:gd name="connsiteY16" fmla="*/ 4857 h 176686"/>
                  <a:gd name="connsiteX17" fmla="*/ 62409 w 116335"/>
                  <a:gd name="connsiteY17" fmla="*/ 0 h 176686"/>
                  <a:gd name="connsiteX18" fmla="*/ 83616 w 116335"/>
                  <a:gd name="connsiteY18" fmla="*/ 4250 h 176686"/>
                  <a:gd name="connsiteX19" fmla="*/ 100582 w 116335"/>
                  <a:gd name="connsiteY19" fmla="*/ 16394 h 176686"/>
                  <a:gd name="connsiteX20" fmla="*/ 112094 w 116335"/>
                  <a:gd name="connsiteY20" fmla="*/ 36430 h 176686"/>
                  <a:gd name="connsiteX21" fmla="*/ 116336 w 116335"/>
                  <a:gd name="connsiteY21" fmla="*/ 63753 h 176686"/>
                  <a:gd name="connsiteX22" fmla="*/ 100582 w 116335"/>
                  <a:gd name="connsiteY22" fmla="*/ 111719 h 176686"/>
                  <a:gd name="connsiteX23" fmla="*/ 58774 w 116335"/>
                  <a:gd name="connsiteY23" fmla="*/ 129327 h 176686"/>
                  <a:gd name="connsiteX24" fmla="*/ 36961 w 116335"/>
                  <a:gd name="connsiteY24" fmla="*/ 125077 h 176686"/>
                  <a:gd name="connsiteX25" fmla="*/ 20601 w 116335"/>
                  <a:gd name="connsiteY25" fmla="*/ 112933 h 176686"/>
                  <a:gd name="connsiteX26" fmla="*/ 20601 w 116335"/>
                  <a:gd name="connsiteY26" fmla="*/ 176686 h 176686"/>
                  <a:gd name="connsiteX27" fmla="*/ 0 w 116335"/>
                  <a:gd name="connsiteY27" fmla="*/ 176686 h 17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6335" h="176686">
                    <a:moveTo>
                      <a:pt x="20601" y="74682"/>
                    </a:moveTo>
                    <a:cubicBezTo>
                      <a:pt x="20601" y="86218"/>
                      <a:pt x="24237" y="94718"/>
                      <a:pt x="32114" y="100790"/>
                    </a:cubicBezTo>
                    <a:cubicBezTo>
                      <a:pt x="39990" y="106862"/>
                      <a:pt x="49079" y="110505"/>
                      <a:pt x="59380" y="110505"/>
                    </a:cubicBezTo>
                    <a:cubicBezTo>
                      <a:pt x="70892" y="110505"/>
                      <a:pt x="79375" y="106255"/>
                      <a:pt x="86040" y="97754"/>
                    </a:cubicBezTo>
                    <a:cubicBezTo>
                      <a:pt x="92705" y="89254"/>
                      <a:pt x="95735" y="78325"/>
                      <a:pt x="95735" y="63753"/>
                    </a:cubicBezTo>
                    <a:cubicBezTo>
                      <a:pt x="95735" y="50395"/>
                      <a:pt x="92705" y="39466"/>
                      <a:pt x="86040" y="30966"/>
                    </a:cubicBezTo>
                    <a:cubicBezTo>
                      <a:pt x="79375" y="22465"/>
                      <a:pt x="70286" y="18215"/>
                      <a:pt x="58774" y="18215"/>
                    </a:cubicBezTo>
                    <a:cubicBezTo>
                      <a:pt x="53927" y="18215"/>
                      <a:pt x="49079" y="18822"/>
                      <a:pt x="44838" y="20644"/>
                    </a:cubicBezTo>
                    <a:cubicBezTo>
                      <a:pt x="40596" y="22465"/>
                      <a:pt x="36355" y="24894"/>
                      <a:pt x="32719" y="28537"/>
                    </a:cubicBezTo>
                    <a:cubicBezTo>
                      <a:pt x="29084" y="32180"/>
                      <a:pt x="26054" y="36430"/>
                      <a:pt x="24237" y="41287"/>
                    </a:cubicBezTo>
                    <a:cubicBezTo>
                      <a:pt x="21813" y="46752"/>
                      <a:pt x="21207" y="52216"/>
                      <a:pt x="21207" y="58895"/>
                    </a:cubicBezTo>
                    <a:lnTo>
                      <a:pt x="21207" y="74682"/>
                    </a:lnTo>
                    <a:close/>
                    <a:moveTo>
                      <a:pt x="0" y="176686"/>
                    </a:moveTo>
                    <a:lnTo>
                      <a:pt x="0" y="3036"/>
                    </a:lnTo>
                    <a:lnTo>
                      <a:pt x="20601" y="3036"/>
                    </a:lnTo>
                    <a:lnTo>
                      <a:pt x="20601" y="19429"/>
                    </a:lnTo>
                    <a:cubicBezTo>
                      <a:pt x="24843" y="13358"/>
                      <a:pt x="30902" y="8500"/>
                      <a:pt x="38779" y="4857"/>
                    </a:cubicBezTo>
                    <a:cubicBezTo>
                      <a:pt x="46050" y="1821"/>
                      <a:pt x="53927" y="0"/>
                      <a:pt x="62409" y="0"/>
                    </a:cubicBezTo>
                    <a:cubicBezTo>
                      <a:pt x="69680" y="0"/>
                      <a:pt x="76951" y="1214"/>
                      <a:pt x="83616" y="4250"/>
                    </a:cubicBezTo>
                    <a:cubicBezTo>
                      <a:pt x="90282" y="6679"/>
                      <a:pt x="95735" y="10929"/>
                      <a:pt x="100582" y="16394"/>
                    </a:cubicBezTo>
                    <a:cubicBezTo>
                      <a:pt x="105429" y="21858"/>
                      <a:pt x="109671" y="28537"/>
                      <a:pt x="112094" y="36430"/>
                    </a:cubicBezTo>
                    <a:cubicBezTo>
                      <a:pt x="115124" y="44323"/>
                      <a:pt x="116336" y="53431"/>
                      <a:pt x="116336" y="63753"/>
                    </a:cubicBezTo>
                    <a:cubicBezTo>
                      <a:pt x="116336" y="84396"/>
                      <a:pt x="110883" y="100183"/>
                      <a:pt x="100582" y="111719"/>
                    </a:cubicBezTo>
                    <a:cubicBezTo>
                      <a:pt x="90282" y="123255"/>
                      <a:pt x="76345" y="129327"/>
                      <a:pt x="58774" y="129327"/>
                    </a:cubicBezTo>
                    <a:cubicBezTo>
                      <a:pt x="50897" y="129327"/>
                      <a:pt x="43626" y="128113"/>
                      <a:pt x="36961" y="125077"/>
                    </a:cubicBezTo>
                    <a:cubicBezTo>
                      <a:pt x="30296" y="122041"/>
                      <a:pt x="24843" y="118398"/>
                      <a:pt x="20601" y="112933"/>
                    </a:cubicBezTo>
                    <a:lnTo>
                      <a:pt x="20601" y="176686"/>
                    </a:lnTo>
                    <a:lnTo>
                      <a:pt x="0" y="176686"/>
                    </a:lnTo>
                    <a:close/>
                  </a:path>
                </a:pathLst>
              </a:custGeom>
              <a:solidFill>
                <a:srgbClr val="7F8183"/>
              </a:solidFill>
              <a:ln w="6029" cap="flat">
                <a:noFill/>
                <a:prstDash val="solid"/>
                <a:miter/>
              </a:ln>
            </p:spPr>
            <p:txBody>
              <a:bodyPr rtlCol="0" anchor="ctr"/>
              <a:lstStyle/>
              <a:p>
                <a:endParaRPr lang="x-none" sz="1905"/>
              </a:p>
            </p:txBody>
          </p:sp>
        </p:grpSp>
        <p:sp>
          <p:nvSpPr>
            <p:cNvPr id="14" name="Freeform 13">
              <a:extLst>
                <a:ext uri="{FF2B5EF4-FFF2-40B4-BE49-F238E27FC236}">
                  <a16:creationId xmlns:a16="http://schemas.microsoft.com/office/drawing/2014/main" id="{68E3F17D-9289-8743-B858-55A7CC94942D}"/>
                </a:ext>
              </a:extLst>
            </p:cNvPr>
            <p:cNvSpPr/>
            <p:nvPr/>
          </p:nvSpPr>
          <p:spPr>
            <a:xfrm>
              <a:off x="1098483" y="5474639"/>
              <a:ext cx="161779" cy="123255"/>
            </a:xfrm>
            <a:custGeom>
              <a:avLst/>
              <a:gdLst>
                <a:gd name="connsiteX0" fmla="*/ 161780 w 161779"/>
                <a:gd name="connsiteY0" fmla="*/ 0 h 123255"/>
                <a:gd name="connsiteX1" fmla="*/ 161780 w 161779"/>
                <a:gd name="connsiteY1" fmla="*/ 123255 h 123255"/>
                <a:gd name="connsiteX2" fmla="*/ 0 w 161779"/>
                <a:gd name="connsiteY2" fmla="*/ 123255 h 123255"/>
                <a:gd name="connsiteX3" fmla="*/ 0 w 161779"/>
                <a:gd name="connsiteY3" fmla="*/ 0 h 123255"/>
                <a:gd name="connsiteX4" fmla="*/ 20601 w 161779"/>
                <a:gd name="connsiteY4" fmla="*/ 0 h 123255"/>
                <a:gd name="connsiteX5" fmla="*/ 20601 w 161779"/>
                <a:gd name="connsiteY5" fmla="*/ 104433 h 123255"/>
                <a:gd name="connsiteX6" fmla="*/ 70892 w 161779"/>
                <a:gd name="connsiteY6" fmla="*/ 104433 h 123255"/>
                <a:gd name="connsiteX7" fmla="*/ 70892 w 161779"/>
                <a:gd name="connsiteY7" fmla="*/ 0 h 123255"/>
                <a:gd name="connsiteX8" fmla="*/ 90887 w 161779"/>
                <a:gd name="connsiteY8" fmla="*/ 0 h 123255"/>
                <a:gd name="connsiteX9" fmla="*/ 90887 w 161779"/>
                <a:gd name="connsiteY9" fmla="*/ 104433 h 123255"/>
                <a:gd name="connsiteX10" fmla="*/ 141178 w 161779"/>
                <a:gd name="connsiteY10" fmla="*/ 104433 h 123255"/>
                <a:gd name="connsiteX11" fmla="*/ 141178 w 161779"/>
                <a:gd name="connsiteY11" fmla="*/ 0 h 12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779" h="123255">
                  <a:moveTo>
                    <a:pt x="161780" y="0"/>
                  </a:moveTo>
                  <a:lnTo>
                    <a:pt x="161780" y="123255"/>
                  </a:lnTo>
                  <a:lnTo>
                    <a:pt x="0" y="123255"/>
                  </a:lnTo>
                  <a:lnTo>
                    <a:pt x="0" y="0"/>
                  </a:lnTo>
                  <a:lnTo>
                    <a:pt x="20601" y="0"/>
                  </a:lnTo>
                  <a:lnTo>
                    <a:pt x="20601" y="104433"/>
                  </a:lnTo>
                  <a:lnTo>
                    <a:pt x="70892" y="104433"/>
                  </a:lnTo>
                  <a:lnTo>
                    <a:pt x="70892" y="0"/>
                  </a:lnTo>
                  <a:lnTo>
                    <a:pt x="90887" y="0"/>
                  </a:lnTo>
                  <a:lnTo>
                    <a:pt x="90887" y="104433"/>
                  </a:lnTo>
                  <a:lnTo>
                    <a:pt x="141178" y="104433"/>
                  </a:lnTo>
                  <a:lnTo>
                    <a:pt x="141178" y="0"/>
                  </a:lnTo>
                  <a:close/>
                </a:path>
              </a:pathLst>
            </a:custGeom>
            <a:solidFill>
              <a:srgbClr val="7F8183"/>
            </a:solidFill>
            <a:ln w="6029" cap="flat">
              <a:noFill/>
              <a:prstDash val="solid"/>
              <a:miter/>
            </a:ln>
          </p:spPr>
          <p:txBody>
            <a:bodyPr rtlCol="0" anchor="ctr"/>
            <a:lstStyle/>
            <a:p>
              <a:endParaRPr lang="x-none" sz="1905"/>
            </a:p>
          </p:txBody>
        </p:sp>
        <p:sp>
          <p:nvSpPr>
            <p:cNvPr id="16" name="Freeform 15">
              <a:extLst>
                <a:ext uri="{FF2B5EF4-FFF2-40B4-BE49-F238E27FC236}">
                  <a16:creationId xmlns:a16="http://schemas.microsoft.com/office/drawing/2014/main" id="{654E1483-9F2B-AC4E-93A0-547C66756421}"/>
                </a:ext>
              </a:extLst>
            </p:cNvPr>
            <p:cNvSpPr/>
            <p:nvPr/>
          </p:nvSpPr>
          <p:spPr>
            <a:xfrm>
              <a:off x="1290558" y="5472818"/>
              <a:ext cx="110882" cy="128112"/>
            </a:xfrm>
            <a:custGeom>
              <a:avLst/>
              <a:gdLst>
                <a:gd name="connsiteX0" fmla="*/ 57562 w 110882"/>
                <a:gd name="connsiteY0" fmla="*/ 17001 h 128112"/>
                <a:gd name="connsiteX1" fmla="*/ 33931 w 110882"/>
                <a:gd name="connsiteY1" fmla="*/ 26108 h 128112"/>
                <a:gd name="connsiteX2" fmla="*/ 21813 w 110882"/>
                <a:gd name="connsiteY2" fmla="*/ 49788 h 128112"/>
                <a:gd name="connsiteX3" fmla="*/ 90887 w 110882"/>
                <a:gd name="connsiteY3" fmla="*/ 49788 h 128112"/>
                <a:gd name="connsiteX4" fmla="*/ 82405 w 110882"/>
                <a:gd name="connsiteY4" fmla="*/ 26108 h 128112"/>
                <a:gd name="connsiteX5" fmla="*/ 57562 w 110882"/>
                <a:gd name="connsiteY5" fmla="*/ 17001 h 128112"/>
                <a:gd name="connsiteX6" fmla="*/ 110883 w 110882"/>
                <a:gd name="connsiteY6" fmla="*/ 67396 h 128112"/>
                <a:gd name="connsiteX7" fmla="*/ 20601 w 110882"/>
                <a:gd name="connsiteY7" fmla="*/ 67396 h 128112"/>
                <a:gd name="connsiteX8" fmla="*/ 32114 w 110882"/>
                <a:gd name="connsiteY8" fmla="*/ 98969 h 128112"/>
                <a:gd name="connsiteX9" fmla="*/ 58168 w 110882"/>
                <a:gd name="connsiteY9" fmla="*/ 109897 h 128112"/>
                <a:gd name="connsiteX10" fmla="*/ 80587 w 110882"/>
                <a:gd name="connsiteY10" fmla="*/ 103219 h 128112"/>
                <a:gd name="connsiteX11" fmla="*/ 90887 w 110882"/>
                <a:gd name="connsiteY11" fmla="*/ 87432 h 128112"/>
                <a:gd name="connsiteX12" fmla="*/ 110277 w 110882"/>
                <a:gd name="connsiteY12" fmla="*/ 91075 h 128112"/>
                <a:gd name="connsiteX13" fmla="*/ 92099 w 110882"/>
                <a:gd name="connsiteY13" fmla="*/ 118398 h 128112"/>
                <a:gd name="connsiteX14" fmla="*/ 57562 w 110882"/>
                <a:gd name="connsiteY14" fmla="*/ 128113 h 128112"/>
                <a:gd name="connsiteX15" fmla="*/ 15754 w 110882"/>
                <a:gd name="connsiteY15" fmla="*/ 111112 h 128112"/>
                <a:gd name="connsiteX16" fmla="*/ 0 w 110882"/>
                <a:gd name="connsiteY16" fmla="*/ 63753 h 128112"/>
                <a:gd name="connsiteX17" fmla="*/ 4241 w 110882"/>
                <a:gd name="connsiteY17" fmla="*/ 36430 h 128112"/>
                <a:gd name="connsiteX18" fmla="*/ 16360 w 110882"/>
                <a:gd name="connsiteY18" fmla="*/ 16394 h 128112"/>
                <a:gd name="connsiteX19" fmla="*/ 34537 w 110882"/>
                <a:gd name="connsiteY19" fmla="*/ 4250 h 128112"/>
                <a:gd name="connsiteX20" fmla="*/ 56956 w 110882"/>
                <a:gd name="connsiteY20" fmla="*/ 0 h 128112"/>
                <a:gd name="connsiteX21" fmla="*/ 95735 w 110882"/>
                <a:gd name="connsiteY21" fmla="*/ 15786 h 128112"/>
                <a:gd name="connsiteX22" fmla="*/ 110277 w 110882"/>
                <a:gd name="connsiteY22" fmla="*/ 59503 h 128112"/>
                <a:gd name="connsiteX23" fmla="*/ 110277 w 110882"/>
                <a:gd name="connsiteY23" fmla="*/ 67396 h 12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0882" h="128112">
                  <a:moveTo>
                    <a:pt x="57562" y="17001"/>
                  </a:moveTo>
                  <a:cubicBezTo>
                    <a:pt x="47867" y="17001"/>
                    <a:pt x="39991" y="20037"/>
                    <a:pt x="33931" y="26108"/>
                  </a:cubicBezTo>
                  <a:cubicBezTo>
                    <a:pt x="27266" y="32180"/>
                    <a:pt x="23631" y="40073"/>
                    <a:pt x="21813" y="49788"/>
                  </a:cubicBezTo>
                  <a:lnTo>
                    <a:pt x="90887" y="49788"/>
                  </a:lnTo>
                  <a:cubicBezTo>
                    <a:pt x="90282" y="40073"/>
                    <a:pt x="87252" y="32180"/>
                    <a:pt x="82405" y="26108"/>
                  </a:cubicBezTo>
                  <a:cubicBezTo>
                    <a:pt x="76345" y="20037"/>
                    <a:pt x="67863" y="17001"/>
                    <a:pt x="57562" y="17001"/>
                  </a:cubicBezTo>
                  <a:moveTo>
                    <a:pt x="110883" y="67396"/>
                  </a:moveTo>
                  <a:lnTo>
                    <a:pt x="20601" y="67396"/>
                  </a:lnTo>
                  <a:cubicBezTo>
                    <a:pt x="21207" y="81361"/>
                    <a:pt x="24843" y="91682"/>
                    <a:pt x="32114" y="98969"/>
                  </a:cubicBezTo>
                  <a:cubicBezTo>
                    <a:pt x="38779" y="106255"/>
                    <a:pt x="47867" y="109897"/>
                    <a:pt x="58168" y="109897"/>
                  </a:cubicBezTo>
                  <a:cubicBezTo>
                    <a:pt x="67863" y="109897"/>
                    <a:pt x="75134" y="107469"/>
                    <a:pt x="80587" y="103219"/>
                  </a:cubicBezTo>
                  <a:cubicBezTo>
                    <a:pt x="86040" y="98969"/>
                    <a:pt x="89070" y="93504"/>
                    <a:pt x="90887" y="87432"/>
                  </a:cubicBezTo>
                  <a:lnTo>
                    <a:pt x="110277" y="91075"/>
                  </a:lnTo>
                  <a:cubicBezTo>
                    <a:pt x="107247" y="102611"/>
                    <a:pt x="101188" y="111719"/>
                    <a:pt x="92099" y="118398"/>
                  </a:cubicBezTo>
                  <a:cubicBezTo>
                    <a:pt x="83011" y="125077"/>
                    <a:pt x="71498" y="128113"/>
                    <a:pt x="57562" y="128113"/>
                  </a:cubicBezTo>
                  <a:cubicBezTo>
                    <a:pt x="39991" y="128113"/>
                    <a:pt x="26054" y="122648"/>
                    <a:pt x="15754" y="111112"/>
                  </a:cubicBezTo>
                  <a:cubicBezTo>
                    <a:pt x="5453" y="99576"/>
                    <a:pt x="0" y="83789"/>
                    <a:pt x="0" y="63753"/>
                  </a:cubicBezTo>
                  <a:cubicBezTo>
                    <a:pt x="0" y="53431"/>
                    <a:pt x="1212" y="44323"/>
                    <a:pt x="4241" y="36430"/>
                  </a:cubicBezTo>
                  <a:cubicBezTo>
                    <a:pt x="7271" y="28537"/>
                    <a:pt x="11512" y="21858"/>
                    <a:pt x="16360" y="16394"/>
                  </a:cubicBezTo>
                  <a:cubicBezTo>
                    <a:pt x="21207" y="10929"/>
                    <a:pt x="27872" y="6679"/>
                    <a:pt x="34537" y="4250"/>
                  </a:cubicBezTo>
                  <a:cubicBezTo>
                    <a:pt x="41808" y="1214"/>
                    <a:pt x="49079" y="0"/>
                    <a:pt x="56956" y="0"/>
                  </a:cubicBezTo>
                  <a:cubicBezTo>
                    <a:pt x="73316" y="0"/>
                    <a:pt x="86040" y="5464"/>
                    <a:pt x="95735" y="15786"/>
                  </a:cubicBezTo>
                  <a:cubicBezTo>
                    <a:pt x="105429" y="26108"/>
                    <a:pt x="110277" y="40680"/>
                    <a:pt x="110277" y="59503"/>
                  </a:cubicBezTo>
                  <a:lnTo>
                    <a:pt x="110277" y="67396"/>
                  </a:lnTo>
                  <a:close/>
                </a:path>
              </a:pathLst>
            </a:custGeom>
            <a:solidFill>
              <a:srgbClr val="7F8183"/>
            </a:solidFill>
            <a:ln w="6029" cap="flat">
              <a:noFill/>
              <a:prstDash val="solid"/>
              <a:miter/>
            </a:ln>
          </p:spPr>
          <p:txBody>
            <a:bodyPr rtlCol="0" anchor="ctr"/>
            <a:lstStyle/>
            <a:p>
              <a:endParaRPr lang="x-none" sz="1905"/>
            </a:p>
          </p:txBody>
        </p:sp>
        <p:sp>
          <p:nvSpPr>
            <p:cNvPr id="20" name="Freeform 19">
              <a:extLst>
                <a:ext uri="{FF2B5EF4-FFF2-40B4-BE49-F238E27FC236}">
                  <a16:creationId xmlns:a16="http://schemas.microsoft.com/office/drawing/2014/main" id="{451C6711-C525-4548-BB5B-1E5B822DDE63}"/>
                </a:ext>
              </a:extLst>
            </p:cNvPr>
            <p:cNvSpPr/>
            <p:nvPr/>
          </p:nvSpPr>
          <p:spPr>
            <a:xfrm>
              <a:off x="1431131" y="5474639"/>
              <a:ext cx="106035" cy="123255"/>
            </a:xfrm>
            <a:custGeom>
              <a:avLst/>
              <a:gdLst>
                <a:gd name="connsiteX0" fmla="*/ 0 w 106035"/>
                <a:gd name="connsiteY0" fmla="*/ 123255 h 123255"/>
                <a:gd name="connsiteX1" fmla="*/ 0 w 106035"/>
                <a:gd name="connsiteY1" fmla="*/ 0 h 123255"/>
                <a:gd name="connsiteX2" fmla="*/ 20601 w 106035"/>
                <a:gd name="connsiteY2" fmla="*/ 0 h 123255"/>
                <a:gd name="connsiteX3" fmla="*/ 20601 w 106035"/>
                <a:gd name="connsiteY3" fmla="*/ 50395 h 123255"/>
                <a:gd name="connsiteX4" fmla="*/ 85434 w 106035"/>
                <a:gd name="connsiteY4" fmla="*/ 50395 h 123255"/>
                <a:gd name="connsiteX5" fmla="*/ 85434 w 106035"/>
                <a:gd name="connsiteY5" fmla="*/ 0 h 123255"/>
                <a:gd name="connsiteX6" fmla="*/ 106035 w 106035"/>
                <a:gd name="connsiteY6" fmla="*/ 0 h 123255"/>
                <a:gd name="connsiteX7" fmla="*/ 106035 w 106035"/>
                <a:gd name="connsiteY7" fmla="*/ 123255 h 123255"/>
                <a:gd name="connsiteX8" fmla="*/ 85434 w 106035"/>
                <a:gd name="connsiteY8" fmla="*/ 123255 h 123255"/>
                <a:gd name="connsiteX9" fmla="*/ 85434 w 106035"/>
                <a:gd name="connsiteY9" fmla="*/ 69824 h 123255"/>
                <a:gd name="connsiteX10" fmla="*/ 20601 w 106035"/>
                <a:gd name="connsiteY10" fmla="*/ 69824 h 123255"/>
                <a:gd name="connsiteX11" fmla="*/ 20601 w 106035"/>
                <a:gd name="connsiteY11" fmla="*/ 123255 h 12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035" h="123255">
                  <a:moveTo>
                    <a:pt x="0" y="123255"/>
                  </a:moveTo>
                  <a:lnTo>
                    <a:pt x="0" y="0"/>
                  </a:lnTo>
                  <a:lnTo>
                    <a:pt x="20601" y="0"/>
                  </a:lnTo>
                  <a:lnTo>
                    <a:pt x="20601" y="50395"/>
                  </a:lnTo>
                  <a:lnTo>
                    <a:pt x="85434" y="50395"/>
                  </a:lnTo>
                  <a:lnTo>
                    <a:pt x="85434" y="0"/>
                  </a:lnTo>
                  <a:lnTo>
                    <a:pt x="106035" y="0"/>
                  </a:lnTo>
                  <a:lnTo>
                    <a:pt x="106035" y="123255"/>
                  </a:lnTo>
                  <a:lnTo>
                    <a:pt x="85434" y="123255"/>
                  </a:lnTo>
                  <a:lnTo>
                    <a:pt x="85434" y="69824"/>
                  </a:lnTo>
                  <a:lnTo>
                    <a:pt x="20601" y="69824"/>
                  </a:lnTo>
                  <a:lnTo>
                    <a:pt x="20601" y="123255"/>
                  </a:lnTo>
                  <a:close/>
                </a:path>
              </a:pathLst>
            </a:custGeom>
            <a:solidFill>
              <a:srgbClr val="7F8183"/>
            </a:solidFill>
            <a:ln w="6029" cap="flat">
              <a:noFill/>
              <a:prstDash val="solid"/>
              <a:miter/>
            </a:ln>
          </p:spPr>
          <p:txBody>
            <a:bodyPr rtlCol="0" anchor="ctr"/>
            <a:lstStyle/>
            <a:p>
              <a:endParaRPr lang="x-none" sz="1905"/>
            </a:p>
          </p:txBody>
        </p:sp>
        <p:sp>
          <p:nvSpPr>
            <p:cNvPr id="21" name="Freeform 20">
              <a:extLst>
                <a:ext uri="{FF2B5EF4-FFF2-40B4-BE49-F238E27FC236}">
                  <a16:creationId xmlns:a16="http://schemas.microsoft.com/office/drawing/2014/main" id="{A508021A-96C6-BE48-A295-51199599BC66}"/>
                </a:ext>
              </a:extLst>
            </p:cNvPr>
            <p:cNvSpPr/>
            <p:nvPr/>
          </p:nvSpPr>
          <p:spPr>
            <a:xfrm>
              <a:off x="1568674" y="5471603"/>
              <a:ext cx="109064" cy="128719"/>
            </a:xfrm>
            <a:custGeom>
              <a:avLst/>
              <a:gdLst>
                <a:gd name="connsiteX0" fmla="*/ 89676 w 109064"/>
                <a:gd name="connsiteY0" fmla="*/ 86218 h 128719"/>
                <a:gd name="connsiteX1" fmla="*/ 109065 w 109064"/>
                <a:gd name="connsiteY1" fmla="*/ 89254 h 128719"/>
                <a:gd name="connsiteX2" fmla="*/ 92705 w 109064"/>
                <a:gd name="connsiteY2" fmla="*/ 117183 h 128719"/>
                <a:gd name="connsiteX3" fmla="*/ 56956 w 109064"/>
                <a:gd name="connsiteY3" fmla="*/ 128720 h 128719"/>
                <a:gd name="connsiteX4" fmla="*/ 15754 w 109064"/>
                <a:gd name="connsiteY4" fmla="*/ 112326 h 128719"/>
                <a:gd name="connsiteX5" fmla="*/ 0 w 109064"/>
                <a:gd name="connsiteY5" fmla="*/ 64360 h 128719"/>
                <a:gd name="connsiteX6" fmla="*/ 4241 w 109064"/>
                <a:gd name="connsiteY6" fmla="*/ 35823 h 128719"/>
                <a:gd name="connsiteX7" fmla="*/ 16360 w 109064"/>
                <a:gd name="connsiteY7" fmla="*/ 15786 h 128719"/>
                <a:gd name="connsiteX8" fmla="*/ 34537 w 109064"/>
                <a:gd name="connsiteY8" fmla="*/ 3643 h 128719"/>
                <a:gd name="connsiteX9" fmla="*/ 56956 w 109064"/>
                <a:gd name="connsiteY9" fmla="*/ 0 h 128719"/>
                <a:gd name="connsiteX10" fmla="*/ 93311 w 109064"/>
                <a:gd name="connsiteY10" fmla="*/ 11536 h 128719"/>
                <a:gd name="connsiteX11" fmla="*/ 109065 w 109064"/>
                <a:gd name="connsiteY11" fmla="*/ 38859 h 128719"/>
                <a:gd name="connsiteX12" fmla="*/ 90281 w 109064"/>
                <a:gd name="connsiteY12" fmla="*/ 42502 h 128719"/>
                <a:gd name="connsiteX13" fmla="*/ 80587 w 109064"/>
                <a:gd name="connsiteY13" fmla="*/ 26108 h 128719"/>
                <a:gd name="connsiteX14" fmla="*/ 57562 w 109064"/>
                <a:gd name="connsiteY14" fmla="*/ 18215 h 128719"/>
                <a:gd name="connsiteX15" fmla="*/ 30296 w 109064"/>
                <a:gd name="connsiteY15" fmla="*/ 30358 h 128719"/>
                <a:gd name="connsiteX16" fmla="*/ 20601 w 109064"/>
                <a:gd name="connsiteY16" fmla="*/ 63753 h 128719"/>
                <a:gd name="connsiteX17" fmla="*/ 30296 w 109064"/>
                <a:gd name="connsiteY17" fmla="*/ 97147 h 128719"/>
                <a:gd name="connsiteX18" fmla="*/ 57562 w 109064"/>
                <a:gd name="connsiteY18" fmla="*/ 109897 h 128719"/>
                <a:gd name="connsiteX19" fmla="*/ 81193 w 109064"/>
                <a:gd name="connsiteY19" fmla="*/ 102004 h 128719"/>
                <a:gd name="connsiteX20" fmla="*/ 89676 w 109064"/>
                <a:gd name="connsiteY20" fmla="*/ 86218 h 12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064" h="128719">
                  <a:moveTo>
                    <a:pt x="89676" y="86218"/>
                  </a:moveTo>
                  <a:lnTo>
                    <a:pt x="109065" y="89254"/>
                  </a:lnTo>
                  <a:cubicBezTo>
                    <a:pt x="106641" y="100183"/>
                    <a:pt x="101188" y="109897"/>
                    <a:pt x="92705" y="117183"/>
                  </a:cubicBezTo>
                  <a:cubicBezTo>
                    <a:pt x="84222" y="125077"/>
                    <a:pt x="72104" y="128720"/>
                    <a:pt x="56956" y="128720"/>
                  </a:cubicBezTo>
                  <a:cubicBezTo>
                    <a:pt x="39990" y="128720"/>
                    <a:pt x="26054" y="123255"/>
                    <a:pt x="15754" y="112326"/>
                  </a:cubicBezTo>
                  <a:cubicBezTo>
                    <a:pt x="5453" y="101397"/>
                    <a:pt x="0" y="85611"/>
                    <a:pt x="0" y="64360"/>
                  </a:cubicBezTo>
                  <a:cubicBezTo>
                    <a:pt x="0" y="53431"/>
                    <a:pt x="1212" y="43716"/>
                    <a:pt x="4241" y="35823"/>
                  </a:cubicBezTo>
                  <a:cubicBezTo>
                    <a:pt x="7271" y="27930"/>
                    <a:pt x="11512" y="21251"/>
                    <a:pt x="16360" y="15786"/>
                  </a:cubicBezTo>
                  <a:cubicBezTo>
                    <a:pt x="21207" y="10322"/>
                    <a:pt x="27266" y="6679"/>
                    <a:pt x="34537" y="3643"/>
                  </a:cubicBezTo>
                  <a:cubicBezTo>
                    <a:pt x="41808" y="1214"/>
                    <a:pt x="49079" y="0"/>
                    <a:pt x="56956" y="0"/>
                  </a:cubicBezTo>
                  <a:cubicBezTo>
                    <a:pt x="72710" y="0"/>
                    <a:pt x="84828" y="3643"/>
                    <a:pt x="93311" y="11536"/>
                  </a:cubicBezTo>
                  <a:cubicBezTo>
                    <a:pt x="101794" y="19429"/>
                    <a:pt x="106641" y="28537"/>
                    <a:pt x="109065" y="38859"/>
                  </a:cubicBezTo>
                  <a:lnTo>
                    <a:pt x="90281" y="42502"/>
                  </a:lnTo>
                  <a:cubicBezTo>
                    <a:pt x="88464" y="36430"/>
                    <a:pt x="85434" y="30966"/>
                    <a:pt x="80587" y="26108"/>
                  </a:cubicBezTo>
                  <a:cubicBezTo>
                    <a:pt x="75740" y="21251"/>
                    <a:pt x="67863" y="18215"/>
                    <a:pt x="57562" y="18215"/>
                  </a:cubicBezTo>
                  <a:cubicBezTo>
                    <a:pt x="46050" y="18215"/>
                    <a:pt x="36961" y="22465"/>
                    <a:pt x="30296" y="30358"/>
                  </a:cubicBezTo>
                  <a:cubicBezTo>
                    <a:pt x="23631" y="38859"/>
                    <a:pt x="20601" y="49788"/>
                    <a:pt x="20601" y="63753"/>
                  </a:cubicBezTo>
                  <a:cubicBezTo>
                    <a:pt x="20601" y="77718"/>
                    <a:pt x="23631" y="88647"/>
                    <a:pt x="30296" y="97147"/>
                  </a:cubicBezTo>
                  <a:cubicBezTo>
                    <a:pt x="36355" y="105647"/>
                    <a:pt x="45444" y="109897"/>
                    <a:pt x="57562" y="109897"/>
                  </a:cubicBezTo>
                  <a:cubicBezTo>
                    <a:pt x="68469" y="109897"/>
                    <a:pt x="76345" y="107469"/>
                    <a:pt x="81193" y="102004"/>
                  </a:cubicBezTo>
                  <a:cubicBezTo>
                    <a:pt x="84828" y="97754"/>
                    <a:pt x="87858" y="92290"/>
                    <a:pt x="89676" y="86218"/>
                  </a:cubicBezTo>
                </a:path>
              </a:pathLst>
            </a:custGeom>
            <a:solidFill>
              <a:srgbClr val="7F8183"/>
            </a:solidFill>
            <a:ln w="6029" cap="flat">
              <a:noFill/>
              <a:prstDash val="solid"/>
              <a:miter/>
            </a:ln>
          </p:spPr>
          <p:txBody>
            <a:bodyPr rtlCol="0" anchor="ctr"/>
            <a:lstStyle/>
            <a:p>
              <a:endParaRPr lang="x-none" sz="1905"/>
            </a:p>
          </p:txBody>
        </p:sp>
        <p:sp>
          <p:nvSpPr>
            <p:cNvPr id="22" name="Freeform 21">
              <a:extLst>
                <a:ext uri="{FF2B5EF4-FFF2-40B4-BE49-F238E27FC236}">
                  <a16:creationId xmlns:a16="http://schemas.microsoft.com/office/drawing/2014/main" id="{58B60FAF-998A-D442-AE22-453AF7187B35}"/>
                </a:ext>
              </a:extLst>
            </p:cNvPr>
            <p:cNvSpPr/>
            <p:nvPr/>
          </p:nvSpPr>
          <p:spPr>
            <a:xfrm>
              <a:off x="1692887" y="5474639"/>
              <a:ext cx="110276" cy="123255"/>
            </a:xfrm>
            <a:custGeom>
              <a:avLst/>
              <a:gdLst>
                <a:gd name="connsiteX0" fmla="*/ 0 w 110276"/>
                <a:gd name="connsiteY0" fmla="*/ 19429 h 123255"/>
                <a:gd name="connsiteX1" fmla="*/ 0 w 110276"/>
                <a:gd name="connsiteY1" fmla="*/ 0 h 123255"/>
                <a:gd name="connsiteX2" fmla="*/ 110277 w 110276"/>
                <a:gd name="connsiteY2" fmla="*/ 0 h 123255"/>
                <a:gd name="connsiteX3" fmla="*/ 110277 w 110276"/>
                <a:gd name="connsiteY3" fmla="*/ 19429 h 123255"/>
                <a:gd name="connsiteX4" fmla="*/ 65439 w 110276"/>
                <a:gd name="connsiteY4" fmla="*/ 19429 h 123255"/>
                <a:gd name="connsiteX5" fmla="*/ 65439 w 110276"/>
                <a:gd name="connsiteY5" fmla="*/ 123255 h 123255"/>
                <a:gd name="connsiteX6" fmla="*/ 44838 w 110276"/>
                <a:gd name="connsiteY6" fmla="*/ 123255 h 123255"/>
                <a:gd name="connsiteX7" fmla="*/ 44838 w 110276"/>
                <a:gd name="connsiteY7" fmla="*/ 19429 h 12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276" h="123255">
                  <a:moveTo>
                    <a:pt x="0" y="19429"/>
                  </a:moveTo>
                  <a:lnTo>
                    <a:pt x="0" y="0"/>
                  </a:lnTo>
                  <a:lnTo>
                    <a:pt x="110277" y="0"/>
                  </a:lnTo>
                  <a:lnTo>
                    <a:pt x="110277" y="19429"/>
                  </a:lnTo>
                  <a:lnTo>
                    <a:pt x="65439" y="19429"/>
                  </a:lnTo>
                  <a:lnTo>
                    <a:pt x="65439" y="123255"/>
                  </a:lnTo>
                  <a:lnTo>
                    <a:pt x="44838" y="123255"/>
                  </a:lnTo>
                  <a:lnTo>
                    <a:pt x="44838" y="19429"/>
                  </a:lnTo>
                  <a:close/>
                </a:path>
              </a:pathLst>
            </a:custGeom>
            <a:solidFill>
              <a:srgbClr val="7F8183"/>
            </a:solidFill>
            <a:ln w="6029" cap="flat">
              <a:noFill/>
              <a:prstDash val="solid"/>
              <a:miter/>
            </a:ln>
          </p:spPr>
          <p:txBody>
            <a:bodyPr rtlCol="0" anchor="ctr"/>
            <a:lstStyle/>
            <a:p>
              <a:endParaRPr lang="x-none" sz="1905"/>
            </a:p>
          </p:txBody>
        </p:sp>
        <p:grpSp>
          <p:nvGrpSpPr>
            <p:cNvPr id="23" name="Graphic 11">
              <a:extLst>
                <a:ext uri="{FF2B5EF4-FFF2-40B4-BE49-F238E27FC236}">
                  <a16:creationId xmlns:a16="http://schemas.microsoft.com/office/drawing/2014/main" id="{2B14A07C-F107-AD4B-84D8-19021835B693}"/>
                </a:ext>
              </a:extLst>
            </p:cNvPr>
            <p:cNvGrpSpPr/>
            <p:nvPr/>
          </p:nvGrpSpPr>
          <p:grpSpPr>
            <a:xfrm>
              <a:off x="1828612" y="5472210"/>
              <a:ext cx="236913" cy="128719"/>
              <a:chOff x="1828612" y="5472210"/>
              <a:chExt cx="236913" cy="128719"/>
            </a:xfrm>
            <a:solidFill>
              <a:srgbClr val="CFD4D9"/>
            </a:solidFill>
          </p:grpSpPr>
          <p:sp>
            <p:nvSpPr>
              <p:cNvPr id="24" name="Freeform 23">
                <a:extLst>
                  <a:ext uri="{FF2B5EF4-FFF2-40B4-BE49-F238E27FC236}">
                    <a16:creationId xmlns:a16="http://schemas.microsoft.com/office/drawing/2014/main" id="{911FBB16-EF5A-FB41-8E03-3086A290846E}"/>
                  </a:ext>
                </a:extLst>
              </p:cNvPr>
              <p:cNvSpPr/>
              <p:nvPr/>
            </p:nvSpPr>
            <p:spPr>
              <a:xfrm>
                <a:off x="1828612" y="5474639"/>
                <a:ext cx="97552" cy="123862"/>
              </a:xfrm>
              <a:custGeom>
                <a:avLst/>
                <a:gdLst>
                  <a:gd name="connsiteX0" fmla="*/ 56350 w 97552"/>
                  <a:gd name="connsiteY0" fmla="*/ 69217 h 123862"/>
                  <a:gd name="connsiteX1" fmla="*/ 19995 w 97552"/>
                  <a:gd name="connsiteY1" fmla="*/ 69217 h 123862"/>
                  <a:gd name="connsiteX2" fmla="*/ 19995 w 97552"/>
                  <a:gd name="connsiteY2" fmla="*/ 105647 h 123862"/>
                  <a:gd name="connsiteX3" fmla="*/ 56350 w 97552"/>
                  <a:gd name="connsiteY3" fmla="*/ 105647 h 123862"/>
                  <a:gd name="connsiteX4" fmla="*/ 73316 w 97552"/>
                  <a:gd name="connsiteY4" fmla="*/ 100790 h 123862"/>
                  <a:gd name="connsiteX5" fmla="*/ 78163 w 97552"/>
                  <a:gd name="connsiteY5" fmla="*/ 87432 h 123862"/>
                  <a:gd name="connsiteX6" fmla="*/ 72710 w 97552"/>
                  <a:gd name="connsiteY6" fmla="*/ 73467 h 123862"/>
                  <a:gd name="connsiteX7" fmla="*/ 56350 w 97552"/>
                  <a:gd name="connsiteY7" fmla="*/ 69217 h 123862"/>
                  <a:gd name="connsiteX8" fmla="*/ 52715 w 97552"/>
                  <a:gd name="connsiteY8" fmla="*/ 17608 h 123862"/>
                  <a:gd name="connsiteX9" fmla="*/ 19995 w 97552"/>
                  <a:gd name="connsiteY9" fmla="*/ 17608 h 123862"/>
                  <a:gd name="connsiteX10" fmla="*/ 19995 w 97552"/>
                  <a:gd name="connsiteY10" fmla="*/ 52216 h 123862"/>
                  <a:gd name="connsiteX11" fmla="*/ 54533 w 97552"/>
                  <a:gd name="connsiteY11" fmla="*/ 52216 h 123862"/>
                  <a:gd name="connsiteX12" fmla="*/ 69680 w 97552"/>
                  <a:gd name="connsiteY12" fmla="*/ 47966 h 123862"/>
                  <a:gd name="connsiteX13" fmla="*/ 74528 w 97552"/>
                  <a:gd name="connsiteY13" fmla="*/ 34609 h 123862"/>
                  <a:gd name="connsiteX14" fmla="*/ 69680 w 97552"/>
                  <a:gd name="connsiteY14" fmla="*/ 21251 h 123862"/>
                  <a:gd name="connsiteX15" fmla="*/ 52715 w 97552"/>
                  <a:gd name="connsiteY15" fmla="*/ 17608 h 123862"/>
                  <a:gd name="connsiteX16" fmla="*/ 0 w 97552"/>
                  <a:gd name="connsiteY16" fmla="*/ 123255 h 123862"/>
                  <a:gd name="connsiteX17" fmla="*/ 0 w 97552"/>
                  <a:gd name="connsiteY17" fmla="*/ 0 h 123862"/>
                  <a:gd name="connsiteX18" fmla="*/ 52715 w 97552"/>
                  <a:gd name="connsiteY18" fmla="*/ 0 h 123862"/>
                  <a:gd name="connsiteX19" fmla="*/ 83616 w 97552"/>
                  <a:gd name="connsiteY19" fmla="*/ 8500 h 123862"/>
                  <a:gd name="connsiteX20" fmla="*/ 94523 w 97552"/>
                  <a:gd name="connsiteY20" fmla="*/ 33394 h 123862"/>
                  <a:gd name="connsiteX21" fmla="*/ 90888 w 97552"/>
                  <a:gd name="connsiteY21" fmla="*/ 47966 h 123862"/>
                  <a:gd name="connsiteX22" fmla="*/ 76951 w 97552"/>
                  <a:gd name="connsiteY22" fmla="*/ 59502 h 123862"/>
                  <a:gd name="connsiteX23" fmla="*/ 92705 w 97552"/>
                  <a:gd name="connsiteY23" fmla="*/ 70432 h 123862"/>
                  <a:gd name="connsiteX24" fmla="*/ 97552 w 97552"/>
                  <a:gd name="connsiteY24" fmla="*/ 88647 h 123862"/>
                  <a:gd name="connsiteX25" fmla="*/ 87858 w 97552"/>
                  <a:gd name="connsiteY25" fmla="*/ 114148 h 123862"/>
                  <a:gd name="connsiteX26" fmla="*/ 56350 w 97552"/>
                  <a:gd name="connsiteY26" fmla="*/ 123862 h 123862"/>
                  <a:gd name="connsiteX27" fmla="*/ 0 w 97552"/>
                  <a:gd name="connsiteY27" fmla="*/ 123862 h 123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7552" h="123862">
                    <a:moveTo>
                      <a:pt x="56350" y="69217"/>
                    </a:moveTo>
                    <a:lnTo>
                      <a:pt x="19995" y="69217"/>
                    </a:lnTo>
                    <a:lnTo>
                      <a:pt x="19995" y="105647"/>
                    </a:lnTo>
                    <a:lnTo>
                      <a:pt x="56350" y="105647"/>
                    </a:lnTo>
                    <a:cubicBezTo>
                      <a:pt x="64227" y="105647"/>
                      <a:pt x="69680" y="103826"/>
                      <a:pt x="73316" y="100790"/>
                    </a:cubicBezTo>
                    <a:cubicBezTo>
                      <a:pt x="76345" y="97754"/>
                      <a:pt x="78163" y="93504"/>
                      <a:pt x="78163" y="87432"/>
                    </a:cubicBezTo>
                    <a:cubicBezTo>
                      <a:pt x="78163" y="80753"/>
                      <a:pt x="76345" y="76503"/>
                      <a:pt x="72710" y="73467"/>
                    </a:cubicBezTo>
                    <a:cubicBezTo>
                      <a:pt x="69680" y="71039"/>
                      <a:pt x="64227" y="69217"/>
                      <a:pt x="56350" y="69217"/>
                    </a:cubicBezTo>
                    <a:moveTo>
                      <a:pt x="52715" y="17608"/>
                    </a:moveTo>
                    <a:lnTo>
                      <a:pt x="19995" y="17608"/>
                    </a:lnTo>
                    <a:lnTo>
                      <a:pt x="19995" y="52216"/>
                    </a:lnTo>
                    <a:lnTo>
                      <a:pt x="54533" y="52216"/>
                    </a:lnTo>
                    <a:cubicBezTo>
                      <a:pt x="61197" y="52216"/>
                      <a:pt x="66651" y="51002"/>
                      <a:pt x="69680" y="47966"/>
                    </a:cubicBezTo>
                    <a:cubicBezTo>
                      <a:pt x="73316" y="44930"/>
                      <a:pt x="74528" y="40680"/>
                      <a:pt x="74528" y="34609"/>
                    </a:cubicBezTo>
                    <a:cubicBezTo>
                      <a:pt x="74528" y="28537"/>
                      <a:pt x="72710" y="24287"/>
                      <a:pt x="69680" y="21251"/>
                    </a:cubicBezTo>
                    <a:cubicBezTo>
                      <a:pt x="67257" y="19429"/>
                      <a:pt x="61197" y="17608"/>
                      <a:pt x="52715" y="17608"/>
                    </a:cubicBezTo>
                    <a:moveTo>
                      <a:pt x="0" y="123255"/>
                    </a:moveTo>
                    <a:lnTo>
                      <a:pt x="0" y="0"/>
                    </a:lnTo>
                    <a:lnTo>
                      <a:pt x="52715" y="0"/>
                    </a:lnTo>
                    <a:cubicBezTo>
                      <a:pt x="66045" y="0"/>
                      <a:pt x="76345" y="3036"/>
                      <a:pt x="83616" y="8500"/>
                    </a:cubicBezTo>
                    <a:cubicBezTo>
                      <a:pt x="90888" y="13965"/>
                      <a:pt x="94523" y="22465"/>
                      <a:pt x="94523" y="33394"/>
                    </a:cubicBezTo>
                    <a:cubicBezTo>
                      <a:pt x="94523" y="38252"/>
                      <a:pt x="93311" y="43109"/>
                      <a:pt x="90888" y="47966"/>
                    </a:cubicBezTo>
                    <a:cubicBezTo>
                      <a:pt x="88464" y="52824"/>
                      <a:pt x="84222" y="57074"/>
                      <a:pt x="76951" y="59502"/>
                    </a:cubicBezTo>
                    <a:cubicBezTo>
                      <a:pt x="84222" y="61931"/>
                      <a:pt x="89676" y="65574"/>
                      <a:pt x="92705" y="70432"/>
                    </a:cubicBezTo>
                    <a:cubicBezTo>
                      <a:pt x="95735" y="75289"/>
                      <a:pt x="97552" y="81361"/>
                      <a:pt x="97552" y="88647"/>
                    </a:cubicBezTo>
                    <a:cubicBezTo>
                      <a:pt x="97552" y="98968"/>
                      <a:pt x="94523" y="107469"/>
                      <a:pt x="87858" y="114148"/>
                    </a:cubicBezTo>
                    <a:cubicBezTo>
                      <a:pt x="81193" y="120219"/>
                      <a:pt x="70892" y="123862"/>
                      <a:pt x="56350" y="123862"/>
                    </a:cubicBezTo>
                    <a:lnTo>
                      <a:pt x="0" y="123862"/>
                    </a:lnTo>
                    <a:close/>
                  </a:path>
                </a:pathLst>
              </a:custGeom>
              <a:solidFill>
                <a:srgbClr val="7F8183"/>
              </a:solidFill>
              <a:ln w="6029" cap="flat">
                <a:noFill/>
                <a:prstDash val="solid"/>
                <a:miter/>
              </a:ln>
            </p:spPr>
            <p:txBody>
              <a:bodyPr rtlCol="0" anchor="ctr"/>
              <a:lstStyle/>
              <a:p>
                <a:endParaRPr lang="x-none" sz="1905"/>
              </a:p>
            </p:txBody>
          </p:sp>
          <p:sp>
            <p:nvSpPr>
              <p:cNvPr id="25" name="Freeform 24">
                <a:extLst>
                  <a:ext uri="{FF2B5EF4-FFF2-40B4-BE49-F238E27FC236}">
                    <a16:creationId xmlns:a16="http://schemas.microsoft.com/office/drawing/2014/main" id="{626244B5-8B67-EA45-93EB-FAC2151D4D70}"/>
                  </a:ext>
                </a:extLst>
              </p:cNvPr>
              <p:cNvSpPr/>
              <p:nvPr/>
            </p:nvSpPr>
            <p:spPr>
              <a:xfrm>
                <a:off x="1949795" y="5472210"/>
                <a:ext cx="115729" cy="128719"/>
              </a:xfrm>
              <a:custGeom>
                <a:avLst/>
                <a:gdLst>
                  <a:gd name="connsiteX0" fmla="*/ 58774 w 115729"/>
                  <a:gd name="connsiteY0" fmla="*/ 109898 h 128719"/>
                  <a:gd name="connsiteX1" fmla="*/ 86646 w 115729"/>
                  <a:gd name="connsiteY1" fmla="*/ 97754 h 128719"/>
                  <a:gd name="connsiteX2" fmla="*/ 95735 w 115729"/>
                  <a:gd name="connsiteY2" fmla="*/ 63753 h 128719"/>
                  <a:gd name="connsiteX3" fmla="*/ 86646 w 115729"/>
                  <a:gd name="connsiteY3" fmla="*/ 29751 h 128719"/>
                  <a:gd name="connsiteX4" fmla="*/ 58774 w 115729"/>
                  <a:gd name="connsiteY4" fmla="*/ 17608 h 128719"/>
                  <a:gd name="connsiteX5" fmla="*/ 30902 w 115729"/>
                  <a:gd name="connsiteY5" fmla="*/ 29751 h 128719"/>
                  <a:gd name="connsiteX6" fmla="*/ 21207 w 115729"/>
                  <a:gd name="connsiteY6" fmla="*/ 63753 h 128719"/>
                  <a:gd name="connsiteX7" fmla="*/ 31508 w 115729"/>
                  <a:gd name="connsiteY7" fmla="*/ 97754 h 128719"/>
                  <a:gd name="connsiteX8" fmla="*/ 58774 w 115729"/>
                  <a:gd name="connsiteY8" fmla="*/ 109898 h 128719"/>
                  <a:gd name="connsiteX9" fmla="*/ 58774 w 115729"/>
                  <a:gd name="connsiteY9" fmla="*/ 128720 h 128719"/>
                  <a:gd name="connsiteX10" fmla="*/ 35143 w 115729"/>
                  <a:gd name="connsiteY10" fmla="*/ 124470 h 128719"/>
                  <a:gd name="connsiteX11" fmla="*/ 16360 w 115729"/>
                  <a:gd name="connsiteY11" fmla="*/ 112326 h 128719"/>
                  <a:gd name="connsiteX12" fmla="*/ 4241 w 115729"/>
                  <a:gd name="connsiteY12" fmla="*/ 91683 h 128719"/>
                  <a:gd name="connsiteX13" fmla="*/ 0 w 115729"/>
                  <a:gd name="connsiteY13" fmla="*/ 64360 h 128719"/>
                  <a:gd name="connsiteX14" fmla="*/ 16360 w 115729"/>
                  <a:gd name="connsiteY14" fmla="*/ 17001 h 128719"/>
                  <a:gd name="connsiteX15" fmla="*/ 58774 w 115729"/>
                  <a:gd name="connsiteY15" fmla="*/ 0 h 128719"/>
                  <a:gd name="connsiteX16" fmla="*/ 99976 w 115729"/>
                  <a:gd name="connsiteY16" fmla="*/ 17001 h 128719"/>
                  <a:gd name="connsiteX17" fmla="*/ 115730 w 115729"/>
                  <a:gd name="connsiteY17" fmla="*/ 64360 h 128719"/>
                  <a:gd name="connsiteX18" fmla="*/ 99976 w 115729"/>
                  <a:gd name="connsiteY18" fmla="*/ 111719 h 128719"/>
                  <a:gd name="connsiteX19" fmla="*/ 58774 w 115729"/>
                  <a:gd name="connsiteY19" fmla="*/ 128720 h 12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5729" h="128719">
                    <a:moveTo>
                      <a:pt x="58774" y="109898"/>
                    </a:moveTo>
                    <a:cubicBezTo>
                      <a:pt x="70892" y="109898"/>
                      <a:pt x="79981" y="105647"/>
                      <a:pt x="86646" y="97754"/>
                    </a:cubicBezTo>
                    <a:cubicBezTo>
                      <a:pt x="92705" y="89254"/>
                      <a:pt x="95735" y="78325"/>
                      <a:pt x="95735" y="63753"/>
                    </a:cubicBezTo>
                    <a:cubicBezTo>
                      <a:pt x="95735" y="49181"/>
                      <a:pt x="92705" y="38252"/>
                      <a:pt x="86646" y="29751"/>
                    </a:cubicBezTo>
                    <a:cubicBezTo>
                      <a:pt x="80587" y="21858"/>
                      <a:pt x="71498" y="17608"/>
                      <a:pt x="58774" y="17608"/>
                    </a:cubicBezTo>
                    <a:cubicBezTo>
                      <a:pt x="46655" y="17608"/>
                      <a:pt x="37567" y="21858"/>
                      <a:pt x="30902" y="29751"/>
                    </a:cubicBezTo>
                    <a:cubicBezTo>
                      <a:pt x="24237" y="37644"/>
                      <a:pt x="21207" y="49181"/>
                      <a:pt x="21207" y="63753"/>
                    </a:cubicBezTo>
                    <a:cubicBezTo>
                      <a:pt x="21207" y="78325"/>
                      <a:pt x="24842" y="89254"/>
                      <a:pt x="31508" y="97754"/>
                    </a:cubicBezTo>
                    <a:cubicBezTo>
                      <a:pt x="37567" y="106255"/>
                      <a:pt x="46655" y="109898"/>
                      <a:pt x="58774" y="109898"/>
                    </a:cubicBezTo>
                    <a:moveTo>
                      <a:pt x="58774" y="128720"/>
                    </a:moveTo>
                    <a:cubicBezTo>
                      <a:pt x="50291" y="128720"/>
                      <a:pt x="42414" y="127505"/>
                      <a:pt x="35143" y="124470"/>
                    </a:cubicBezTo>
                    <a:cubicBezTo>
                      <a:pt x="27872" y="121434"/>
                      <a:pt x="21813" y="117184"/>
                      <a:pt x="16360" y="112326"/>
                    </a:cubicBezTo>
                    <a:cubicBezTo>
                      <a:pt x="11512" y="106862"/>
                      <a:pt x="7271" y="100183"/>
                      <a:pt x="4241" y="91683"/>
                    </a:cubicBezTo>
                    <a:cubicBezTo>
                      <a:pt x="1212" y="83789"/>
                      <a:pt x="0" y="74682"/>
                      <a:pt x="0" y="64360"/>
                    </a:cubicBezTo>
                    <a:cubicBezTo>
                      <a:pt x="0" y="43716"/>
                      <a:pt x="5453" y="27930"/>
                      <a:pt x="16360" y="17001"/>
                    </a:cubicBezTo>
                    <a:cubicBezTo>
                      <a:pt x="27266" y="6072"/>
                      <a:pt x="41202" y="0"/>
                      <a:pt x="58774" y="0"/>
                    </a:cubicBezTo>
                    <a:cubicBezTo>
                      <a:pt x="75740" y="0"/>
                      <a:pt x="89676" y="5465"/>
                      <a:pt x="99976" y="17001"/>
                    </a:cubicBezTo>
                    <a:cubicBezTo>
                      <a:pt x="110277" y="27930"/>
                      <a:pt x="115730" y="43716"/>
                      <a:pt x="115730" y="64360"/>
                    </a:cubicBezTo>
                    <a:cubicBezTo>
                      <a:pt x="115730" y="84396"/>
                      <a:pt x="110277" y="100183"/>
                      <a:pt x="99976" y="111719"/>
                    </a:cubicBezTo>
                    <a:cubicBezTo>
                      <a:pt x="89070" y="122648"/>
                      <a:pt x="75740" y="128720"/>
                      <a:pt x="58774" y="128720"/>
                    </a:cubicBezTo>
                  </a:path>
                </a:pathLst>
              </a:custGeom>
              <a:solidFill>
                <a:srgbClr val="7F8183"/>
              </a:solidFill>
              <a:ln w="6029" cap="flat">
                <a:noFill/>
                <a:prstDash val="solid"/>
                <a:miter/>
              </a:ln>
            </p:spPr>
            <p:txBody>
              <a:bodyPr rtlCol="0" anchor="ctr"/>
              <a:lstStyle/>
              <a:p>
                <a:endParaRPr lang="x-none" sz="1905"/>
              </a:p>
            </p:txBody>
          </p:sp>
        </p:grpSp>
        <p:sp>
          <p:nvSpPr>
            <p:cNvPr id="26" name="Freeform 25">
              <a:extLst>
                <a:ext uri="{FF2B5EF4-FFF2-40B4-BE49-F238E27FC236}">
                  <a16:creationId xmlns:a16="http://schemas.microsoft.com/office/drawing/2014/main" id="{997DB53A-131F-8C49-BE87-A3BA6189EB68}"/>
                </a:ext>
              </a:extLst>
            </p:cNvPr>
            <p:cNvSpPr/>
            <p:nvPr/>
          </p:nvSpPr>
          <p:spPr>
            <a:xfrm>
              <a:off x="368960" y="5739365"/>
              <a:ext cx="103611" cy="123255"/>
            </a:xfrm>
            <a:custGeom>
              <a:avLst/>
              <a:gdLst>
                <a:gd name="connsiteX0" fmla="*/ 0 w 103611"/>
                <a:gd name="connsiteY0" fmla="*/ 123255 h 123255"/>
                <a:gd name="connsiteX1" fmla="*/ 0 w 103611"/>
                <a:gd name="connsiteY1" fmla="*/ 0 h 123255"/>
                <a:gd name="connsiteX2" fmla="*/ 103612 w 103611"/>
                <a:gd name="connsiteY2" fmla="*/ 0 h 123255"/>
                <a:gd name="connsiteX3" fmla="*/ 103612 w 103611"/>
                <a:gd name="connsiteY3" fmla="*/ 123255 h 123255"/>
                <a:gd name="connsiteX4" fmla="*/ 83011 w 103611"/>
                <a:gd name="connsiteY4" fmla="*/ 123255 h 123255"/>
                <a:gd name="connsiteX5" fmla="*/ 83011 w 103611"/>
                <a:gd name="connsiteY5" fmla="*/ 19429 h 123255"/>
                <a:gd name="connsiteX6" fmla="*/ 19995 w 103611"/>
                <a:gd name="connsiteY6" fmla="*/ 19429 h 123255"/>
                <a:gd name="connsiteX7" fmla="*/ 19995 w 103611"/>
                <a:gd name="connsiteY7" fmla="*/ 123255 h 12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611" h="123255">
                  <a:moveTo>
                    <a:pt x="0" y="123255"/>
                  </a:moveTo>
                  <a:lnTo>
                    <a:pt x="0" y="0"/>
                  </a:lnTo>
                  <a:lnTo>
                    <a:pt x="103612" y="0"/>
                  </a:lnTo>
                  <a:lnTo>
                    <a:pt x="103612" y="123255"/>
                  </a:lnTo>
                  <a:lnTo>
                    <a:pt x="83011" y="123255"/>
                  </a:lnTo>
                  <a:lnTo>
                    <a:pt x="83011" y="19429"/>
                  </a:lnTo>
                  <a:lnTo>
                    <a:pt x="19995" y="19429"/>
                  </a:lnTo>
                  <a:lnTo>
                    <a:pt x="19995" y="123255"/>
                  </a:lnTo>
                  <a:close/>
                </a:path>
              </a:pathLst>
            </a:custGeom>
            <a:solidFill>
              <a:srgbClr val="7F8183"/>
            </a:solidFill>
            <a:ln w="6029" cap="flat">
              <a:noFill/>
              <a:prstDash val="solid"/>
              <a:miter/>
            </a:ln>
          </p:spPr>
          <p:txBody>
            <a:bodyPr rtlCol="0" anchor="ctr"/>
            <a:lstStyle/>
            <a:p>
              <a:endParaRPr lang="x-none" sz="1905"/>
            </a:p>
          </p:txBody>
        </p:sp>
        <p:grpSp>
          <p:nvGrpSpPr>
            <p:cNvPr id="27" name="Graphic 11">
              <a:extLst>
                <a:ext uri="{FF2B5EF4-FFF2-40B4-BE49-F238E27FC236}">
                  <a16:creationId xmlns:a16="http://schemas.microsoft.com/office/drawing/2014/main" id="{2B14A07C-F107-AD4B-84D8-19021835B693}"/>
                </a:ext>
              </a:extLst>
            </p:cNvPr>
            <p:cNvGrpSpPr/>
            <p:nvPr/>
          </p:nvGrpSpPr>
          <p:grpSpPr>
            <a:xfrm>
              <a:off x="510744" y="5736329"/>
              <a:ext cx="528358" cy="176686"/>
              <a:chOff x="510744" y="5736329"/>
              <a:chExt cx="528358" cy="176686"/>
            </a:xfrm>
            <a:solidFill>
              <a:srgbClr val="CFD4D9"/>
            </a:solidFill>
          </p:grpSpPr>
          <p:sp>
            <p:nvSpPr>
              <p:cNvPr id="28" name="Freeform 27">
                <a:extLst>
                  <a:ext uri="{FF2B5EF4-FFF2-40B4-BE49-F238E27FC236}">
                    <a16:creationId xmlns:a16="http://schemas.microsoft.com/office/drawing/2014/main" id="{A249D0CB-EE4B-3E45-8696-08D1A154EDB4}"/>
                  </a:ext>
                </a:extLst>
              </p:cNvPr>
              <p:cNvSpPr/>
              <p:nvPr/>
            </p:nvSpPr>
            <p:spPr>
              <a:xfrm>
                <a:off x="510744" y="5736329"/>
                <a:ext cx="116335" cy="176686"/>
              </a:xfrm>
              <a:custGeom>
                <a:avLst/>
                <a:gdLst>
                  <a:gd name="connsiteX0" fmla="*/ 20601 w 116335"/>
                  <a:gd name="connsiteY0" fmla="*/ 74682 h 176686"/>
                  <a:gd name="connsiteX1" fmla="*/ 32114 w 116335"/>
                  <a:gd name="connsiteY1" fmla="*/ 100790 h 176686"/>
                  <a:gd name="connsiteX2" fmla="*/ 59380 w 116335"/>
                  <a:gd name="connsiteY2" fmla="*/ 110505 h 176686"/>
                  <a:gd name="connsiteX3" fmla="*/ 86040 w 116335"/>
                  <a:gd name="connsiteY3" fmla="*/ 97754 h 176686"/>
                  <a:gd name="connsiteX4" fmla="*/ 95735 w 116335"/>
                  <a:gd name="connsiteY4" fmla="*/ 63753 h 176686"/>
                  <a:gd name="connsiteX5" fmla="*/ 86040 w 116335"/>
                  <a:gd name="connsiteY5" fmla="*/ 30966 h 176686"/>
                  <a:gd name="connsiteX6" fmla="*/ 58774 w 116335"/>
                  <a:gd name="connsiteY6" fmla="*/ 18215 h 176686"/>
                  <a:gd name="connsiteX7" fmla="*/ 44838 w 116335"/>
                  <a:gd name="connsiteY7" fmla="*/ 20644 h 176686"/>
                  <a:gd name="connsiteX8" fmla="*/ 32719 w 116335"/>
                  <a:gd name="connsiteY8" fmla="*/ 28537 h 176686"/>
                  <a:gd name="connsiteX9" fmla="*/ 24237 w 116335"/>
                  <a:gd name="connsiteY9" fmla="*/ 41287 h 176686"/>
                  <a:gd name="connsiteX10" fmla="*/ 21207 w 116335"/>
                  <a:gd name="connsiteY10" fmla="*/ 58895 h 176686"/>
                  <a:gd name="connsiteX11" fmla="*/ 21207 w 116335"/>
                  <a:gd name="connsiteY11" fmla="*/ 74682 h 176686"/>
                  <a:gd name="connsiteX12" fmla="*/ 0 w 116335"/>
                  <a:gd name="connsiteY12" fmla="*/ 176686 h 176686"/>
                  <a:gd name="connsiteX13" fmla="*/ 0 w 116335"/>
                  <a:gd name="connsiteY13" fmla="*/ 3036 h 176686"/>
                  <a:gd name="connsiteX14" fmla="*/ 20601 w 116335"/>
                  <a:gd name="connsiteY14" fmla="*/ 3036 h 176686"/>
                  <a:gd name="connsiteX15" fmla="*/ 20601 w 116335"/>
                  <a:gd name="connsiteY15" fmla="*/ 19429 h 176686"/>
                  <a:gd name="connsiteX16" fmla="*/ 38779 w 116335"/>
                  <a:gd name="connsiteY16" fmla="*/ 4857 h 176686"/>
                  <a:gd name="connsiteX17" fmla="*/ 62409 w 116335"/>
                  <a:gd name="connsiteY17" fmla="*/ 0 h 176686"/>
                  <a:gd name="connsiteX18" fmla="*/ 83616 w 116335"/>
                  <a:gd name="connsiteY18" fmla="*/ 4250 h 176686"/>
                  <a:gd name="connsiteX19" fmla="*/ 100582 w 116335"/>
                  <a:gd name="connsiteY19" fmla="*/ 16394 h 176686"/>
                  <a:gd name="connsiteX20" fmla="*/ 112094 w 116335"/>
                  <a:gd name="connsiteY20" fmla="*/ 36430 h 176686"/>
                  <a:gd name="connsiteX21" fmla="*/ 116336 w 116335"/>
                  <a:gd name="connsiteY21" fmla="*/ 63753 h 176686"/>
                  <a:gd name="connsiteX22" fmla="*/ 100582 w 116335"/>
                  <a:gd name="connsiteY22" fmla="*/ 111719 h 176686"/>
                  <a:gd name="connsiteX23" fmla="*/ 58774 w 116335"/>
                  <a:gd name="connsiteY23" fmla="*/ 129327 h 176686"/>
                  <a:gd name="connsiteX24" fmla="*/ 36961 w 116335"/>
                  <a:gd name="connsiteY24" fmla="*/ 125077 h 176686"/>
                  <a:gd name="connsiteX25" fmla="*/ 20601 w 116335"/>
                  <a:gd name="connsiteY25" fmla="*/ 112933 h 176686"/>
                  <a:gd name="connsiteX26" fmla="*/ 20601 w 116335"/>
                  <a:gd name="connsiteY26" fmla="*/ 176686 h 176686"/>
                  <a:gd name="connsiteX27" fmla="*/ 0 w 116335"/>
                  <a:gd name="connsiteY27" fmla="*/ 176686 h 17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6335" h="176686">
                    <a:moveTo>
                      <a:pt x="20601" y="74682"/>
                    </a:moveTo>
                    <a:cubicBezTo>
                      <a:pt x="20601" y="86218"/>
                      <a:pt x="24237" y="94718"/>
                      <a:pt x="32114" y="100790"/>
                    </a:cubicBezTo>
                    <a:cubicBezTo>
                      <a:pt x="39990" y="106862"/>
                      <a:pt x="49079" y="110505"/>
                      <a:pt x="59380" y="110505"/>
                    </a:cubicBezTo>
                    <a:cubicBezTo>
                      <a:pt x="70892" y="110505"/>
                      <a:pt x="79375" y="106255"/>
                      <a:pt x="86040" y="97754"/>
                    </a:cubicBezTo>
                    <a:cubicBezTo>
                      <a:pt x="92705" y="89254"/>
                      <a:pt x="95735" y="78325"/>
                      <a:pt x="95735" y="63753"/>
                    </a:cubicBezTo>
                    <a:cubicBezTo>
                      <a:pt x="95735" y="50395"/>
                      <a:pt x="92705" y="39466"/>
                      <a:pt x="86040" y="30966"/>
                    </a:cubicBezTo>
                    <a:cubicBezTo>
                      <a:pt x="79375" y="22465"/>
                      <a:pt x="70286" y="18215"/>
                      <a:pt x="58774" y="18215"/>
                    </a:cubicBezTo>
                    <a:cubicBezTo>
                      <a:pt x="53927" y="18215"/>
                      <a:pt x="49079" y="18822"/>
                      <a:pt x="44838" y="20644"/>
                    </a:cubicBezTo>
                    <a:cubicBezTo>
                      <a:pt x="40596" y="22465"/>
                      <a:pt x="36355" y="24894"/>
                      <a:pt x="32719" y="28537"/>
                    </a:cubicBezTo>
                    <a:cubicBezTo>
                      <a:pt x="29084" y="32180"/>
                      <a:pt x="26054" y="36430"/>
                      <a:pt x="24237" y="41287"/>
                    </a:cubicBezTo>
                    <a:cubicBezTo>
                      <a:pt x="21813" y="46752"/>
                      <a:pt x="21207" y="52217"/>
                      <a:pt x="21207" y="58895"/>
                    </a:cubicBezTo>
                    <a:lnTo>
                      <a:pt x="21207" y="74682"/>
                    </a:lnTo>
                    <a:close/>
                    <a:moveTo>
                      <a:pt x="0" y="176686"/>
                    </a:moveTo>
                    <a:lnTo>
                      <a:pt x="0" y="3036"/>
                    </a:lnTo>
                    <a:lnTo>
                      <a:pt x="20601" y="3036"/>
                    </a:lnTo>
                    <a:lnTo>
                      <a:pt x="20601" y="19429"/>
                    </a:lnTo>
                    <a:cubicBezTo>
                      <a:pt x="24843" y="12751"/>
                      <a:pt x="30902" y="8500"/>
                      <a:pt x="38779" y="4857"/>
                    </a:cubicBezTo>
                    <a:cubicBezTo>
                      <a:pt x="46050" y="1822"/>
                      <a:pt x="53927" y="0"/>
                      <a:pt x="62409" y="0"/>
                    </a:cubicBezTo>
                    <a:cubicBezTo>
                      <a:pt x="69680" y="0"/>
                      <a:pt x="76951" y="1214"/>
                      <a:pt x="83616" y="4250"/>
                    </a:cubicBezTo>
                    <a:cubicBezTo>
                      <a:pt x="90281" y="6679"/>
                      <a:pt x="95735" y="10929"/>
                      <a:pt x="100582" y="16394"/>
                    </a:cubicBezTo>
                    <a:cubicBezTo>
                      <a:pt x="105429" y="21858"/>
                      <a:pt x="109671" y="28537"/>
                      <a:pt x="112094" y="36430"/>
                    </a:cubicBezTo>
                    <a:cubicBezTo>
                      <a:pt x="115124" y="44323"/>
                      <a:pt x="116336" y="53431"/>
                      <a:pt x="116336" y="63753"/>
                    </a:cubicBezTo>
                    <a:cubicBezTo>
                      <a:pt x="116336" y="84396"/>
                      <a:pt x="110883" y="100183"/>
                      <a:pt x="100582" y="111719"/>
                    </a:cubicBezTo>
                    <a:cubicBezTo>
                      <a:pt x="90281" y="123255"/>
                      <a:pt x="76345" y="129327"/>
                      <a:pt x="58774" y="129327"/>
                    </a:cubicBezTo>
                    <a:cubicBezTo>
                      <a:pt x="50897" y="129327"/>
                      <a:pt x="43626" y="128113"/>
                      <a:pt x="36961" y="125077"/>
                    </a:cubicBezTo>
                    <a:cubicBezTo>
                      <a:pt x="30296" y="122041"/>
                      <a:pt x="24843" y="118398"/>
                      <a:pt x="20601" y="112933"/>
                    </a:cubicBezTo>
                    <a:lnTo>
                      <a:pt x="20601" y="176686"/>
                    </a:lnTo>
                    <a:lnTo>
                      <a:pt x="0" y="176686"/>
                    </a:lnTo>
                    <a:close/>
                  </a:path>
                </a:pathLst>
              </a:custGeom>
              <a:solidFill>
                <a:srgbClr val="7F8183"/>
              </a:solidFill>
              <a:ln w="6029" cap="flat">
                <a:noFill/>
                <a:prstDash val="solid"/>
                <a:miter/>
              </a:ln>
            </p:spPr>
            <p:txBody>
              <a:bodyPr rtlCol="0" anchor="ctr"/>
              <a:lstStyle/>
              <a:p>
                <a:endParaRPr lang="x-none" sz="1905"/>
              </a:p>
            </p:txBody>
          </p:sp>
          <p:sp>
            <p:nvSpPr>
              <p:cNvPr id="29" name="Freeform 28">
                <a:extLst>
                  <a:ext uri="{FF2B5EF4-FFF2-40B4-BE49-F238E27FC236}">
                    <a16:creationId xmlns:a16="http://schemas.microsoft.com/office/drawing/2014/main" id="{A0238FBC-0874-684E-AFE4-D967BC9CEF5B}"/>
                  </a:ext>
                </a:extLst>
              </p:cNvPr>
              <p:cNvSpPr/>
              <p:nvPr/>
            </p:nvSpPr>
            <p:spPr>
              <a:xfrm>
                <a:off x="650711" y="5736936"/>
                <a:ext cx="115730" cy="128719"/>
              </a:xfrm>
              <a:custGeom>
                <a:avLst/>
                <a:gdLst>
                  <a:gd name="connsiteX0" fmla="*/ 58774 w 115730"/>
                  <a:gd name="connsiteY0" fmla="*/ 109897 h 128719"/>
                  <a:gd name="connsiteX1" fmla="*/ 86646 w 115730"/>
                  <a:gd name="connsiteY1" fmla="*/ 97754 h 128719"/>
                  <a:gd name="connsiteX2" fmla="*/ 95735 w 115730"/>
                  <a:gd name="connsiteY2" fmla="*/ 63753 h 128719"/>
                  <a:gd name="connsiteX3" fmla="*/ 86646 w 115730"/>
                  <a:gd name="connsiteY3" fmla="*/ 29751 h 128719"/>
                  <a:gd name="connsiteX4" fmla="*/ 58774 w 115730"/>
                  <a:gd name="connsiteY4" fmla="*/ 17608 h 128719"/>
                  <a:gd name="connsiteX5" fmla="*/ 30902 w 115730"/>
                  <a:gd name="connsiteY5" fmla="*/ 29751 h 128719"/>
                  <a:gd name="connsiteX6" fmla="*/ 21207 w 115730"/>
                  <a:gd name="connsiteY6" fmla="*/ 63753 h 128719"/>
                  <a:gd name="connsiteX7" fmla="*/ 31508 w 115730"/>
                  <a:gd name="connsiteY7" fmla="*/ 97754 h 128719"/>
                  <a:gd name="connsiteX8" fmla="*/ 58774 w 115730"/>
                  <a:gd name="connsiteY8" fmla="*/ 109897 h 128719"/>
                  <a:gd name="connsiteX9" fmla="*/ 58774 w 115730"/>
                  <a:gd name="connsiteY9" fmla="*/ 128720 h 128719"/>
                  <a:gd name="connsiteX10" fmla="*/ 35143 w 115730"/>
                  <a:gd name="connsiteY10" fmla="*/ 124470 h 128719"/>
                  <a:gd name="connsiteX11" fmla="*/ 16360 w 115730"/>
                  <a:gd name="connsiteY11" fmla="*/ 112326 h 128719"/>
                  <a:gd name="connsiteX12" fmla="*/ 4241 w 115730"/>
                  <a:gd name="connsiteY12" fmla="*/ 91682 h 128719"/>
                  <a:gd name="connsiteX13" fmla="*/ 0 w 115730"/>
                  <a:gd name="connsiteY13" fmla="*/ 64360 h 128719"/>
                  <a:gd name="connsiteX14" fmla="*/ 16360 w 115730"/>
                  <a:gd name="connsiteY14" fmla="*/ 17001 h 128719"/>
                  <a:gd name="connsiteX15" fmla="*/ 58774 w 115730"/>
                  <a:gd name="connsiteY15" fmla="*/ 0 h 128719"/>
                  <a:gd name="connsiteX16" fmla="*/ 99976 w 115730"/>
                  <a:gd name="connsiteY16" fmla="*/ 17001 h 128719"/>
                  <a:gd name="connsiteX17" fmla="*/ 115730 w 115730"/>
                  <a:gd name="connsiteY17" fmla="*/ 64360 h 128719"/>
                  <a:gd name="connsiteX18" fmla="*/ 99976 w 115730"/>
                  <a:gd name="connsiteY18" fmla="*/ 111719 h 128719"/>
                  <a:gd name="connsiteX19" fmla="*/ 58774 w 115730"/>
                  <a:gd name="connsiteY19" fmla="*/ 128720 h 12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5730" h="128719">
                    <a:moveTo>
                      <a:pt x="58774" y="109897"/>
                    </a:moveTo>
                    <a:cubicBezTo>
                      <a:pt x="70892" y="109897"/>
                      <a:pt x="79981" y="105647"/>
                      <a:pt x="86646" y="97754"/>
                    </a:cubicBezTo>
                    <a:cubicBezTo>
                      <a:pt x="92705" y="89254"/>
                      <a:pt x="95735" y="78325"/>
                      <a:pt x="95735" y="63753"/>
                    </a:cubicBezTo>
                    <a:cubicBezTo>
                      <a:pt x="95735" y="49181"/>
                      <a:pt x="92705" y="38252"/>
                      <a:pt x="86646" y="29751"/>
                    </a:cubicBezTo>
                    <a:cubicBezTo>
                      <a:pt x="80587" y="21858"/>
                      <a:pt x="71498" y="17608"/>
                      <a:pt x="58774" y="17608"/>
                    </a:cubicBezTo>
                    <a:cubicBezTo>
                      <a:pt x="46656" y="17608"/>
                      <a:pt x="37567" y="21858"/>
                      <a:pt x="30902" y="29751"/>
                    </a:cubicBezTo>
                    <a:cubicBezTo>
                      <a:pt x="24237" y="37644"/>
                      <a:pt x="21207" y="49181"/>
                      <a:pt x="21207" y="63753"/>
                    </a:cubicBezTo>
                    <a:cubicBezTo>
                      <a:pt x="21207" y="78325"/>
                      <a:pt x="24843" y="89254"/>
                      <a:pt x="31508" y="97754"/>
                    </a:cubicBezTo>
                    <a:cubicBezTo>
                      <a:pt x="37567" y="106255"/>
                      <a:pt x="47261" y="109897"/>
                      <a:pt x="58774" y="109897"/>
                    </a:cubicBezTo>
                    <a:moveTo>
                      <a:pt x="58774" y="128720"/>
                    </a:moveTo>
                    <a:cubicBezTo>
                      <a:pt x="50291" y="128720"/>
                      <a:pt x="42414" y="127505"/>
                      <a:pt x="35143" y="124470"/>
                    </a:cubicBezTo>
                    <a:cubicBezTo>
                      <a:pt x="27872" y="121434"/>
                      <a:pt x="21813" y="117184"/>
                      <a:pt x="16360" y="112326"/>
                    </a:cubicBezTo>
                    <a:cubicBezTo>
                      <a:pt x="11512" y="106862"/>
                      <a:pt x="7271" y="100183"/>
                      <a:pt x="4241" y="91682"/>
                    </a:cubicBezTo>
                    <a:cubicBezTo>
                      <a:pt x="1212" y="83789"/>
                      <a:pt x="0" y="74075"/>
                      <a:pt x="0" y="64360"/>
                    </a:cubicBezTo>
                    <a:cubicBezTo>
                      <a:pt x="0" y="43716"/>
                      <a:pt x="5453" y="27930"/>
                      <a:pt x="16360" y="17001"/>
                    </a:cubicBezTo>
                    <a:cubicBezTo>
                      <a:pt x="27266" y="6072"/>
                      <a:pt x="41202" y="0"/>
                      <a:pt x="58774" y="0"/>
                    </a:cubicBezTo>
                    <a:cubicBezTo>
                      <a:pt x="75740" y="0"/>
                      <a:pt x="89676" y="5464"/>
                      <a:pt x="99976" y="17001"/>
                    </a:cubicBezTo>
                    <a:cubicBezTo>
                      <a:pt x="110277" y="27930"/>
                      <a:pt x="115730" y="43716"/>
                      <a:pt x="115730" y="64360"/>
                    </a:cubicBezTo>
                    <a:cubicBezTo>
                      <a:pt x="115730" y="84396"/>
                      <a:pt x="110277" y="100183"/>
                      <a:pt x="99976" y="111719"/>
                    </a:cubicBezTo>
                    <a:cubicBezTo>
                      <a:pt x="89676" y="122648"/>
                      <a:pt x="75740" y="128720"/>
                      <a:pt x="58774" y="128720"/>
                    </a:cubicBezTo>
                  </a:path>
                </a:pathLst>
              </a:custGeom>
              <a:solidFill>
                <a:srgbClr val="7F8183"/>
              </a:solidFill>
              <a:ln w="6029" cap="flat">
                <a:noFill/>
                <a:prstDash val="solid"/>
                <a:miter/>
              </a:ln>
            </p:spPr>
            <p:txBody>
              <a:bodyPr rtlCol="0" anchor="ctr"/>
              <a:lstStyle/>
              <a:p>
                <a:endParaRPr lang="x-none" sz="1905"/>
              </a:p>
            </p:txBody>
          </p:sp>
          <p:sp>
            <p:nvSpPr>
              <p:cNvPr id="30" name="Freeform 29">
                <a:extLst>
                  <a:ext uri="{FF2B5EF4-FFF2-40B4-BE49-F238E27FC236}">
                    <a16:creationId xmlns:a16="http://schemas.microsoft.com/office/drawing/2014/main" id="{8556FAA1-642F-2748-B827-7206E707245F}"/>
                  </a:ext>
                </a:extLst>
              </p:cNvPr>
              <p:cNvSpPr/>
              <p:nvPr/>
            </p:nvSpPr>
            <p:spPr>
              <a:xfrm>
                <a:off x="777347" y="5739365"/>
                <a:ext cx="136331" cy="158471"/>
              </a:xfrm>
              <a:custGeom>
                <a:avLst/>
                <a:gdLst>
                  <a:gd name="connsiteX0" fmla="*/ 47867 w 136331"/>
                  <a:gd name="connsiteY0" fmla="*/ 71039 h 158471"/>
                  <a:gd name="connsiteX1" fmla="*/ 43626 w 136331"/>
                  <a:gd name="connsiteY1" fmla="*/ 89861 h 158471"/>
                  <a:gd name="connsiteX2" fmla="*/ 36355 w 136331"/>
                  <a:gd name="connsiteY2" fmla="*/ 103826 h 158471"/>
                  <a:gd name="connsiteX3" fmla="*/ 96341 w 136331"/>
                  <a:gd name="connsiteY3" fmla="*/ 103826 h 158471"/>
                  <a:gd name="connsiteX4" fmla="*/ 96341 w 136331"/>
                  <a:gd name="connsiteY4" fmla="*/ 18822 h 158471"/>
                  <a:gd name="connsiteX5" fmla="*/ 49685 w 136331"/>
                  <a:gd name="connsiteY5" fmla="*/ 18822 h 158471"/>
                  <a:gd name="connsiteX6" fmla="*/ 49685 w 136331"/>
                  <a:gd name="connsiteY6" fmla="*/ 49788 h 158471"/>
                  <a:gd name="connsiteX7" fmla="*/ 47867 w 136331"/>
                  <a:gd name="connsiteY7" fmla="*/ 71039 h 158471"/>
                  <a:gd name="connsiteX8" fmla="*/ 0 w 136331"/>
                  <a:gd name="connsiteY8" fmla="*/ 104433 h 158471"/>
                  <a:gd name="connsiteX9" fmla="*/ 12724 w 136331"/>
                  <a:gd name="connsiteY9" fmla="*/ 104433 h 158471"/>
                  <a:gd name="connsiteX10" fmla="*/ 23631 w 136331"/>
                  <a:gd name="connsiteY10" fmla="*/ 89254 h 158471"/>
                  <a:gd name="connsiteX11" fmla="*/ 28478 w 136331"/>
                  <a:gd name="connsiteY11" fmla="*/ 68610 h 158471"/>
                  <a:gd name="connsiteX12" fmla="*/ 29084 w 136331"/>
                  <a:gd name="connsiteY12" fmla="*/ 58895 h 158471"/>
                  <a:gd name="connsiteX13" fmla="*/ 29690 w 136331"/>
                  <a:gd name="connsiteY13" fmla="*/ 45538 h 158471"/>
                  <a:gd name="connsiteX14" fmla="*/ 29690 w 136331"/>
                  <a:gd name="connsiteY14" fmla="*/ 26715 h 158471"/>
                  <a:gd name="connsiteX15" fmla="*/ 29690 w 136331"/>
                  <a:gd name="connsiteY15" fmla="*/ 0 h 158471"/>
                  <a:gd name="connsiteX16" fmla="*/ 116336 w 136331"/>
                  <a:gd name="connsiteY16" fmla="*/ 0 h 158471"/>
                  <a:gd name="connsiteX17" fmla="*/ 116336 w 136331"/>
                  <a:gd name="connsiteY17" fmla="*/ 104433 h 158471"/>
                  <a:gd name="connsiteX18" fmla="*/ 136331 w 136331"/>
                  <a:gd name="connsiteY18" fmla="*/ 104433 h 158471"/>
                  <a:gd name="connsiteX19" fmla="*/ 136331 w 136331"/>
                  <a:gd name="connsiteY19" fmla="*/ 158471 h 158471"/>
                  <a:gd name="connsiteX20" fmla="*/ 116336 w 136331"/>
                  <a:gd name="connsiteY20" fmla="*/ 158471 h 158471"/>
                  <a:gd name="connsiteX21" fmla="*/ 116336 w 136331"/>
                  <a:gd name="connsiteY21" fmla="*/ 123862 h 158471"/>
                  <a:gd name="connsiteX22" fmla="*/ 19995 w 136331"/>
                  <a:gd name="connsiteY22" fmla="*/ 123862 h 158471"/>
                  <a:gd name="connsiteX23" fmla="*/ 19995 w 136331"/>
                  <a:gd name="connsiteY23" fmla="*/ 158471 h 158471"/>
                  <a:gd name="connsiteX24" fmla="*/ 0 w 136331"/>
                  <a:gd name="connsiteY24" fmla="*/ 158471 h 158471"/>
                  <a:gd name="connsiteX25" fmla="*/ 0 w 136331"/>
                  <a:gd name="connsiteY25" fmla="*/ 104433 h 15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6331" h="158471">
                    <a:moveTo>
                      <a:pt x="47867" y="71039"/>
                    </a:moveTo>
                    <a:cubicBezTo>
                      <a:pt x="47261" y="78325"/>
                      <a:pt x="45444" y="84396"/>
                      <a:pt x="43626" y="89861"/>
                    </a:cubicBezTo>
                    <a:cubicBezTo>
                      <a:pt x="41202" y="95325"/>
                      <a:pt x="38779" y="100183"/>
                      <a:pt x="36355" y="103826"/>
                    </a:cubicBezTo>
                    <a:lnTo>
                      <a:pt x="96341" y="103826"/>
                    </a:lnTo>
                    <a:lnTo>
                      <a:pt x="96341" y="18822"/>
                    </a:lnTo>
                    <a:lnTo>
                      <a:pt x="49685" y="18822"/>
                    </a:lnTo>
                    <a:cubicBezTo>
                      <a:pt x="49685" y="30966"/>
                      <a:pt x="49685" y="41287"/>
                      <a:pt x="49685" y="49788"/>
                    </a:cubicBezTo>
                    <a:cubicBezTo>
                      <a:pt x="48473" y="59503"/>
                      <a:pt x="48473" y="66181"/>
                      <a:pt x="47867" y="71039"/>
                    </a:cubicBezTo>
                    <a:moveTo>
                      <a:pt x="0" y="104433"/>
                    </a:moveTo>
                    <a:lnTo>
                      <a:pt x="12724" y="104433"/>
                    </a:lnTo>
                    <a:cubicBezTo>
                      <a:pt x="16966" y="100790"/>
                      <a:pt x="20601" y="95933"/>
                      <a:pt x="23631" y="89254"/>
                    </a:cubicBezTo>
                    <a:cubicBezTo>
                      <a:pt x="26660" y="82575"/>
                      <a:pt x="28478" y="75896"/>
                      <a:pt x="28478" y="68610"/>
                    </a:cubicBezTo>
                    <a:cubicBezTo>
                      <a:pt x="28478" y="65574"/>
                      <a:pt x="29084" y="62538"/>
                      <a:pt x="29084" y="58895"/>
                    </a:cubicBezTo>
                    <a:cubicBezTo>
                      <a:pt x="29084" y="55252"/>
                      <a:pt x="29084" y="51002"/>
                      <a:pt x="29690" y="45538"/>
                    </a:cubicBezTo>
                    <a:cubicBezTo>
                      <a:pt x="29690" y="40073"/>
                      <a:pt x="29690" y="34001"/>
                      <a:pt x="29690" y="26715"/>
                    </a:cubicBezTo>
                    <a:cubicBezTo>
                      <a:pt x="29690" y="19429"/>
                      <a:pt x="29690" y="10322"/>
                      <a:pt x="29690" y="0"/>
                    </a:cubicBezTo>
                    <a:lnTo>
                      <a:pt x="116336" y="0"/>
                    </a:lnTo>
                    <a:lnTo>
                      <a:pt x="116336" y="104433"/>
                    </a:lnTo>
                    <a:lnTo>
                      <a:pt x="136331" y="104433"/>
                    </a:lnTo>
                    <a:lnTo>
                      <a:pt x="136331" y="158471"/>
                    </a:lnTo>
                    <a:lnTo>
                      <a:pt x="116336" y="158471"/>
                    </a:lnTo>
                    <a:lnTo>
                      <a:pt x="116336" y="123862"/>
                    </a:lnTo>
                    <a:lnTo>
                      <a:pt x="19995" y="123862"/>
                    </a:lnTo>
                    <a:lnTo>
                      <a:pt x="19995" y="158471"/>
                    </a:lnTo>
                    <a:lnTo>
                      <a:pt x="0" y="158471"/>
                    </a:lnTo>
                    <a:lnTo>
                      <a:pt x="0" y="104433"/>
                    </a:lnTo>
                    <a:close/>
                  </a:path>
                </a:pathLst>
              </a:custGeom>
              <a:solidFill>
                <a:srgbClr val="7F8183"/>
              </a:solidFill>
              <a:ln w="6029" cap="flat">
                <a:noFill/>
                <a:prstDash val="solid"/>
                <a:miter/>
              </a:ln>
            </p:spPr>
            <p:txBody>
              <a:bodyPr rtlCol="0" anchor="ctr"/>
              <a:lstStyle/>
              <a:p>
                <a:endParaRPr lang="x-none" sz="1905"/>
              </a:p>
            </p:txBody>
          </p:sp>
          <p:sp>
            <p:nvSpPr>
              <p:cNvPr id="31" name="Freeform 30">
                <a:extLst>
                  <a:ext uri="{FF2B5EF4-FFF2-40B4-BE49-F238E27FC236}">
                    <a16:creationId xmlns:a16="http://schemas.microsoft.com/office/drawing/2014/main" id="{CBF366C2-5026-274D-BB00-A1AF7BE53D59}"/>
                  </a:ext>
                </a:extLst>
              </p:cNvPr>
              <p:cNvSpPr/>
              <p:nvPr/>
            </p:nvSpPr>
            <p:spPr>
              <a:xfrm>
                <a:off x="919738" y="5739365"/>
                <a:ext cx="119365" cy="173650"/>
              </a:xfrm>
              <a:custGeom>
                <a:avLst/>
                <a:gdLst>
                  <a:gd name="connsiteX0" fmla="*/ 63621 w 119365"/>
                  <a:gd name="connsiteY0" fmla="*/ 142685 h 173650"/>
                  <a:gd name="connsiteX1" fmla="*/ 47261 w 119365"/>
                  <a:gd name="connsiteY1" fmla="*/ 166971 h 173650"/>
                  <a:gd name="connsiteX2" fmla="*/ 24237 w 119365"/>
                  <a:gd name="connsiteY2" fmla="*/ 173650 h 173650"/>
                  <a:gd name="connsiteX3" fmla="*/ 12724 w 119365"/>
                  <a:gd name="connsiteY3" fmla="*/ 173650 h 173650"/>
                  <a:gd name="connsiteX4" fmla="*/ 12724 w 119365"/>
                  <a:gd name="connsiteY4" fmla="*/ 154221 h 173650"/>
                  <a:gd name="connsiteX5" fmla="*/ 20601 w 119365"/>
                  <a:gd name="connsiteY5" fmla="*/ 154221 h 173650"/>
                  <a:gd name="connsiteX6" fmla="*/ 35749 w 119365"/>
                  <a:gd name="connsiteY6" fmla="*/ 150578 h 173650"/>
                  <a:gd name="connsiteX7" fmla="*/ 46050 w 119365"/>
                  <a:gd name="connsiteY7" fmla="*/ 136006 h 173650"/>
                  <a:gd name="connsiteX8" fmla="*/ 51503 w 119365"/>
                  <a:gd name="connsiteY8" fmla="*/ 122648 h 173650"/>
                  <a:gd name="connsiteX9" fmla="*/ 0 w 119365"/>
                  <a:gd name="connsiteY9" fmla="*/ 0 h 173650"/>
                  <a:gd name="connsiteX10" fmla="*/ 22419 w 119365"/>
                  <a:gd name="connsiteY10" fmla="*/ 0 h 173650"/>
                  <a:gd name="connsiteX11" fmla="*/ 62409 w 119365"/>
                  <a:gd name="connsiteY11" fmla="*/ 97754 h 173650"/>
                  <a:gd name="connsiteX12" fmla="*/ 98158 w 119365"/>
                  <a:gd name="connsiteY12" fmla="*/ 0 h 173650"/>
                  <a:gd name="connsiteX13" fmla="*/ 119366 w 119365"/>
                  <a:gd name="connsiteY13" fmla="*/ 0 h 173650"/>
                  <a:gd name="connsiteX14" fmla="*/ 63621 w 119365"/>
                  <a:gd name="connsiteY14" fmla="*/ 142685 h 17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365" h="173650">
                    <a:moveTo>
                      <a:pt x="63621" y="142685"/>
                    </a:moveTo>
                    <a:cubicBezTo>
                      <a:pt x="58774" y="154221"/>
                      <a:pt x="53927" y="162721"/>
                      <a:pt x="47261" y="166971"/>
                    </a:cubicBezTo>
                    <a:cubicBezTo>
                      <a:pt x="41202" y="171829"/>
                      <a:pt x="33325" y="173650"/>
                      <a:pt x="24237" y="173650"/>
                    </a:cubicBezTo>
                    <a:lnTo>
                      <a:pt x="12724" y="173650"/>
                    </a:lnTo>
                    <a:lnTo>
                      <a:pt x="12724" y="154221"/>
                    </a:lnTo>
                    <a:lnTo>
                      <a:pt x="20601" y="154221"/>
                    </a:lnTo>
                    <a:cubicBezTo>
                      <a:pt x="26660" y="154221"/>
                      <a:pt x="31508" y="153006"/>
                      <a:pt x="35749" y="150578"/>
                    </a:cubicBezTo>
                    <a:cubicBezTo>
                      <a:pt x="39991" y="148149"/>
                      <a:pt x="43626" y="143292"/>
                      <a:pt x="46050" y="136006"/>
                    </a:cubicBezTo>
                    <a:lnTo>
                      <a:pt x="51503" y="122648"/>
                    </a:lnTo>
                    <a:lnTo>
                      <a:pt x="0" y="0"/>
                    </a:lnTo>
                    <a:lnTo>
                      <a:pt x="22419" y="0"/>
                    </a:lnTo>
                    <a:lnTo>
                      <a:pt x="62409" y="97754"/>
                    </a:lnTo>
                    <a:lnTo>
                      <a:pt x="98158" y="0"/>
                    </a:lnTo>
                    <a:lnTo>
                      <a:pt x="119366" y="0"/>
                    </a:lnTo>
                    <a:lnTo>
                      <a:pt x="63621" y="142685"/>
                    </a:lnTo>
                    <a:close/>
                  </a:path>
                </a:pathLst>
              </a:custGeom>
              <a:solidFill>
                <a:srgbClr val="7F8183"/>
              </a:solidFill>
              <a:ln w="6029" cap="flat">
                <a:noFill/>
                <a:prstDash val="solid"/>
                <a:miter/>
              </a:ln>
            </p:spPr>
            <p:txBody>
              <a:bodyPr rtlCol="0" anchor="ctr"/>
              <a:lstStyle/>
              <a:p>
                <a:endParaRPr lang="x-none" sz="1905"/>
              </a:p>
            </p:txBody>
          </p:sp>
        </p:grpSp>
        <p:sp>
          <p:nvSpPr>
            <p:cNvPr id="32" name="Freeform 31">
              <a:extLst>
                <a:ext uri="{FF2B5EF4-FFF2-40B4-BE49-F238E27FC236}">
                  <a16:creationId xmlns:a16="http://schemas.microsoft.com/office/drawing/2014/main" id="{49747A05-B75D-0740-8253-04BC786E7B96}"/>
                </a:ext>
              </a:extLst>
            </p:cNvPr>
            <p:cNvSpPr/>
            <p:nvPr/>
          </p:nvSpPr>
          <p:spPr>
            <a:xfrm>
              <a:off x="1060310" y="5739365"/>
              <a:ext cx="142390" cy="123255"/>
            </a:xfrm>
            <a:custGeom>
              <a:avLst/>
              <a:gdLst>
                <a:gd name="connsiteX0" fmla="*/ 0 w 142390"/>
                <a:gd name="connsiteY0" fmla="*/ 123255 h 123255"/>
                <a:gd name="connsiteX1" fmla="*/ 0 w 142390"/>
                <a:gd name="connsiteY1" fmla="*/ 0 h 123255"/>
                <a:gd name="connsiteX2" fmla="*/ 30296 w 142390"/>
                <a:gd name="connsiteY2" fmla="*/ 0 h 123255"/>
                <a:gd name="connsiteX3" fmla="*/ 71498 w 142390"/>
                <a:gd name="connsiteY3" fmla="*/ 103219 h 123255"/>
                <a:gd name="connsiteX4" fmla="*/ 113306 w 142390"/>
                <a:gd name="connsiteY4" fmla="*/ 0 h 123255"/>
                <a:gd name="connsiteX5" fmla="*/ 142390 w 142390"/>
                <a:gd name="connsiteY5" fmla="*/ 0 h 123255"/>
                <a:gd name="connsiteX6" fmla="*/ 142390 w 142390"/>
                <a:gd name="connsiteY6" fmla="*/ 123255 h 123255"/>
                <a:gd name="connsiteX7" fmla="*/ 122395 w 142390"/>
                <a:gd name="connsiteY7" fmla="*/ 123255 h 123255"/>
                <a:gd name="connsiteX8" fmla="*/ 122395 w 142390"/>
                <a:gd name="connsiteY8" fmla="*/ 22465 h 123255"/>
                <a:gd name="connsiteX9" fmla="*/ 81193 w 142390"/>
                <a:gd name="connsiteY9" fmla="*/ 123255 h 123255"/>
                <a:gd name="connsiteX10" fmla="*/ 59986 w 142390"/>
                <a:gd name="connsiteY10" fmla="*/ 123255 h 123255"/>
                <a:gd name="connsiteX11" fmla="*/ 18783 w 142390"/>
                <a:gd name="connsiteY11" fmla="*/ 22465 h 123255"/>
                <a:gd name="connsiteX12" fmla="*/ 18783 w 142390"/>
                <a:gd name="connsiteY12" fmla="*/ 123255 h 12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390" h="123255">
                  <a:moveTo>
                    <a:pt x="0" y="123255"/>
                  </a:moveTo>
                  <a:lnTo>
                    <a:pt x="0" y="0"/>
                  </a:lnTo>
                  <a:lnTo>
                    <a:pt x="30296" y="0"/>
                  </a:lnTo>
                  <a:lnTo>
                    <a:pt x="71498" y="103219"/>
                  </a:lnTo>
                  <a:lnTo>
                    <a:pt x="113306" y="0"/>
                  </a:lnTo>
                  <a:lnTo>
                    <a:pt x="142390" y="0"/>
                  </a:lnTo>
                  <a:lnTo>
                    <a:pt x="142390" y="123255"/>
                  </a:lnTo>
                  <a:lnTo>
                    <a:pt x="122395" y="123255"/>
                  </a:lnTo>
                  <a:lnTo>
                    <a:pt x="122395" y="22465"/>
                  </a:lnTo>
                  <a:lnTo>
                    <a:pt x="81193" y="123255"/>
                  </a:lnTo>
                  <a:lnTo>
                    <a:pt x="59986" y="123255"/>
                  </a:lnTo>
                  <a:lnTo>
                    <a:pt x="18783" y="22465"/>
                  </a:lnTo>
                  <a:lnTo>
                    <a:pt x="18783" y="123255"/>
                  </a:lnTo>
                  <a:close/>
                </a:path>
              </a:pathLst>
            </a:custGeom>
            <a:solidFill>
              <a:srgbClr val="7F8183"/>
            </a:solidFill>
            <a:ln w="6029" cap="flat">
              <a:noFill/>
              <a:prstDash val="solid"/>
              <a:miter/>
            </a:ln>
          </p:spPr>
          <p:txBody>
            <a:bodyPr rtlCol="0" anchor="ctr"/>
            <a:lstStyle/>
            <a:p>
              <a:endParaRPr lang="x-none" sz="1905"/>
            </a:p>
          </p:txBody>
        </p:sp>
        <p:sp>
          <p:nvSpPr>
            <p:cNvPr id="33" name="Freeform 32">
              <a:extLst>
                <a:ext uri="{FF2B5EF4-FFF2-40B4-BE49-F238E27FC236}">
                  <a16:creationId xmlns:a16="http://schemas.microsoft.com/office/drawing/2014/main" id="{32EE0B4E-9BA3-DD48-97DB-A444742C390B}"/>
                </a:ext>
              </a:extLst>
            </p:cNvPr>
            <p:cNvSpPr/>
            <p:nvPr/>
          </p:nvSpPr>
          <p:spPr>
            <a:xfrm>
              <a:off x="1235420" y="5736936"/>
              <a:ext cx="100582" cy="128112"/>
            </a:xfrm>
            <a:custGeom>
              <a:avLst/>
              <a:gdLst>
                <a:gd name="connsiteX0" fmla="*/ 80587 w 100582"/>
                <a:gd name="connsiteY0" fmla="*/ 71039 h 128112"/>
                <a:gd name="connsiteX1" fmla="*/ 64227 w 100582"/>
                <a:gd name="connsiteY1" fmla="*/ 71039 h 128112"/>
                <a:gd name="connsiteX2" fmla="*/ 46656 w 100582"/>
                <a:gd name="connsiteY2" fmla="*/ 71039 h 128112"/>
                <a:gd name="connsiteX3" fmla="*/ 27266 w 100582"/>
                <a:gd name="connsiteY3" fmla="*/ 76503 h 128112"/>
                <a:gd name="connsiteX4" fmla="*/ 20601 w 100582"/>
                <a:gd name="connsiteY4" fmla="*/ 91075 h 128112"/>
                <a:gd name="connsiteX5" fmla="*/ 26660 w 100582"/>
                <a:gd name="connsiteY5" fmla="*/ 105040 h 128112"/>
                <a:gd name="connsiteX6" fmla="*/ 43626 w 100582"/>
                <a:gd name="connsiteY6" fmla="*/ 110505 h 128112"/>
                <a:gd name="connsiteX7" fmla="*/ 69680 w 100582"/>
                <a:gd name="connsiteY7" fmla="*/ 102611 h 128112"/>
                <a:gd name="connsiteX8" fmla="*/ 80587 w 100582"/>
                <a:gd name="connsiteY8" fmla="*/ 82575 h 128112"/>
                <a:gd name="connsiteX9" fmla="*/ 80587 w 100582"/>
                <a:gd name="connsiteY9" fmla="*/ 71039 h 128112"/>
                <a:gd name="connsiteX10" fmla="*/ 81799 w 100582"/>
                <a:gd name="connsiteY10" fmla="*/ 125684 h 128112"/>
                <a:gd name="connsiteX11" fmla="*/ 81799 w 100582"/>
                <a:gd name="connsiteY11" fmla="*/ 111112 h 128112"/>
                <a:gd name="connsiteX12" fmla="*/ 66045 w 100582"/>
                <a:gd name="connsiteY12" fmla="*/ 123255 h 128112"/>
                <a:gd name="connsiteX13" fmla="*/ 43020 w 100582"/>
                <a:gd name="connsiteY13" fmla="*/ 128113 h 128112"/>
                <a:gd name="connsiteX14" fmla="*/ 11512 w 100582"/>
                <a:gd name="connsiteY14" fmla="*/ 118398 h 128112"/>
                <a:gd name="connsiteX15" fmla="*/ 0 w 100582"/>
                <a:gd name="connsiteY15" fmla="*/ 91682 h 128112"/>
                <a:gd name="connsiteX16" fmla="*/ 12724 w 100582"/>
                <a:gd name="connsiteY16" fmla="*/ 63753 h 128112"/>
                <a:gd name="connsiteX17" fmla="*/ 46656 w 100582"/>
                <a:gd name="connsiteY17" fmla="*/ 54645 h 128112"/>
                <a:gd name="connsiteX18" fmla="*/ 64227 w 100582"/>
                <a:gd name="connsiteY18" fmla="*/ 54645 h 128112"/>
                <a:gd name="connsiteX19" fmla="*/ 80587 w 100582"/>
                <a:gd name="connsiteY19" fmla="*/ 55252 h 128112"/>
                <a:gd name="connsiteX20" fmla="*/ 80587 w 100582"/>
                <a:gd name="connsiteY20" fmla="*/ 44323 h 128112"/>
                <a:gd name="connsiteX21" fmla="*/ 72710 w 100582"/>
                <a:gd name="connsiteY21" fmla="*/ 24894 h 128112"/>
                <a:gd name="connsiteX22" fmla="*/ 53321 w 100582"/>
                <a:gd name="connsiteY22" fmla="*/ 18822 h 128112"/>
                <a:gd name="connsiteX23" fmla="*/ 33325 w 100582"/>
                <a:gd name="connsiteY23" fmla="*/ 25501 h 128112"/>
                <a:gd name="connsiteX24" fmla="*/ 23631 w 100582"/>
                <a:gd name="connsiteY24" fmla="*/ 41287 h 128112"/>
                <a:gd name="connsiteX25" fmla="*/ 4241 w 100582"/>
                <a:gd name="connsiteY25" fmla="*/ 37037 h 128112"/>
                <a:gd name="connsiteX26" fmla="*/ 20601 w 100582"/>
                <a:gd name="connsiteY26" fmla="*/ 10322 h 128112"/>
                <a:gd name="connsiteX27" fmla="*/ 53321 w 100582"/>
                <a:gd name="connsiteY27" fmla="*/ 0 h 128112"/>
                <a:gd name="connsiteX28" fmla="*/ 87252 w 100582"/>
                <a:gd name="connsiteY28" fmla="*/ 10322 h 128112"/>
                <a:gd name="connsiteX29" fmla="*/ 100582 w 100582"/>
                <a:gd name="connsiteY29" fmla="*/ 43109 h 128112"/>
                <a:gd name="connsiteX30" fmla="*/ 100582 w 100582"/>
                <a:gd name="connsiteY30" fmla="*/ 125684 h 128112"/>
                <a:gd name="connsiteX31" fmla="*/ 81799 w 100582"/>
                <a:gd name="connsiteY31" fmla="*/ 125684 h 12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0582" h="128112">
                  <a:moveTo>
                    <a:pt x="80587" y="71039"/>
                  </a:moveTo>
                  <a:cubicBezTo>
                    <a:pt x="75740" y="71039"/>
                    <a:pt x="70286" y="71039"/>
                    <a:pt x="64227" y="71039"/>
                  </a:cubicBezTo>
                  <a:cubicBezTo>
                    <a:pt x="58774" y="71039"/>
                    <a:pt x="52715" y="71039"/>
                    <a:pt x="46656" y="71039"/>
                  </a:cubicBezTo>
                  <a:cubicBezTo>
                    <a:pt x="38173" y="71646"/>
                    <a:pt x="31508" y="73467"/>
                    <a:pt x="27266" y="76503"/>
                  </a:cubicBezTo>
                  <a:cubicBezTo>
                    <a:pt x="23025" y="80146"/>
                    <a:pt x="20601" y="85004"/>
                    <a:pt x="20601" y="91075"/>
                  </a:cubicBezTo>
                  <a:cubicBezTo>
                    <a:pt x="20601" y="97147"/>
                    <a:pt x="22419" y="101397"/>
                    <a:pt x="26660" y="105040"/>
                  </a:cubicBezTo>
                  <a:cubicBezTo>
                    <a:pt x="30902" y="108683"/>
                    <a:pt x="36355" y="110505"/>
                    <a:pt x="43626" y="110505"/>
                  </a:cubicBezTo>
                  <a:cubicBezTo>
                    <a:pt x="53927" y="110505"/>
                    <a:pt x="62409" y="108076"/>
                    <a:pt x="69680" y="102611"/>
                  </a:cubicBezTo>
                  <a:cubicBezTo>
                    <a:pt x="76951" y="97754"/>
                    <a:pt x="80587" y="91075"/>
                    <a:pt x="80587" y="82575"/>
                  </a:cubicBezTo>
                  <a:lnTo>
                    <a:pt x="80587" y="71039"/>
                  </a:lnTo>
                  <a:close/>
                  <a:moveTo>
                    <a:pt x="81799" y="125684"/>
                  </a:moveTo>
                  <a:lnTo>
                    <a:pt x="81799" y="111112"/>
                  </a:lnTo>
                  <a:cubicBezTo>
                    <a:pt x="78163" y="115969"/>
                    <a:pt x="72710" y="120219"/>
                    <a:pt x="66045" y="123255"/>
                  </a:cubicBezTo>
                  <a:cubicBezTo>
                    <a:pt x="59380" y="126291"/>
                    <a:pt x="52109" y="128113"/>
                    <a:pt x="43020" y="128113"/>
                  </a:cubicBezTo>
                  <a:cubicBezTo>
                    <a:pt x="29690" y="128113"/>
                    <a:pt x="19389" y="125077"/>
                    <a:pt x="11512" y="118398"/>
                  </a:cubicBezTo>
                  <a:cubicBezTo>
                    <a:pt x="3635" y="111719"/>
                    <a:pt x="0" y="102611"/>
                    <a:pt x="0" y="91682"/>
                  </a:cubicBezTo>
                  <a:cubicBezTo>
                    <a:pt x="0" y="78932"/>
                    <a:pt x="4241" y="69824"/>
                    <a:pt x="12724" y="63753"/>
                  </a:cubicBezTo>
                  <a:cubicBezTo>
                    <a:pt x="21207" y="58288"/>
                    <a:pt x="32114" y="54645"/>
                    <a:pt x="46656" y="54645"/>
                  </a:cubicBezTo>
                  <a:cubicBezTo>
                    <a:pt x="52715" y="54645"/>
                    <a:pt x="58774" y="54645"/>
                    <a:pt x="64227" y="54645"/>
                  </a:cubicBezTo>
                  <a:cubicBezTo>
                    <a:pt x="69680" y="54645"/>
                    <a:pt x="75134" y="54645"/>
                    <a:pt x="80587" y="55252"/>
                  </a:cubicBezTo>
                  <a:lnTo>
                    <a:pt x="80587" y="44323"/>
                  </a:lnTo>
                  <a:cubicBezTo>
                    <a:pt x="80587" y="35216"/>
                    <a:pt x="78163" y="28537"/>
                    <a:pt x="72710" y="24894"/>
                  </a:cubicBezTo>
                  <a:cubicBezTo>
                    <a:pt x="67863" y="20644"/>
                    <a:pt x="61197" y="18822"/>
                    <a:pt x="53321" y="18822"/>
                  </a:cubicBezTo>
                  <a:cubicBezTo>
                    <a:pt x="44838" y="18822"/>
                    <a:pt x="38173" y="21251"/>
                    <a:pt x="33325" y="25501"/>
                  </a:cubicBezTo>
                  <a:cubicBezTo>
                    <a:pt x="29084" y="29751"/>
                    <a:pt x="25448" y="35216"/>
                    <a:pt x="23631" y="41287"/>
                  </a:cubicBezTo>
                  <a:lnTo>
                    <a:pt x="4241" y="37037"/>
                  </a:lnTo>
                  <a:cubicBezTo>
                    <a:pt x="6665" y="26108"/>
                    <a:pt x="12118" y="17608"/>
                    <a:pt x="20601" y="10322"/>
                  </a:cubicBezTo>
                  <a:cubicBezTo>
                    <a:pt x="29084" y="3643"/>
                    <a:pt x="39990" y="0"/>
                    <a:pt x="53321" y="0"/>
                  </a:cubicBezTo>
                  <a:cubicBezTo>
                    <a:pt x="67257" y="0"/>
                    <a:pt x="78769" y="3643"/>
                    <a:pt x="87252" y="10322"/>
                  </a:cubicBezTo>
                  <a:cubicBezTo>
                    <a:pt x="96341" y="17608"/>
                    <a:pt x="100582" y="28537"/>
                    <a:pt x="100582" y="43109"/>
                  </a:cubicBezTo>
                  <a:lnTo>
                    <a:pt x="100582" y="125684"/>
                  </a:lnTo>
                  <a:lnTo>
                    <a:pt x="81799" y="125684"/>
                  </a:lnTo>
                  <a:close/>
                </a:path>
              </a:pathLst>
            </a:custGeom>
            <a:solidFill>
              <a:srgbClr val="7F8183"/>
            </a:solidFill>
            <a:ln w="6029" cap="flat">
              <a:noFill/>
              <a:prstDash val="solid"/>
              <a:miter/>
            </a:ln>
          </p:spPr>
          <p:txBody>
            <a:bodyPr rtlCol="0" anchor="ctr"/>
            <a:lstStyle/>
            <a:p>
              <a:endParaRPr lang="x-none" sz="1905"/>
            </a:p>
          </p:txBody>
        </p:sp>
        <p:sp>
          <p:nvSpPr>
            <p:cNvPr id="34" name="Freeform 33">
              <a:extLst>
                <a:ext uri="{FF2B5EF4-FFF2-40B4-BE49-F238E27FC236}">
                  <a16:creationId xmlns:a16="http://schemas.microsoft.com/office/drawing/2014/main" id="{60D3034A-AB0E-A740-8B75-39B7FEDB4FB3}"/>
                </a:ext>
              </a:extLst>
            </p:cNvPr>
            <p:cNvSpPr/>
            <p:nvPr/>
          </p:nvSpPr>
          <p:spPr>
            <a:xfrm>
              <a:off x="1373569" y="5739365"/>
              <a:ext cx="106035" cy="123255"/>
            </a:xfrm>
            <a:custGeom>
              <a:avLst/>
              <a:gdLst>
                <a:gd name="connsiteX0" fmla="*/ 0 w 106035"/>
                <a:gd name="connsiteY0" fmla="*/ 123255 h 123255"/>
                <a:gd name="connsiteX1" fmla="*/ 0 w 106035"/>
                <a:gd name="connsiteY1" fmla="*/ 0 h 123255"/>
                <a:gd name="connsiteX2" fmla="*/ 20601 w 106035"/>
                <a:gd name="connsiteY2" fmla="*/ 0 h 123255"/>
                <a:gd name="connsiteX3" fmla="*/ 20601 w 106035"/>
                <a:gd name="connsiteY3" fmla="*/ 50395 h 123255"/>
                <a:gd name="connsiteX4" fmla="*/ 85434 w 106035"/>
                <a:gd name="connsiteY4" fmla="*/ 50395 h 123255"/>
                <a:gd name="connsiteX5" fmla="*/ 85434 w 106035"/>
                <a:gd name="connsiteY5" fmla="*/ 0 h 123255"/>
                <a:gd name="connsiteX6" fmla="*/ 106035 w 106035"/>
                <a:gd name="connsiteY6" fmla="*/ 0 h 123255"/>
                <a:gd name="connsiteX7" fmla="*/ 106035 w 106035"/>
                <a:gd name="connsiteY7" fmla="*/ 123255 h 123255"/>
                <a:gd name="connsiteX8" fmla="*/ 85434 w 106035"/>
                <a:gd name="connsiteY8" fmla="*/ 123255 h 123255"/>
                <a:gd name="connsiteX9" fmla="*/ 85434 w 106035"/>
                <a:gd name="connsiteY9" fmla="*/ 69824 h 123255"/>
                <a:gd name="connsiteX10" fmla="*/ 20601 w 106035"/>
                <a:gd name="connsiteY10" fmla="*/ 69824 h 123255"/>
                <a:gd name="connsiteX11" fmla="*/ 20601 w 106035"/>
                <a:gd name="connsiteY11" fmla="*/ 123255 h 12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035" h="123255">
                  <a:moveTo>
                    <a:pt x="0" y="123255"/>
                  </a:moveTo>
                  <a:lnTo>
                    <a:pt x="0" y="0"/>
                  </a:lnTo>
                  <a:lnTo>
                    <a:pt x="20601" y="0"/>
                  </a:lnTo>
                  <a:lnTo>
                    <a:pt x="20601" y="50395"/>
                  </a:lnTo>
                  <a:lnTo>
                    <a:pt x="85434" y="50395"/>
                  </a:lnTo>
                  <a:lnTo>
                    <a:pt x="85434" y="0"/>
                  </a:lnTo>
                  <a:lnTo>
                    <a:pt x="106035" y="0"/>
                  </a:lnTo>
                  <a:lnTo>
                    <a:pt x="106035" y="123255"/>
                  </a:lnTo>
                  <a:lnTo>
                    <a:pt x="85434" y="123255"/>
                  </a:lnTo>
                  <a:lnTo>
                    <a:pt x="85434" y="69824"/>
                  </a:lnTo>
                  <a:lnTo>
                    <a:pt x="20601" y="69824"/>
                  </a:lnTo>
                  <a:lnTo>
                    <a:pt x="20601" y="123255"/>
                  </a:lnTo>
                  <a:close/>
                </a:path>
              </a:pathLst>
            </a:custGeom>
            <a:solidFill>
              <a:srgbClr val="7F8183"/>
            </a:solidFill>
            <a:ln w="6029" cap="flat">
              <a:noFill/>
              <a:prstDash val="solid"/>
              <a:miter/>
            </a:ln>
          </p:spPr>
          <p:txBody>
            <a:bodyPr rtlCol="0" anchor="ctr"/>
            <a:lstStyle/>
            <a:p>
              <a:endParaRPr lang="x-none" sz="1905"/>
            </a:p>
          </p:txBody>
        </p:sp>
        <p:sp>
          <p:nvSpPr>
            <p:cNvPr id="35" name="Freeform 34">
              <a:extLst>
                <a:ext uri="{FF2B5EF4-FFF2-40B4-BE49-F238E27FC236}">
                  <a16:creationId xmlns:a16="http://schemas.microsoft.com/office/drawing/2014/main" id="{9AF1852C-0969-F44F-9BE4-53C016FAD576}"/>
                </a:ext>
              </a:extLst>
            </p:cNvPr>
            <p:cNvSpPr/>
            <p:nvPr/>
          </p:nvSpPr>
          <p:spPr>
            <a:xfrm>
              <a:off x="1517777" y="5739365"/>
              <a:ext cx="106035" cy="123255"/>
            </a:xfrm>
            <a:custGeom>
              <a:avLst/>
              <a:gdLst>
                <a:gd name="connsiteX0" fmla="*/ 0 w 106035"/>
                <a:gd name="connsiteY0" fmla="*/ 123255 h 123255"/>
                <a:gd name="connsiteX1" fmla="*/ 0 w 106035"/>
                <a:gd name="connsiteY1" fmla="*/ 0 h 123255"/>
                <a:gd name="connsiteX2" fmla="*/ 20601 w 106035"/>
                <a:gd name="connsiteY2" fmla="*/ 0 h 123255"/>
                <a:gd name="connsiteX3" fmla="*/ 20601 w 106035"/>
                <a:gd name="connsiteY3" fmla="*/ 50395 h 123255"/>
                <a:gd name="connsiteX4" fmla="*/ 85434 w 106035"/>
                <a:gd name="connsiteY4" fmla="*/ 50395 h 123255"/>
                <a:gd name="connsiteX5" fmla="*/ 85434 w 106035"/>
                <a:gd name="connsiteY5" fmla="*/ 0 h 123255"/>
                <a:gd name="connsiteX6" fmla="*/ 106035 w 106035"/>
                <a:gd name="connsiteY6" fmla="*/ 0 h 123255"/>
                <a:gd name="connsiteX7" fmla="*/ 106035 w 106035"/>
                <a:gd name="connsiteY7" fmla="*/ 123255 h 123255"/>
                <a:gd name="connsiteX8" fmla="*/ 85434 w 106035"/>
                <a:gd name="connsiteY8" fmla="*/ 123255 h 123255"/>
                <a:gd name="connsiteX9" fmla="*/ 85434 w 106035"/>
                <a:gd name="connsiteY9" fmla="*/ 69824 h 123255"/>
                <a:gd name="connsiteX10" fmla="*/ 20601 w 106035"/>
                <a:gd name="connsiteY10" fmla="*/ 69824 h 123255"/>
                <a:gd name="connsiteX11" fmla="*/ 20601 w 106035"/>
                <a:gd name="connsiteY11" fmla="*/ 123255 h 12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035" h="123255">
                  <a:moveTo>
                    <a:pt x="0" y="123255"/>
                  </a:moveTo>
                  <a:lnTo>
                    <a:pt x="0" y="0"/>
                  </a:lnTo>
                  <a:lnTo>
                    <a:pt x="20601" y="0"/>
                  </a:lnTo>
                  <a:lnTo>
                    <a:pt x="20601" y="50395"/>
                  </a:lnTo>
                  <a:lnTo>
                    <a:pt x="85434" y="50395"/>
                  </a:lnTo>
                  <a:lnTo>
                    <a:pt x="85434" y="0"/>
                  </a:lnTo>
                  <a:lnTo>
                    <a:pt x="106035" y="0"/>
                  </a:lnTo>
                  <a:lnTo>
                    <a:pt x="106035" y="123255"/>
                  </a:lnTo>
                  <a:lnTo>
                    <a:pt x="85434" y="123255"/>
                  </a:lnTo>
                  <a:lnTo>
                    <a:pt x="85434" y="69824"/>
                  </a:lnTo>
                  <a:lnTo>
                    <a:pt x="20601" y="69824"/>
                  </a:lnTo>
                  <a:lnTo>
                    <a:pt x="20601" y="123255"/>
                  </a:lnTo>
                  <a:close/>
                </a:path>
              </a:pathLst>
            </a:custGeom>
            <a:solidFill>
              <a:srgbClr val="7F8183"/>
            </a:solidFill>
            <a:ln w="6029" cap="flat">
              <a:noFill/>
              <a:prstDash val="solid"/>
              <a:miter/>
            </a:ln>
          </p:spPr>
          <p:txBody>
            <a:bodyPr rtlCol="0" anchor="ctr"/>
            <a:lstStyle/>
            <a:p>
              <a:endParaRPr lang="x-none" sz="1905"/>
            </a:p>
          </p:txBody>
        </p:sp>
        <p:sp>
          <p:nvSpPr>
            <p:cNvPr id="36" name="Freeform 35">
              <a:extLst>
                <a:ext uri="{FF2B5EF4-FFF2-40B4-BE49-F238E27FC236}">
                  <a16:creationId xmlns:a16="http://schemas.microsoft.com/office/drawing/2014/main" id="{45D4FCA0-14DC-494B-BCD3-DA0F923920D4}"/>
                </a:ext>
              </a:extLst>
            </p:cNvPr>
            <p:cNvSpPr/>
            <p:nvPr/>
          </p:nvSpPr>
          <p:spPr>
            <a:xfrm>
              <a:off x="1661985" y="5739365"/>
              <a:ext cx="133907" cy="123255"/>
            </a:xfrm>
            <a:custGeom>
              <a:avLst/>
              <a:gdLst>
                <a:gd name="connsiteX0" fmla="*/ 113306 w 133907"/>
                <a:gd name="connsiteY0" fmla="*/ 0 h 123255"/>
                <a:gd name="connsiteX1" fmla="*/ 133908 w 133907"/>
                <a:gd name="connsiteY1" fmla="*/ 0 h 123255"/>
                <a:gd name="connsiteX2" fmla="*/ 133908 w 133907"/>
                <a:gd name="connsiteY2" fmla="*/ 123255 h 123255"/>
                <a:gd name="connsiteX3" fmla="*/ 113306 w 133907"/>
                <a:gd name="connsiteY3" fmla="*/ 123255 h 123255"/>
                <a:gd name="connsiteX4" fmla="*/ 113306 w 133907"/>
                <a:gd name="connsiteY4" fmla="*/ 0 h 123255"/>
                <a:gd name="connsiteX5" fmla="*/ 52109 w 133907"/>
                <a:gd name="connsiteY5" fmla="*/ 61324 h 123255"/>
                <a:gd name="connsiteX6" fmla="*/ 20601 w 133907"/>
                <a:gd name="connsiteY6" fmla="*/ 61324 h 123255"/>
                <a:gd name="connsiteX7" fmla="*/ 20601 w 133907"/>
                <a:gd name="connsiteY7" fmla="*/ 105040 h 123255"/>
                <a:gd name="connsiteX8" fmla="*/ 52109 w 133907"/>
                <a:gd name="connsiteY8" fmla="*/ 105040 h 123255"/>
                <a:gd name="connsiteX9" fmla="*/ 70892 w 133907"/>
                <a:gd name="connsiteY9" fmla="*/ 98969 h 123255"/>
                <a:gd name="connsiteX10" fmla="*/ 75740 w 133907"/>
                <a:gd name="connsiteY10" fmla="*/ 82575 h 123255"/>
                <a:gd name="connsiteX11" fmla="*/ 70892 w 133907"/>
                <a:gd name="connsiteY11" fmla="*/ 66789 h 123255"/>
                <a:gd name="connsiteX12" fmla="*/ 52109 w 133907"/>
                <a:gd name="connsiteY12" fmla="*/ 61324 h 123255"/>
                <a:gd name="connsiteX13" fmla="*/ 0 w 133907"/>
                <a:gd name="connsiteY13" fmla="*/ 123255 h 123255"/>
                <a:gd name="connsiteX14" fmla="*/ 0 w 133907"/>
                <a:gd name="connsiteY14" fmla="*/ 0 h 123255"/>
                <a:gd name="connsiteX15" fmla="*/ 20601 w 133907"/>
                <a:gd name="connsiteY15" fmla="*/ 0 h 123255"/>
                <a:gd name="connsiteX16" fmla="*/ 20601 w 133907"/>
                <a:gd name="connsiteY16" fmla="*/ 42502 h 123255"/>
                <a:gd name="connsiteX17" fmla="*/ 52109 w 133907"/>
                <a:gd name="connsiteY17" fmla="*/ 42502 h 123255"/>
                <a:gd name="connsiteX18" fmla="*/ 84222 w 133907"/>
                <a:gd name="connsiteY18" fmla="*/ 52824 h 123255"/>
                <a:gd name="connsiteX19" fmla="*/ 95129 w 133907"/>
                <a:gd name="connsiteY19" fmla="*/ 81968 h 123255"/>
                <a:gd name="connsiteX20" fmla="*/ 84222 w 133907"/>
                <a:gd name="connsiteY20" fmla="*/ 112326 h 123255"/>
                <a:gd name="connsiteX21" fmla="*/ 51503 w 133907"/>
                <a:gd name="connsiteY21" fmla="*/ 123255 h 123255"/>
                <a:gd name="connsiteX22" fmla="*/ 0 w 133907"/>
                <a:gd name="connsiteY22" fmla="*/ 123255 h 12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3907" h="123255">
                  <a:moveTo>
                    <a:pt x="113306" y="0"/>
                  </a:moveTo>
                  <a:lnTo>
                    <a:pt x="133908" y="0"/>
                  </a:lnTo>
                  <a:lnTo>
                    <a:pt x="133908" y="123255"/>
                  </a:lnTo>
                  <a:lnTo>
                    <a:pt x="113306" y="123255"/>
                  </a:lnTo>
                  <a:lnTo>
                    <a:pt x="113306" y="0"/>
                  </a:lnTo>
                  <a:close/>
                  <a:moveTo>
                    <a:pt x="52109" y="61324"/>
                  </a:moveTo>
                  <a:lnTo>
                    <a:pt x="20601" y="61324"/>
                  </a:lnTo>
                  <a:lnTo>
                    <a:pt x="20601" y="105040"/>
                  </a:lnTo>
                  <a:lnTo>
                    <a:pt x="52109" y="105040"/>
                  </a:lnTo>
                  <a:cubicBezTo>
                    <a:pt x="61198" y="105040"/>
                    <a:pt x="67863" y="102612"/>
                    <a:pt x="70892" y="98969"/>
                  </a:cubicBezTo>
                  <a:cubicBezTo>
                    <a:pt x="74528" y="94718"/>
                    <a:pt x="75740" y="89254"/>
                    <a:pt x="75740" y="82575"/>
                  </a:cubicBezTo>
                  <a:cubicBezTo>
                    <a:pt x="75740" y="75896"/>
                    <a:pt x="73922" y="70432"/>
                    <a:pt x="70892" y="66789"/>
                  </a:cubicBezTo>
                  <a:cubicBezTo>
                    <a:pt x="67863" y="63146"/>
                    <a:pt x="61803" y="61324"/>
                    <a:pt x="52109" y="61324"/>
                  </a:cubicBezTo>
                  <a:moveTo>
                    <a:pt x="0" y="123255"/>
                  </a:moveTo>
                  <a:lnTo>
                    <a:pt x="0" y="0"/>
                  </a:lnTo>
                  <a:lnTo>
                    <a:pt x="20601" y="0"/>
                  </a:lnTo>
                  <a:lnTo>
                    <a:pt x="20601" y="42502"/>
                  </a:lnTo>
                  <a:lnTo>
                    <a:pt x="52109" y="42502"/>
                  </a:lnTo>
                  <a:cubicBezTo>
                    <a:pt x="66045" y="42502"/>
                    <a:pt x="76951" y="46145"/>
                    <a:pt x="84222" y="52824"/>
                  </a:cubicBezTo>
                  <a:cubicBezTo>
                    <a:pt x="91493" y="59503"/>
                    <a:pt x="95129" y="69217"/>
                    <a:pt x="95129" y="81968"/>
                  </a:cubicBezTo>
                  <a:cubicBezTo>
                    <a:pt x="95129" y="94718"/>
                    <a:pt x="91493" y="105040"/>
                    <a:pt x="84222" y="112326"/>
                  </a:cubicBezTo>
                  <a:cubicBezTo>
                    <a:pt x="76951" y="119612"/>
                    <a:pt x="66045" y="123255"/>
                    <a:pt x="51503" y="123255"/>
                  </a:cubicBezTo>
                  <a:lnTo>
                    <a:pt x="0" y="123255"/>
                  </a:lnTo>
                  <a:close/>
                </a:path>
              </a:pathLst>
            </a:custGeom>
            <a:solidFill>
              <a:srgbClr val="7F8183"/>
            </a:solidFill>
            <a:ln w="6029" cap="flat">
              <a:noFill/>
              <a:prstDash val="solid"/>
              <a:miter/>
            </a:ln>
          </p:spPr>
          <p:txBody>
            <a:bodyPr rtlCol="0" anchor="ctr"/>
            <a:lstStyle/>
            <a:p>
              <a:endParaRPr lang="x-none" sz="1905"/>
            </a:p>
          </p:txBody>
        </p:sp>
        <p:sp>
          <p:nvSpPr>
            <p:cNvPr id="37" name="Freeform 36">
              <a:extLst>
                <a:ext uri="{FF2B5EF4-FFF2-40B4-BE49-F238E27FC236}">
                  <a16:creationId xmlns:a16="http://schemas.microsoft.com/office/drawing/2014/main" id="{A2FFC28F-85FD-BE41-8204-70A20F75E032}"/>
                </a:ext>
              </a:extLst>
            </p:cNvPr>
            <p:cNvSpPr/>
            <p:nvPr/>
          </p:nvSpPr>
          <p:spPr>
            <a:xfrm>
              <a:off x="1818917" y="5739365"/>
              <a:ext cx="116941" cy="123255"/>
            </a:xfrm>
            <a:custGeom>
              <a:avLst/>
              <a:gdLst>
                <a:gd name="connsiteX0" fmla="*/ 92099 w 116941"/>
                <a:gd name="connsiteY0" fmla="*/ 123255 h 123255"/>
                <a:gd name="connsiteX1" fmla="*/ 57562 w 116941"/>
                <a:gd name="connsiteY1" fmla="*/ 74075 h 123255"/>
                <a:gd name="connsiteX2" fmla="*/ 24237 w 116941"/>
                <a:gd name="connsiteY2" fmla="*/ 123255 h 123255"/>
                <a:gd name="connsiteX3" fmla="*/ 0 w 116941"/>
                <a:gd name="connsiteY3" fmla="*/ 123255 h 123255"/>
                <a:gd name="connsiteX4" fmla="*/ 45444 w 116941"/>
                <a:gd name="connsiteY4" fmla="*/ 60110 h 123255"/>
                <a:gd name="connsiteX5" fmla="*/ 3030 w 116941"/>
                <a:gd name="connsiteY5" fmla="*/ 0 h 123255"/>
                <a:gd name="connsiteX6" fmla="*/ 26660 w 116941"/>
                <a:gd name="connsiteY6" fmla="*/ 0 h 123255"/>
                <a:gd name="connsiteX7" fmla="*/ 57562 w 116941"/>
                <a:gd name="connsiteY7" fmla="*/ 45538 h 123255"/>
                <a:gd name="connsiteX8" fmla="*/ 89070 w 116941"/>
                <a:gd name="connsiteY8" fmla="*/ 0 h 123255"/>
                <a:gd name="connsiteX9" fmla="*/ 112700 w 116941"/>
                <a:gd name="connsiteY9" fmla="*/ 0 h 123255"/>
                <a:gd name="connsiteX10" fmla="*/ 69680 w 116941"/>
                <a:gd name="connsiteY10" fmla="*/ 58895 h 123255"/>
                <a:gd name="connsiteX11" fmla="*/ 116942 w 116941"/>
                <a:gd name="connsiteY11" fmla="*/ 123255 h 12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41" h="123255">
                  <a:moveTo>
                    <a:pt x="92099" y="123255"/>
                  </a:moveTo>
                  <a:lnTo>
                    <a:pt x="57562" y="74075"/>
                  </a:lnTo>
                  <a:lnTo>
                    <a:pt x="24237" y="123255"/>
                  </a:lnTo>
                  <a:lnTo>
                    <a:pt x="0" y="123255"/>
                  </a:lnTo>
                  <a:lnTo>
                    <a:pt x="45444" y="60110"/>
                  </a:lnTo>
                  <a:lnTo>
                    <a:pt x="3030" y="0"/>
                  </a:lnTo>
                  <a:lnTo>
                    <a:pt x="26660" y="0"/>
                  </a:lnTo>
                  <a:lnTo>
                    <a:pt x="57562" y="45538"/>
                  </a:lnTo>
                  <a:lnTo>
                    <a:pt x="89070" y="0"/>
                  </a:lnTo>
                  <a:lnTo>
                    <a:pt x="112700" y="0"/>
                  </a:lnTo>
                  <a:lnTo>
                    <a:pt x="69680" y="58895"/>
                  </a:lnTo>
                  <a:lnTo>
                    <a:pt x="116942" y="123255"/>
                  </a:lnTo>
                  <a:close/>
                </a:path>
              </a:pathLst>
            </a:custGeom>
            <a:solidFill>
              <a:srgbClr val="7F8183"/>
            </a:solidFill>
            <a:ln w="6029" cap="flat">
              <a:noFill/>
              <a:prstDash val="solid"/>
              <a:miter/>
            </a:ln>
          </p:spPr>
          <p:txBody>
            <a:bodyPr rtlCol="0" anchor="ctr"/>
            <a:lstStyle/>
            <a:p>
              <a:endParaRPr lang="x-none" sz="1905"/>
            </a:p>
          </p:txBody>
        </p:sp>
        <p:grpSp>
          <p:nvGrpSpPr>
            <p:cNvPr id="38" name="Graphic 11">
              <a:extLst>
                <a:ext uri="{FF2B5EF4-FFF2-40B4-BE49-F238E27FC236}">
                  <a16:creationId xmlns:a16="http://schemas.microsoft.com/office/drawing/2014/main" id="{2B14A07C-F107-AD4B-84D8-19021835B693}"/>
                </a:ext>
              </a:extLst>
            </p:cNvPr>
            <p:cNvGrpSpPr/>
            <p:nvPr/>
          </p:nvGrpSpPr>
          <p:grpSpPr>
            <a:xfrm>
              <a:off x="368960" y="6001054"/>
              <a:ext cx="249637" cy="176686"/>
              <a:chOff x="368960" y="6001054"/>
              <a:chExt cx="249637" cy="176686"/>
            </a:xfrm>
            <a:solidFill>
              <a:srgbClr val="CFD4D9"/>
            </a:solidFill>
          </p:grpSpPr>
          <p:sp>
            <p:nvSpPr>
              <p:cNvPr id="39" name="Freeform 38">
                <a:extLst>
                  <a:ext uri="{FF2B5EF4-FFF2-40B4-BE49-F238E27FC236}">
                    <a16:creationId xmlns:a16="http://schemas.microsoft.com/office/drawing/2014/main" id="{F3BC9B31-FED1-1348-9FC7-4B7596D6EE7B}"/>
                  </a:ext>
                </a:extLst>
              </p:cNvPr>
              <p:cNvSpPr/>
              <p:nvPr/>
            </p:nvSpPr>
            <p:spPr>
              <a:xfrm>
                <a:off x="368960" y="6001054"/>
                <a:ext cx="116335" cy="176686"/>
              </a:xfrm>
              <a:custGeom>
                <a:avLst/>
                <a:gdLst>
                  <a:gd name="connsiteX0" fmla="*/ 19995 w 116335"/>
                  <a:gd name="connsiteY0" fmla="*/ 74682 h 176686"/>
                  <a:gd name="connsiteX1" fmla="*/ 31508 w 116335"/>
                  <a:gd name="connsiteY1" fmla="*/ 100790 h 176686"/>
                  <a:gd name="connsiteX2" fmla="*/ 58774 w 116335"/>
                  <a:gd name="connsiteY2" fmla="*/ 110505 h 176686"/>
                  <a:gd name="connsiteX3" fmla="*/ 85434 w 116335"/>
                  <a:gd name="connsiteY3" fmla="*/ 97754 h 176686"/>
                  <a:gd name="connsiteX4" fmla="*/ 95129 w 116335"/>
                  <a:gd name="connsiteY4" fmla="*/ 63753 h 176686"/>
                  <a:gd name="connsiteX5" fmla="*/ 85434 w 116335"/>
                  <a:gd name="connsiteY5" fmla="*/ 30966 h 176686"/>
                  <a:gd name="connsiteX6" fmla="*/ 58168 w 116335"/>
                  <a:gd name="connsiteY6" fmla="*/ 18215 h 176686"/>
                  <a:gd name="connsiteX7" fmla="*/ 44232 w 116335"/>
                  <a:gd name="connsiteY7" fmla="*/ 20644 h 176686"/>
                  <a:gd name="connsiteX8" fmla="*/ 32114 w 116335"/>
                  <a:gd name="connsiteY8" fmla="*/ 28537 h 176686"/>
                  <a:gd name="connsiteX9" fmla="*/ 23631 w 116335"/>
                  <a:gd name="connsiteY9" fmla="*/ 41287 h 176686"/>
                  <a:gd name="connsiteX10" fmla="*/ 20601 w 116335"/>
                  <a:gd name="connsiteY10" fmla="*/ 58895 h 176686"/>
                  <a:gd name="connsiteX11" fmla="*/ 20601 w 116335"/>
                  <a:gd name="connsiteY11" fmla="*/ 74682 h 176686"/>
                  <a:gd name="connsiteX12" fmla="*/ 0 w 116335"/>
                  <a:gd name="connsiteY12" fmla="*/ 176686 h 176686"/>
                  <a:gd name="connsiteX13" fmla="*/ 0 w 116335"/>
                  <a:gd name="connsiteY13" fmla="*/ 3036 h 176686"/>
                  <a:gd name="connsiteX14" fmla="*/ 20601 w 116335"/>
                  <a:gd name="connsiteY14" fmla="*/ 3036 h 176686"/>
                  <a:gd name="connsiteX15" fmla="*/ 20601 w 116335"/>
                  <a:gd name="connsiteY15" fmla="*/ 19429 h 176686"/>
                  <a:gd name="connsiteX16" fmla="*/ 38779 w 116335"/>
                  <a:gd name="connsiteY16" fmla="*/ 4857 h 176686"/>
                  <a:gd name="connsiteX17" fmla="*/ 62409 w 116335"/>
                  <a:gd name="connsiteY17" fmla="*/ 0 h 176686"/>
                  <a:gd name="connsiteX18" fmla="*/ 83616 w 116335"/>
                  <a:gd name="connsiteY18" fmla="*/ 4250 h 176686"/>
                  <a:gd name="connsiteX19" fmla="*/ 100582 w 116335"/>
                  <a:gd name="connsiteY19" fmla="*/ 16394 h 176686"/>
                  <a:gd name="connsiteX20" fmla="*/ 112094 w 116335"/>
                  <a:gd name="connsiteY20" fmla="*/ 36430 h 176686"/>
                  <a:gd name="connsiteX21" fmla="*/ 116336 w 116335"/>
                  <a:gd name="connsiteY21" fmla="*/ 63753 h 176686"/>
                  <a:gd name="connsiteX22" fmla="*/ 100582 w 116335"/>
                  <a:gd name="connsiteY22" fmla="*/ 111719 h 176686"/>
                  <a:gd name="connsiteX23" fmla="*/ 58774 w 116335"/>
                  <a:gd name="connsiteY23" fmla="*/ 129327 h 176686"/>
                  <a:gd name="connsiteX24" fmla="*/ 36961 w 116335"/>
                  <a:gd name="connsiteY24" fmla="*/ 125077 h 176686"/>
                  <a:gd name="connsiteX25" fmla="*/ 20601 w 116335"/>
                  <a:gd name="connsiteY25" fmla="*/ 112933 h 176686"/>
                  <a:gd name="connsiteX26" fmla="*/ 20601 w 116335"/>
                  <a:gd name="connsiteY26" fmla="*/ 176686 h 176686"/>
                  <a:gd name="connsiteX27" fmla="*/ 0 w 116335"/>
                  <a:gd name="connsiteY27" fmla="*/ 176686 h 17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6335" h="176686">
                    <a:moveTo>
                      <a:pt x="19995" y="74682"/>
                    </a:moveTo>
                    <a:cubicBezTo>
                      <a:pt x="19995" y="86218"/>
                      <a:pt x="23631" y="94718"/>
                      <a:pt x="31508" y="100790"/>
                    </a:cubicBezTo>
                    <a:cubicBezTo>
                      <a:pt x="39385" y="106862"/>
                      <a:pt x="48473" y="110505"/>
                      <a:pt x="58774" y="110505"/>
                    </a:cubicBezTo>
                    <a:cubicBezTo>
                      <a:pt x="70286" y="110505"/>
                      <a:pt x="78769" y="106255"/>
                      <a:pt x="85434" y="97754"/>
                    </a:cubicBezTo>
                    <a:cubicBezTo>
                      <a:pt x="92099" y="89254"/>
                      <a:pt x="95129" y="78325"/>
                      <a:pt x="95129" y="63753"/>
                    </a:cubicBezTo>
                    <a:cubicBezTo>
                      <a:pt x="95129" y="50395"/>
                      <a:pt x="92099" y="39466"/>
                      <a:pt x="85434" y="30966"/>
                    </a:cubicBezTo>
                    <a:cubicBezTo>
                      <a:pt x="78769" y="22465"/>
                      <a:pt x="69680" y="18215"/>
                      <a:pt x="58168" y="18215"/>
                    </a:cubicBezTo>
                    <a:cubicBezTo>
                      <a:pt x="53321" y="18215"/>
                      <a:pt x="48473" y="18822"/>
                      <a:pt x="44232" y="20644"/>
                    </a:cubicBezTo>
                    <a:cubicBezTo>
                      <a:pt x="39990" y="22465"/>
                      <a:pt x="35749" y="24894"/>
                      <a:pt x="32114" y="28537"/>
                    </a:cubicBezTo>
                    <a:cubicBezTo>
                      <a:pt x="28478" y="32180"/>
                      <a:pt x="25448" y="36430"/>
                      <a:pt x="23631" y="41287"/>
                    </a:cubicBezTo>
                    <a:cubicBezTo>
                      <a:pt x="21207" y="46752"/>
                      <a:pt x="20601" y="52216"/>
                      <a:pt x="20601" y="58895"/>
                    </a:cubicBezTo>
                    <a:lnTo>
                      <a:pt x="20601" y="74682"/>
                    </a:lnTo>
                    <a:close/>
                    <a:moveTo>
                      <a:pt x="0" y="176686"/>
                    </a:moveTo>
                    <a:lnTo>
                      <a:pt x="0" y="3036"/>
                    </a:lnTo>
                    <a:lnTo>
                      <a:pt x="20601" y="3036"/>
                    </a:lnTo>
                    <a:lnTo>
                      <a:pt x="20601" y="19429"/>
                    </a:lnTo>
                    <a:cubicBezTo>
                      <a:pt x="24843" y="12750"/>
                      <a:pt x="30902" y="8500"/>
                      <a:pt x="38779" y="4857"/>
                    </a:cubicBezTo>
                    <a:cubicBezTo>
                      <a:pt x="46050" y="1822"/>
                      <a:pt x="53927" y="0"/>
                      <a:pt x="62409" y="0"/>
                    </a:cubicBezTo>
                    <a:cubicBezTo>
                      <a:pt x="69680" y="0"/>
                      <a:pt x="76951" y="1214"/>
                      <a:pt x="83616" y="4250"/>
                    </a:cubicBezTo>
                    <a:cubicBezTo>
                      <a:pt x="90282" y="6679"/>
                      <a:pt x="95735" y="10929"/>
                      <a:pt x="100582" y="16394"/>
                    </a:cubicBezTo>
                    <a:cubicBezTo>
                      <a:pt x="105429" y="21858"/>
                      <a:pt x="109671" y="28537"/>
                      <a:pt x="112094" y="36430"/>
                    </a:cubicBezTo>
                    <a:cubicBezTo>
                      <a:pt x="115124" y="44323"/>
                      <a:pt x="116336" y="53431"/>
                      <a:pt x="116336" y="63753"/>
                    </a:cubicBezTo>
                    <a:cubicBezTo>
                      <a:pt x="116336" y="84396"/>
                      <a:pt x="110883" y="100183"/>
                      <a:pt x="100582" y="111719"/>
                    </a:cubicBezTo>
                    <a:cubicBezTo>
                      <a:pt x="90282" y="123255"/>
                      <a:pt x="76345" y="129327"/>
                      <a:pt x="58774" y="129327"/>
                    </a:cubicBezTo>
                    <a:cubicBezTo>
                      <a:pt x="50897" y="129327"/>
                      <a:pt x="43626" y="128113"/>
                      <a:pt x="36961" y="125077"/>
                    </a:cubicBezTo>
                    <a:cubicBezTo>
                      <a:pt x="30296" y="122041"/>
                      <a:pt x="24843" y="118398"/>
                      <a:pt x="20601" y="112933"/>
                    </a:cubicBezTo>
                    <a:lnTo>
                      <a:pt x="20601" y="176686"/>
                    </a:lnTo>
                    <a:lnTo>
                      <a:pt x="0" y="176686"/>
                    </a:lnTo>
                    <a:close/>
                  </a:path>
                </a:pathLst>
              </a:custGeom>
              <a:solidFill>
                <a:srgbClr val="7F8183"/>
              </a:solidFill>
              <a:ln w="6029" cap="flat">
                <a:noFill/>
                <a:prstDash val="solid"/>
                <a:miter/>
              </a:ln>
            </p:spPr>
            <p:txBody>
              <a:bodyPr rtlCol="0" anchor="ctr"/>
              <a:lstStyle/>
              <a:p>
                <a:endParaRPr lang="x-none" sz="1905"/>
              </a:p>
            </p:txBody>
          </p:sp>
          <p:sp>
            <p:nvSpPr>
              <p:cNvPr id="40" name="Freeform 39">
                <a:extLst>
                  <a:ext uri="{FF2B5EF4-FFF2-40B4-BE49-F238E27FC236}">
                    <a16:creationId xmlns:a16="http://schemas.microsoft.com/office/drawing/2014/main" id="{4E2BC8D1-0D0C-9D43-867A-437A37E4CDDF}"/>
                  </a:ext>
                </a:extLst>
              </p:cNvPr>
              <p:cNvSpPr/>
              <p:nvPr/>
            </p:nvSpPr>
            <p:spPr>
              <a:xfrm>
                <a:off x="508321" y="6002269"/>
                <a:ext cx="110276" cy="128112"/>
              </a:xfrm>
              <a:custGeom>
                <a:avLst/>
                <a:gdLst>
                  <a:gd name="connsiteX0" fmla="*/ 56956 w 110276"/>
                  <a:gd name="connsiteY0" fmla="*/ 17001 h 128112"/>
                  <a:gd name="connsiteX1" fmla="*/ 33325 w 110276"/>
                  <a:gd name="connsiteY1" fmla="*/ 26108 h 128112"/>
                  <a:gd name="connsiteX2" fmla="*/ 21207 w 110276"/>
                  <a:gd name="connsiteY2" fmla="*/ 49788 h 128112"/>
                  <a:gd name="connsiteX3" fmla="*/ 90282 w 110276"/>
                  <a:gd name="connsiteY3" fmla="*/ 49788 h 128112"/>
                  <a:gd name="connsiteX4" fmla="*/ 81799 w 110276"/>
                  <a:gd name="connsiteY4" fmla="*/ 26108 h 128112"/>
                  <a:gd name="connsiteX5" fmla="*/ 56956 w 110276"/>
                  <a:gd name="connsiteY5" fmla="*/ 17001 h 128112"/>
                  <a:gd name="connsiteX6" fmla="*/ 110277 w 110276"/>
                  <a:gd name="connsiteY6" fmla="*/ 67396 h 128112"/>
                  <a:gd name="connsiteX7" fmla="*/ 20601 w 110276"/>
                  <a:gd name="connsiteY7" fmla="*/ 67396 h 128112"/>
                  <a:gd name="connsiteX8" fmla="*/ 32114 w 110276"/>
                  <a:gd name="connsiteY8" fmla="*/ 98969 h 128112"/>
                  <a:gd name="connsiteX9" fmla="*/ 58168 w 110276"/>
                  <a:gd name="connsiteY9" fmla="*/ 109898 h 128112"/>
                  <a:gd name="connsiteX10" fmla="*/ 80587 w 110276"/>
                  <a:gd name="connsiteY10" fmla="*/ 103219 h 128112"/>
                  <a:gd name="connsiteX11" fmla="*/ 90887 w 110276"/>
                  <a:gd name="connsiteY11" fmla="*/ 87432 h 128112"/>
                  <a:gd name="connsiteX12" fmla="*/ 110277 w 110276"/>
                  <a:gd name="connsiteY12" fmla="*/ 91075 h 128112"/>
                  <a:gd name="connsiteX13" fmla="*/ 92099 w 110276"/>
                  <a:gd name="connsiteY13" fmla="*/ 118398 h 128112"/>
                  <a:gd name="connsiteX14" fmla="*/ 57562 w 110276"/>
                  <a:gd name="connsiteY14" fmla="*/ 128113 h 128112"/>
                  <a:gd name="connsiteX15" fmla="*/ 15754 w 110276"/>
                  <a:gd name="connsiteY15" fmla="*/ 111112 h 128112"/>
                  <a:gd name="connsiteX16" fmla="*/ 0 w 110276"/>
                  <a:gd name="connsiteY16" fmla="*/ 63753 h 128112"/>
                  <a:gd name="connsiteX17" fmla="*/ 4241 w 110276"/>
                  <a:gd name="connsiteY17" fmla="*/ 36430 h 128112"/>
                  <a:gd name="connsiteX18" fmla="*/ 16360 w 110276"/>
                  <a:gd name="connsiteY18" fmla="*/ 16394 h 128112"/>
                  <a:gd name="connsiteX19" fmla="*/ 34537 w 110276"/>
                  <a:gd name="connsiteY19" fmla="*/ 4250 h 128112"/>
                  <a:gd name="connsiteX20" fmla="*/ 56956 w 110276"/>
                  <a:gd name="connsiteY20" fmla="*/ 0 h 128112"/>
                  <a:gd name="connsiteX21" fmla="*/ 95735 w 110276"/>
                  <a:gd name="connsiteY21" fmla="*/ 15786 h 128112"/>
                  <a:gd name="connsiteX22" fmla="*/ 110277 w 110276"/>
                  <a:gd name="connsiteY22" fmla="*/ 59503 h 128112"/>
                  <a:gd name="connsiteX23" fmla="*/ 110277 w 110276"/>
                  <a:gd name="connsiteY23" fmla="*/ 67396 h 12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0276" h="128112">
                    <a:moveTo>
                      <a:pt x="56956" y="17001"/>
                    </a:moveTo>
                    <a:cubicBezTo>
                      <a:pt x="47261" y="17001"/>
                      <a:pt x="39385" y="20037"/>
                      <a:pt x="33325" y="26108"/>
                    </a:cubicBezTo>
                    <a:cubicBezTo>
                      <a:pt x="26660" y="32180"/>
                      <a:pt x="23025" y="40073"/>
                      <a:pt x="21207" y="49788"/>
                    </a:cubicBezTo>
                    <a:lnTo>
                      <a:pt x="90282" y="49788"/>
                    </a:lnTo>
                    <a:cubicBezTo>
                      <a:pt x="89676" y="40073"/>
                      <a:pt x="86646" y="32180"/>
                      <a:pt x="81799" y="26108"/>
                    </a:cubicBezTo>
                    <a:cubicBezTo>
                      <a:pt x="75740" y="20037"/>
                      <a:pt x="67863" y="17001"/>
                      <a:pt x="56956" y="17001"/>
                    </a:cubicBezTo>
                    <a:moveTo>
                      <a:pt x="110277" y="67396"/>
                    </a:moveTo>
                    <a:lnTo>
                      <a:pt x="20601" y="67396"/>
                    </a:lnTo>
                    <a:cubicBezTo>
                      <a:pt x="21207" y="81361"/>
                      <a:pt x="24843" y="91683"/>
                      <a:pt x="32114" y="98969"/>
                    </a:cubicBezTo>
                    <a:cubicBezTo>
                      <a:pt x="38779" y="106255"/>
                      <a:pt x="47867" y="109898"/>
                      <a:pt x="58168" y="109898"/>
                    </a:cubicBezTo>
                    <a:cubicBezTo>
                      <a:pt x="67863" y="109898"/>
                      <a:pt x="75134" y="107469"/>
                      <a:pt x="80587" y="103219"/>
                    </a:cubicBezTo>
                    <a:cubicBezTo>
                      <a:pt x="86040" y="98969"/>
                      <a:pt x="89070" y="93504"/>
                      <a:pt x="90887" y="87432"/>
                    </a:cubicBezTo>
                    <a:lnTo>
                      <a:pt x="110277" y="91075"/>
                    </a:lnTo>
                    <a:cubicBezTo>
                      <a:pt x="107247" y="102611"/>
                      <a:pt x="101188" y="111719"/>
                      <a:pt x="92099" y="118398"/>
                    </a:cubicBezTo>
                    <a:cubicBezTo>
                      <a:pt x="83011" y="125077"/>
                      <a:pt x="71498" y="128113"/>
                      <a:pt x="57562" y="128113"/>
                    </a:cubicBezTo>
                    <a:cubicBezTo>
                      <a:pt x="39990" y="128113"/>
                      <a:pt x="26054" y="122648"/>
                      <a:pt x="15754" y="111112"/>
                    </a:cubicBezTo>
                    <a:cubicBezTo>
                      <a:pt x="5453" y="99576"/>
                      <a:pt x="0" y="83789"/>
                      <a:pt x="0" y="63753"/>
                    </a:cubicBezTo>
                    <a:cubicBezTo>
                      <a:pt x="0" y="53431"/>
                      <a:pt x="1212" y="44323"/>
                      <a:pt x="4241" y="36430"/>
                    </a:cubicBezTo>
                    <a:cubicBezTo>
                      <a:pt x="7271" y="28537"/>
                      <a:pt x="11512" y="21858"/>
                      <a:pt x="16360" y="16394"/>
                    </a:cubicBezTo>
                    <a:cubicBezTo>
                      <a:pt x="21207" y="10929"/>
                      <a:pt x="27872" y="6679"/>
                      <a:pt x="34537" y="4250"/>
                    </a:cubicBezTo>
                    <a:cubicBezTo>
                      <a:pt x="41808" y="1214"/>
                      <a:pt x="49079" y="0"/>
                      <a:pt x="56956" y="0"/>
                    </a:cubicBezTo>
                    <a:cubicBezTo>
                      <a:pt x="73316" y="0"/>
                      <a:pt x="86040" y="5464"/>
                      <a:pt x="95735" y="15786"/>
                    </a:cubicBezTo>
                    <a:cubicBezTo>
                      <a:pt x="105429" y="26108"/>
                      <a:pt x="110277" y="40680"/>
                      <a:pt x="110277" y="59503"/>
                    </a:cubicBezTo>
                    <a:lnTo>
                      <a:pt x="110277" y="67396"/>
                    </a:lnTo>
                    <a:close/>
                  </a:path>
                </a:pathLst>
              </a:custGeom>
              <a:solidFill>
                <a:srgbClr val="7F8183"/>
              </a:solidFill>
              <a:ln w="6029" cap="flat">
                <a:noFill/>
                <a:prstDash val="solid"/>
                <a:miter/>
              </a:ln>
            </p:spPr>
            <p:txBody>
              <a:bodyPr rtlCol="0" anchor="ctr"/>
              <a:lstStyle/>
              <a:p>
                <a:endParaRPr lang="x-none" sz="1905"/>
              </a:p>
            </p:txBody>
          </p:sp>
        </p:grpSp>
        <p:sp>
          <p:nvSpPr>
            <p:cNvPr id="41" name="Freeform 40">
              <a:extLst>
                <a:ext uri="{FF2B5EF4-FFF2-40B4-BE49-F238E27FC236}">
                  <a16:creationId xmlns:a16="http://schemas.microsoft.com/office/drawing/2014/main" id="{8D538EF1-09C4-5448-A023-ECE6ED903AEA}"/>
                </a:ext>
              </a:extLst>
            </p:cNvPr>
            <p:cNvSpPr/>
            <p:nvPr/>
          </p:nvSpPr>
          <p:spPr>
            <a:xfrm>
              <a:off x="648893" y="6004090"/>
              <a:ext cx="161779" cy="123255"/>
            </a:xfrm>
            <a:custGeom>
              <a:avLst/>
              <a:gdLst>
                <a:gd name="connsiteX0" fmla="*/ 161780 w 161779"/>
                <a:gd name="connsiteY0" fmla="*/ 0 h 123255"/>
                <a:gd name="connsiteX1" fmla="*/ 161780 w 161779"/>
                <a:gd name="connsiteY1" fmla="*/ 123255 h 123255"/>
                <a:gd name="connsiteX2" fmla="*/ 0 w 161779"/>
                <a:gd name="connsiteY2" fmla="*/ 123255 h 123255"/>
                <a:gd name="connsiteX3" fmla="*/ 0 w 161779"/>
                <a:gd name="connsiteY3" fmla="*/ 0 h 123255"/>
                <a:gd name="connsiteX4" fmla="*/ 19995 w 161779"/>
                <a:gd name="connsiteY4" fmla="*/ 0 h 123255"/>
                <a:gd name="connsiteX5" fmla="*/ 19995 w 161779"/>
                <a:gd name="connsiteY5" fmla="*/ 104433 h 123255"/>
                <a:gd name="connsiteX6" fmla="*/ 70286 w 161779"/>
                <a:gd name="connsiteY6" fmla="*/ 104433 h 123255"/>
                <a:gd name="connsiteX7" fmla="*/ 70286 w 161779"/>
                <a:gd name="connsiteY7" fmla="*/ 0 h 123255"/>
                <a:gd name="connsiteX8" fmla="*/ 90887 w 161779"/>
                <a:gd name="connsiteY8" fmla="*/ 0 h 123255"/>
                <a:gd name="connsiteX9" fmla="*/ 90887 w 161779"/>
                <a:gd name="connsiteY9" fmla="*/ 104433 h 123255"/>
                <a:gd name="connsiteX10" fmla="*/ 141178 w 161779"/>
                <a:gd name="connsiteY10" fmla="*/ 104433 h 123255"/>
                <a:gd name="connsiteX11" fmla="*/ 141178 w 161779"/>
                <a:gd name="connsiteY11" fmla="*/ 0 h 12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779" h="123255">
                  <a:moveTo>
                    <a:pt x="161780" y="0"/>
                  </a:moveTo>
                  <a:lnTo>
                    <a:pt x="161780" y="123255"/>
                  </a:lnTo>
                  <a:lnTo>
                    <a:pt x="0" y="123255"/>
                  </a:lnTo>
                  <a:lnTo>
                    <a:pt x="0" y="0"/>
                  </a:lnTo>
                  <a:lnTo>
                    <a:pt x="19995" y="0"/>
                  </a:lnTo>
                  <a:lnTo>
                    <a:pt x="19995" y="104433"/>
                  </a:lnTo>
                  <a:lnTo>
                    <a:pt x="70286" y="104433"/>
                  </a:lnTo>
                  <a:lnTo>
                    <a:pt x="70286" y="0"/>
                  </a:lnTo>
                  <a:lnTo>
                    <a:pt x="90887" y="0"/>
                  </a:lnTo>
                  <a:lnTo>
                    <a:pt x="90887" y="104433"/>
                  </a:lnTo>
                  <a:lnTo>
                    <a:pt x="141178" y="104433"/>
                  </a:lnTo>
                  <a:lnTo>
                    <a:pt x="141178" y="0"/>
                  </a:lnTo>
                  <a:close/>
                </a:path>
              </a:pathLst>
            </a:custGeom>
            <a:solidFill>
              <a:srgbClr val="7F8183"/>
            </a:solidFill>
            <a:ln w="6029" cap="flat">
              <a:noFill/>
              <a:prstDash val="solid"/>
              <a:miter/>
            </a:ln>
          </p:spPr>
          <p:txBody>
            <a:bodyPr rtlCol="0" anchor="ctr"/>
            <a:lstStyle/>
            <a:p>
              <a:endParaRPr lang="x-none" sz="1905"/>
            </a:p>
          </p:txBody>
        </p:sp>
        <p:sp>
          <p:nvSpPr>
            <p:cNvPr id="42" name="Freeform 41">
              <a:extLst>
                <a:ext uri="{FF2B5EF4-FFF2-40B4-BE49-F238E27FC236}">
                  <a16:creationId xmlns:a16="http://schemas.microsoft.com/office/drawing/2014/main" id="{F406CBEB-901C-C047-9A70-891DF09F1017}"/>
                </a:ext>
              </a:extLst>
            </p:cNvPr>
            <p:cNvSpPr/>
            <p:nvPr/>
          </p:nvSpPr>
          <p:spPr>
            <a:xfrm>
              <a:off x="840969" y="6002269"/>
              <a:ext cx="110276" cy="128112"/>
            </a:xfrm>
            <a:custGeom>
              <a:avLst/>
              <a:gdLst>
                <a:gd name="connsiteX0" fmla="*/ 56956 w 110276"/>
                <a:gd name="connsiteY0" fmla="*/ 17001 h 128112"/>
                <a:gd name="connsiteX1" fmla="*/ 33325 w 110276"/>
                <a:gd name="connsiteY1" fmla="*/ 26108 h 128112"/>
                <a:gd name="connsiteX2" fmla="*/ 21207 w 110276"/>
                <a:gd name="connsiteY2" fmla="*/ 49788 h 128112"/>
                <a:gd name="connsiteX3" fmla="*/ 89676 w 110276"/>
                <a:gd name="connsiteY3" fmla="*/ 49788 h 128112"/>
                <a:gd name="connsiteX4" fmla="*/ 81193 w 110276"/>
                <a:gd name="connsiteY4" fmla="*/ 26108 h 128112"/>
                <a:gd name="connsiteX5" fmla="*/ 56956 w 110276"/>
                <a:gd name="connsiteY5" fmla="*/ 17001 h 128112"/>
                <a:gd name="connsiteX6" fmla="*/ 110277 w 110276"/>
                <a:gd name="connsiteY6" fmla="*/ 67396 h 128112"/>
                <a:gd name="connsiteX7" fmla="*/ 20601 w 110276"/>
                <a:gd name="connsiteY7" fmla="*/ 67396 h 128112"/>
                <a:gd name="connsiteX8" fmla="*/ 32114 w 110276"/>
                <a:gd name="connsiteY8" fmla="*/ 98969 h 128112"/>
                <a:gd name="connsiteX9" fmla="*/ 58168 w 110276"/>
                <a:gd name="connsiteY9" fmla="*/ 109898 h 128112"/>
                <a:gd name="connsiteX10" fmla="*/ 80587 w 110276"/>
                <a:gd name="connsiteY10" fmla="*/ 103219 h 128112"/>
                <a:gd name="connsiteX11" fmla="*/ 90887 w 110276"/>
                <a:gd name="connsiteY11" fmla="*/ 87432 h 128112"/>
                <a:gd name="connsiteX12" fmla="*/ 110277 w 110276"/>
                <a:gd name="connsiteY12" fmla="*/ 91075 h 128112"/>
                <a:gd name="connsiteX13" fmla="*/ 92099 w 110276"/>
                <a:gd name="connsiteY13" fmla="*/ 118398 h 128112"/>
                <a:gd name="connsiteX14" fmla="*/ 57562 w 110276"/>
                <a:gd name="connsiteY14" fmla="*/ 128113 h 128112"/>
                <a:gd name="connsiteX15" fmla="*/ 15754 w 110276"/>
                <a:gd name="connsiteY15" fmla="*/ 111112 h 128112"/>
                <a:gd name="connsiteX16" fmla="*/ 0 w 110276"/>
                <a:gd name="connsiteY16" fmla="*/ 63753 h 128112"/>
                <a:gd name="connsiteX17" fmla="*/ 4241 w 110276"/>
                <a:gd name="connsiteY17" fmla="*/ 36430 h 128112"/>
                <a:gd name="connsiteX18" fmla="*/ 16360 w 110276"/>
                <a:gd name="connsiteY18" fmla="*/ 16394 h 128112"/>
                <a:gd name="connsiteX19" fmla="*/ 34537 w 110276"/>
                <a:gd name="connsiteY19" fmla="*/ 4250 h 128112"/>
                <a:gd name="connsiteX20" fmla="*/ 56956 w 110276"/>
                <a:gd name="connsiteY20" fmla="*/ 0 h 128112"/>
                <a:gd name="connsiteX21" fmla="*/ 95735 w 110276"/>
                <a:gd name="connsiteY21" fmla="*/ 15786 h 128112"/>
                <a:gd name="connsiteX22" fmla="*/ 110277 w 110276"/>
                <a:gd name="connsiteY22" fmla="*/ 59503 h 128112"/>
                <a:gd name="connsiteX23" fmla="*/ 110277 w 110276"/>
                <a:gd name="connsiteY23" fmla="*/ 67396 h 12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0276" h="128112">
                  <a:moveTo>
                    <a:pt x="56956" y="17001"/>
                  </a:moveTo>
                  <a:cubicBezTo>
                    <a:pt x="47261" y="17001"/>
                    <a:pt x="39385" y="20037"/>
                    <a:pt x="33325" y="26108"/>
                  </a:cubicBezTo>
                  <a:cubicBezTo>
                    <a:pt x="26660" y="32180"/>
                    <a:pt x="23025" y="40073"/>
                    <a:pt x="21207" y="49788"/>
                  </a:cubicBezTo>
                  <a:lnTo>
                    <a:pt x="89676" y="49788"/>
                  </a:lnTo>
                  <a:cubicBezTo>
                    <a:pt x="89070" y="40073"/>
                    <a:pt x="86040" y="32180"/>
                    <a:pt x="81193" y="26108"/>
                  </a:cubicBezTo>
                  <a:cubicBezTo>
                    <a:pt x="75740" y="20037"/>
                    <a:pt x="67863" y="17001"/>
                    <a:pt x="56956" y="17001"/>
                  </a:cubicBezTo>
                  <a:moveTo>
                    <a:pt x="110277" y="67396"/>
                  </a:moveTo>
                  <a:lnTo>
                    <a:pt x="20601" y="67396"/>
                  </a:lnTo>
                  <a:cubicBezTo>
                    <a:pt x="21207" y="81361"/>
                    <a:pt x="24843" y="91683"/>
                    <a:pt x="32114" y="98969"/>
                  </a:cubicBezTo>
                  <a:cubicBezTo>
                    <a:pt x="38779" y="106255"/>
                    <a:pt x="47867" y="109898"/>
                    <a:pt x="58168" y="109898"/>
                  </a:cubicBezTo>
                  <a:cubicBezTo>
                    <a:pt x="67863" y="109898"/>
                    <a:pt x="75134" y="107469"/>
                    <a:pt x="80587" y="103219"/>
                  </a:cubicBezTo>
                  <a:cubicBezTo>
                    <a:pt x="86040" y="98969"/>
                    <a:pt x="89070" y="93504"/>
                    <a:pt x="90887" y="87432"/>
                  </a:cubicBezTo>
                  <a:lnTo>
                    <a:pt x="110277" y="91075"/>
                  </a:lnTo>
                  <a:cubicBezTo>
                    <a:pt x="107247" y="102611"/>
                    <a:pt x="101188" y="111719"/>
                    <a:pt x="92099" y="118398"/>
                  </a:cubicBezTo>
                  <a:cubicBezTo>
                    <a:pt x="83011" y="125077"/>
                    <a:pt x="71498" y="128113"/>
                    <a:pt x="57562" y="128113"/>
                  </a:cubicBezTo>
                  <a:cubicBezTo>
                    <a:pt x="39991" y="128113"/>
                    <a:pt x="26054" y="122648"/>
                    <a:pt x="15754" y="111112"/>
                  </a:cubicBezTo>
                  <a:cubicBezTo>
                    <a:pt x="5453" y="99576"/>
                    <a:pt x="0" y="83789"/>
                    <a:pt x="0" y="63753"/>
                  </a:cubicBezTo>
                  <a:cubicBezTo>
                    <a:pt x="0" y="53431"/>
                    <a:pt x="1212" y="44323"/>
                    <a:pt x="4241" y="36430"/>
                  </a:cubicBezTo>
                  <a:cubicBezTo>
                    <a:pt x="7271" y="28537"/>
                    <a:pt x="11512" y="21858"/>
                    <a:pt x="16360" y="16394"/>
                  </a:cubicBezTo>
                  <a:cubicBezTo>
                    <a:pt x="21207" y="10929"/>
                    <a:pt x="27872" y="6679"/>
                    <a:pt x="34537" y="4250"/>
                  </a:cubicBezTo>
                  <a:cubicBezTo>
                    <a:pt x="41808" y="1214"/>
                    <a:pt x="49079" y="0"/>
                    <a:pt x="56956" y="0"/>
                  </a:cubicBezTo>
                  <a:cubicBezTo>
                    <a:pt x="73316" y="0"/>
                    <a:pt x="86040" y="5464"/>
                    <a:pt x="95735" y="15786"/>
                  </a:cubicBezTo>
                  <a:cubicBezTo>
                    <a:pt x="105429" y="26108"/>
                    <a:pt x="110277" y="40680"/>
                    <a:pt x="110277" y="59503"/>
                  </a:cubicBezTo>
                  <a:lnTo>
                    <a:pt x="110277" y="67396"/>
                  </a:lnTo>
                  <a:close/>
                </a:path>
              </a:pathLst>
            </a:custGeom>
            <a:solidFill>
              <a:srgbClr val="7F8183"/>
            </a:solidFill>
            <a:ln w="6029" cap="flat">
              <a:noFill/>
              <a:prstDash val="solid"/>
              <a:miter/>
            </a:ln>
          </p:spPr>
          <p:txBody>
            <a:bodyPr rtlCol="0" anchor="ctr"/>
            <a:lstStyle/>
            <a:p>
              <a:endParaRPr lang="x-none" sz="1905"/>
            </a:p>
          </p:txBody>
        </p:sp>
        <p:sp>
          <p:nvSpPr>
            <p:cNvPr id="43" name="Freeform 42">
              <a:extLst>
                <a:ext uri="{FF2B5EF4-FFF2-40B4-BE49-F238E27FC236}">
                  <a16:creationId xmlns:a16="http://schemas.microsoft.com/office/drawing/2014/main" id="{637D608A-56A2-0F4D-B83C-5125774C3DA3}"/>
                </a:ext>
              </a:extLst>
            </p:cNvPr>
            <p:cNvSpPr/>
            <p:nvPr/>
          </p:nvSpPr>
          <p:spPr>
            <a:xfrm>
              <a:off x="981541" y="6004090"/>
              <a:ext cx="105429" cy="123255"/>
            </a:xfrm>
            <a:custGeom>
              <a:avLst/>
              <a:gdLst>
                <a:gd name="connsiteX0" fmla="*/ 0 w 105429"/>
                <a:gd name="connsiteY0" fmla="*/ 123255 h 123255"/>
                <a:gd name="connsiteX1" fmla="*/ 0 w 105429"/>
                <a:gd name="connsiteY1" fmla="*/ 0 h 123255"/>
                <a:gd name="connsiteX2" fmla="*/ 19995 w 105429"/>
                <a:gd name="connsiteY2" fmla="*/ 0 h 123255"/>
                <a:gd name="connsiteX3" fmla="*/ 19995 w 105429"/>
                <a:gd name="connsiteY3" fmla="*/ 50395 h 123255"/>
                <a:gd name="connsiteX4" fmla="*/ 85434 w 105429"/>
                <a:gd name="connsiteY4" fmla="*/ 50395 h 123255"/>
                <a:gd name="connsiteX5" fmla="*/ 85434 w 105429"/>
                <a:gd name="connsiteY5" fmla="*/ 0 h 123255"/>
                <a:gd name="connsiteX6" fmla="*/ 105429 w 105429"/>
                <a:gd name="connsiteY6" fmla="*/ 0 h 123255"/>
                <a:gd name="connsiteX7" fmla="*/ 105429 w 105429"/>
                <a:gd name="connsiteY7" fmla="*/ 123255 h 123255"/>
                <a:gd name="connsiteX8" fmla="*/ 85434 w 105429"/>
                <a:gd name="connsiteY8" fmla="*/ 123255 h 123255"/>
                <a:gd name="connsiteX9" fmla="*/ 85434 w 105429"/>
                <a:gd name="connsiteY9" fmla="*/ 69824 h 123255"/>
                <a:gd name="connsiteX10" fmla="*/ 19995 w 105429"/>
                <a:gd name="connsiteY10" fmla="*/ 69824 h 123255"/>
                <a:gd name="connsiteX11" fmla="*/ 19995 w 105429"/>
                <a:gd name="connsiteY11" fmla="*/ 123255 h 12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429" h="123255">
                  <a:moveTo>
                    <a:pt x="0" y="123255"/>
                  </a:moveTo>
                  <a:lnTo>
                    <a:pt x="0" y="0"/>
                  </a:lnTo>
                  <a:lnTo>
                    <a:pt x="19995" y="0"/>
                  </a:lnTo>
                  <a:lnTo>
                    <a:pt x="19995" y="50395"/>
                  </a:lnTo>
                  <a:lnTo>
                    <a:pt x="85434" y="50395"/>
                  </a:lnTo>
                  <a:lnTo>
                    <a:pt x="85434" y="0"/>
                  </a:lnTo>
                  <a:lnTo>
                    <a:pt x="105429" y="0"/>
                  </a:lnTo>
                  <a:lnTo>
                    <a:pt x="105429" y="123255"/>
                  </a:lnTo>
                  <a:lnTo>
                    <a:pt x="85434" y="123255"/>
                  </a:lnTo>
                  <a:lnTo>
                    <a:pt x="85434" y="69824"/>
                  </a:lnTo>
                  <a:lnTo>
                    <a:pt x="19995" y="69824"/>
                  </a:lnTo>
                  <a:lnTo>
                    <a:pt x="19995" y="123255"/>
                  </a:lnTo>
                  <a:close/>
                </a:path>
              </a:pathLst>
            </a:custGeom>
            <a:solidFill>
              <a:srgbClr val="7F8183"/>
            </a:solidFill>
            <a:ln w="6029" cap="flat">
              <a:noFill/>
              <a:prstDash val="solid"/>
              <a:miter/>
            </a:ln>
          </p:spPr>
          <p:txBody>
            <a:bodyPr rtlCol="0" anchor="ctr"/>
            <a:lstStyle/>
            <a:p>
              <a:endParaRPr lang="x-none" sz="1905"/>
            </a:p>
          </p:txBody>
        </p:sp>
        <p:sp>
          <p:nvSpPr>
            <p:cNvPr id="44" name="Freeform 43">
              <a:extLst>
                <a:ext uri="{FF2B5EF4-FFF2-40B4-BE49-F238E27FC236}">
                  <a16:creationId xmlns:a16="http://schemas.microsoft.com/office/drawing/2014/main" id="{39E2D56B-79BF-B94A-A1AF-575B1A1C53FF}"/>
                </a:ext>
              </a:extLst>
            </p:cNvPr>
            <p:cNvSpPr/>
            <p:nvPr/>
          </p:nvSpPr>
          <p:spPr>
            <a:xfrm>
              <a:off x="1125749" y="6004090"/>
              <a:ext cx="103005" cy="123255"/>
            </a:xfrm>
            <a:custGeom>
              <a:avLst/>
              <a:gdLst>
                <a:gd name="connsiteX0" fmla="*/ 21813 w 103005"/>
                <a:gd name="connsiteY0" fmla="*/ 123255 h 123255"/>
                <a:gd name="connsiteX1" fmla="*/ 0 w 103005"/>
                <a:gd name="connsiteY1" fmla="*/ 123255 h 123255"/>
                <a:gd name="connsiteX2" fmla="*/ 0 w 103005"/>
                <a:gd name="connsiteY2" fmla="*/ 0 h 123255"/>
                <a:gd name="connsiteX3" fmla="*/ 19389 w 103005"/>
                <a:gd name="connsiteY3" fmla="*/ 0 h 123255"/>
                <a:gd name="connsiteX4" fmla="*/ 19389 w 103005"/>
                <a:gd name="connsiteY4" fmla="*/ 96540 h 123255"/>
                <a:gd name="connsiteX5" fmla="*/ 80587 w 103005"/>
                <a:gd name="connsiteY5" fmla="*/ 0 h 123255"/>
                <a:gd name="connsiteX6" fmla="*/ 103006 w 103005"/>
                <a:gd name="connsiteY6" fmla="*/ 0 h 123255"/>
                <a:gd name="connsiteX7" fmla="*/ 103006 w 103005"/>
                <a:gd name="connsiteY7" fmla="*/ 123255 h 123255"/>
                <a:gd name="connsiteX8" fmla="*/ 83616 w 103005"/>
                <a:gd name="connsiteY8" fmla="*/ 123255 h 123255"/>
                <a:gd name="connsiteX9" fmla="*/ 83616 w 103005"/>
                <a:gd name="connsiteY9" fmla="*/ 26108 h 12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005" h="123255">
                  <a:moveTo>
                    <a:pt x="21813" y="123255"/>
                  </a:moveTo>
                  <a:lnTo>
                    <a:pt x="0" y="123255"/>
                  </a:lnTo>
                  <a:lnTo>
                    <a:pt x="0" y="0"/>
                  </a:lnTo>
                  <a:lnTo>
                    <a:pt x="19389" y="0"/>
                  </a:lnTo>
                  <a:lnTo>
                    <a:pt x="19389" y="96540"/>
                  </a:lnTo>
                  <a:lnTo>
                    <a:pt x="80587" y="0"/>
                  </a:lnTo>
                  <a:lnTo>
                    <a:pt x="103006" y="0"/>
                  </a:lnTo>
                  <a:lnTo>
                    <a:pt x="103006" y="123255"/>
                  </a:lnTo>
                  <a:lnTo>
                    <a:pt x="83616" y="123255"/>
                  </a:lnTo>
                  <a:lnTo>
                    <a:pt x="83616" y="26108"/>
                  </a:lnTo>
                  <a:close/>
                </a:path>
              </a:pathLst>
            </a:custGeom>
            <a:solidFill>
              <a:srgbClr val="7F8183"/>
            </a:solidFill>
            <a:ln w="6029" cap="flat">
              <a:noFill/>
              <a:prstDash val="solid"/>
              <a:miter/>
            </a:ln>
          </p:spPr>
          <p:txBody>
            <a:bodyPr rtlCol="0" anchor="ctr"/>
            <a:lstStyle/>
            <a:p>
              <a:endParaRPr lang="x-none" sz="1905"/>
            </a:p>
          </p:txBody>
        </p:sp>
        <p:sp>
          <p:nvSpPr>
            <p:cNvPr id="45" name="Freeform 44">
              <a:extLst>
                <a:ext uri="{FF2B5EF4-FFF2-40B4-BE49-F238E27FC236}">
                  <a16:creationId xmlns:a16="http://schemas.microsoft.com/office/drawing/2014/main" id="{BE46DC9E-427D-EA4F-B748-F67A49365836}"/>
                </a:ext>
              </a:extLst>
            </p:cNvPr>
            <p:cNvSpPr/>
            <p:nvPr/>
          </p:nvSpPr>
          <p:spPr>
            <a:xfrm>
              <a:off x="1267534" y="5957338"/>
              <a:ext cx="103611" cy="170007"/>
            </a:xfrm>
            <a:custGeom>
              <a:avLst/>
              <a:gdLst>
                <a:gd name="connsiteX0" fmla="*/ 52109 w 103611"/>
                <a:gd name="connsiteY0" fmla="*/ 33394 h 170007"/>
                <a:gd name="connsiteX1" fmla="*/ 24237 w 103611"/>
                <a:gd name="connsiteY1" fmla="*/ 24287 h 170007"/>
                <a:gd name="connsiteX2" fmla="*/ 15148 w 103611"/>
                <a:gd name="connsiteY2" fmla="*/ 0 h 170007"/>
                <a:gd name="connsiteX3" fmla="*/ 32113 w 103611"/>
                <a:gd name="connsiteY3" fmla="*/ 0 h 170007"/>
                <a:gd name="connsiteX4" fmla="*/ 37567 w 103611"/>
                <a:gd name="connsiteY4" fmla="*/ 13358 h 170007"/>
                <a:gd name="connsiteX5" fmla="*/ 51503 w 103611"/>
                <a:gd name="connsiteY5" fmla="*/ 18215 h 170007"/>
                <a:gd name="connsiteX6" fmla="*/ 65439 w 103611"/>
                <a:gd name="connsiteY6" fmla="*/ 13358 h 170007"/>
                <a:gd name="connsiteX7" fmla="*/ 70892 w 103611"/>
                <a:gd name="connsiteY7" fmla="*/ 0 h 170007"/>
                <a:gd name="connsiteX8" fmla="*/ 87858 w 103611"/>
                <a:gd name="connsiteY8" fmla="*/ 0 h 170007"/>
                <a:gd name="connsiteX9" fmla="*/ 78769 w 103611"/>
                <a:gd name="connsiteY9" fmla="*/ 24287 h 170007"/>
                <a:gd name="connsiteX10" fmla="*/ 52109 w 103611"/>
                <a:gd name="connsiteY10" fmla="*/ 33394 h 170007"/>
                <a:gd name="connsiteX11" fmla="*/ 21813 w 103611"/>
                <a:gd name="connsiteY11" fmla="*/ 170007 h 170007"/>
                <a:gd name="connsiteX12" fmla="*/ 0 w 103611"/>
                <a:gd name="connsiteY12" fmla="*/ 170007 h 170007"/>
                <a:gd name="connsiteX13" fmla="*/ 0 w 103611"/>
                <a:gd name="connsiteY13" fmla="*/ 46752 h 170007"/>
                <a:gd name="connsiteX14" fmla="*/ 19995 w 103611"/>
                <a:gd name="connsiteY14" fmla="*/ 46752 h 170007"/>
                <a:gd name="connsiteX15" fmla="*/ 19995 w 103611"/>
                <a:gd name="connsiteY15" fmla="*/ 143292 h 170007"/>
                <a:gd name="connsiteX16" fmla="*/ 81193 w 103611"/>
                <a:gd name="connsiteY16" fmla="*/ 46752 h 170007"/>
                <a:gd name="connsiteX17" fmla="*/ 103612 w 103611"/>
                <a:gd name="connsiteY17" fmla="*/ 46752 h 170007"/>
                <a:gd name="connsiteX18" fmla="*/ 103612 w 103611"/>
                <a:gd name="connsiteY18" fmla="*/ 170007 h 170007"/>
                <a:gd name="connsiteX19" fmla="*/ 83616 w 103611"/>
                <a:gd name="connsiteY19" fmla="*/ 170007 h 170007"/>
                <a:gd name="connsiteX20" fmla="*/ 83616 w 103611"/>
                <a:gd name="connsiteY20" fmla="*/ 72860 h 170007"/>
                <a:gd name="connsiteX21" fmla="*/ 21813 w 103611"/>
                <a:gd name="connsiteY21" fmla="*/ 170007 h 17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3611" h="170007">
                  <a:moveTo>
                    <a:pt x="52109" y="33394"/>
                  </a:moveTo>
                  <a:cubicBezTo>
                    <a:pt x="39385" y="33394"/>
                    <a:pt x="30296" y="30358"/>
                    <a:pt x="24237" y="24287"/>
                  </a:cubicBezTo>
                  <a:cubicBezTo>
                    <a:pt x="18177" y="18215"/>
                    <a:pt x="15148" y="10322"/>
                    <a:pt x="15148" y="0"/>
                  </a:cubicBezTo>
                  <a:lnTo>
                    <a:pt x="32113" y="0"/>
                  </a:lnTo>
                  <a:cubicBezTo>
                    <a:pt x="32719" y="5464"/>
                    <a:pt x="34537" y="10322"/>
                    <a:pt x="37567" y="13358"/>
                  </a:cubicBezTo>
                  <a:cubicBezTo>
                    <a:pt x="40596" y="16394"/>
                    <a:pt x="45444" y="18215"/>
                    <a:pt x="51503" y="18215"/>
                  </a:cubicBezTo>
                  <a:cubicBezTo>
                    <a:pt x="57562" y="18215"/>
                    <a:pt x="62409" y="16394"/>
                    <a:pt x="65439" y="13358"/>
                  </a:cubicBezTo>
                  <a:cubicBezTo>
                    <a:pt x="68468" y="10322"/>
                    <a:pt x="70286" y="5464"/>
                    <a:pt x="70892" y="0"/>
                  </a:cubicBezTo>
                  <a:lnTo>
                    <a:pt x="87858" y="0"/>
                  </a:lnTo>
                  <a:cubicBezTo>
                    <a:pt x="87252" y="9715"/>
                    <a:pt x="84222" y="17608"/>
                    <a:pt x="78769" y="24287"/>
                  </a:cubicBezTo>
                  <a:cubicBezTo>
                    <a:pt x="73316" y="30358"/>
                    <a:pt x="64227" y="33394"/>
                    <a:pt x="52109" y="33394"/>
                  </a:cubicBezTo>
                  <a:moveTo>
                    <a:pt x="21813" y="170007"/>
                  </a:moveTo>
                  <a:lnTo>
                    <a:pt x="0" y="170007"/>
                  </a:lnTo>
                  <a:lnTo>
                    <a:pt x="0" y="46752"/>
                  </a:lnTo>
                  <a:lnTo>
                    <a:pt x="19995" y="46752"/>
                  </a:lnTo>
                  <a:lnTo>
                    <a:pt x="19995" y="143292"/>
                  </a:lnTo>
                  <a:lnTo>
                    <a:pt x="81193" y="46752"/>
                  </a:lnTo>
                  <a:lnTo>
                    <a:pt x="103612" y="46752"/>
                  </a:lnTo>
                  <a:lnTo>
                    <a:pt x="103612" y="170007"/>
                  </a:lnTo>
                  <a:lnTo>
                    <a:pt x="83616" y="170007"/>
                  </a:lnTo>
                  <a:lnTo>
                    <a:pt x="83616" y="72860"/>
                  </a:lnTo>
                  <a:lnTo>
                    <a:pt x="21813" y="170007"/>
                  </a:lnTo>
                  <a:close/>
                </a:path>
              </a:pathLst>
            </a:custGeom>
            <a:solidFill>
              <a:srgbClr val="7F8183"/>
            </a:solidFill>
            <a:ln w="6029" cap="flat">
              <a:noFill/>
              <a:prstDash val="solid"/>
              <a:miter/>
            </a:ln>
          </p:spPr>
          <p:txBody>
            <a:bodyPr rtlCol="0" anchor="ctr"/>
            <a:lstStyle/>
            <a:p>
              <a:endParaRPr lang="x-none" sz="1905"/>
            </a:p>
          </p:txBody>
        </p:sp>
        <p:sp>
          <p:nvSpPr>
            <p:cNvPr id="46" name="Freeform 45">
              <a:extLst>
                <a:ext uri="{FF2B5EF4-FFF2-40B4-BE49-F238E27FC236}">
                  <a16:creationId xmlns:a16="http://schemas.microsoft.com/office/drawing/2014/main" id="{63F66C5F-55B0-C14D-AA50-7ACDBA64B24B}"/>
                </a:ext>
              </a:extLst>
            </p:cNvPr>
            <p:cNvSpPr/>
            <p:nvPr/>
          </p:nvSpPr>
          <p:spPr>
            <a:xfrm>
              <a:off x="356842" y="4732072"/>
              <a:ext cx="1039146" cy="549487"/>
            </a:xfrm>
            <a:custGeom>
              <a:avLst/>
              <a:gdLst>
                <a:gd name="connsiteX0" fmla="*/ 1039146 w 1039146"/>
                <a:gd name="connsiteY0" fmla="*/ 0 h 549487"/>
                <a:gd name="connsiteX1" fmla="*/ 0 w 1039146"/>
                <a:gd name="connsiteY1" fmla="*/ 456591 h 549487"/>
                <a:gd name="connsiteX2" fmla="*/ 0 w 1039146"/>
                <a:gd name="connsiteY2" fmla="*/ 549488 h 549487"/>
                <a:gd name="connsiteX3" fmla="*/ 1039146 w 1039146"/>
                <a:gd name="connsiteY3" fmla="*/ 92897 h 549487"/>
              </a:gdLst>
              <a:ahLst/>
              <a:cxnLst>
                <a:cxn ang="0">
                  <a:pos x="connsiteX0" y="connsiteY0"/>
                </a:cxn>
                <a:cxn ang="0">
                  <a:pos x="connsiteX1" y="connsiteY1"/>
                </a:cxn>
                <a:cxn ang="0">
                  <a:pos x="connsiteX2" y="connsiteY2"/>
                </a:cxn>
                <a:cxn ang="0">
                  <a:pos x="connsiteX3" y="connsiteY3"/>
                </a:cxn>
              </a:cxnLst>
              <a:rect l="l" t="t" r="r" b="b"/>
              <a:pathLst>
                <a:path w="1039146" h="549487">
                  <a:moveTo>
                    <a:pt x="1039146" y="0"/>
                  </a:moveTo>
                  <a:lnTo>
                    <a:pt x="0" y="456591"/>
                  </a:lnTo>
                  <a:lnTo>
                    <a:pt x="0" y="549488"/>
                  </a:lnTo>
                  <a:lnTo>
                    <a:pt x="1039146" y="92897"/>
                  </a:lnTo>
                  <a:close/>
                </a:path>
              </a:pathLst>
            </a:custGeom>
            <a:solidFill>
              <a:srgbClr val="E22B26"/>
            </a:solidFill>
            <a:ln w="6029" cap="flat">
              <a:noFill/>
              <a:prstDash val="solid"/>
              <a:miter/>
            </a:ln>
          </p:spPr>
          <p:txBody>
            <a:bodyPr rtlCol="0" anchor="ctr"/>
            <a:lstStyle/>
            <a:p>
              <a:endParaRPr lang="x-none" sz="1905"/>
            </a:p>
          </p:txBody>
        </p:sp>
      </p:grpSp>
    </p:spTree>
    <p:extLst>
      <p:ext uri="{BB962C8B-B14F-4D97-AF65-F5344CB8AC3E}">
        <p14:creationId xmlns:p14="http://schemas.microsoft.com/office/powerpoint/2010/main" val="1602351672"/>
      </p:ext>
    </p:extLst>
  </p:cSld>
  <p:clrMapOvr>
    <a:masterClrMapping/>
  </p:clrMapOvr>
  <p:transition>
    <p:fade/>
  </p:transition>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itle">
    <p:bg>
      <p:bgPr>
        <a:solidFill>
          <a:srgbClr val="FFFFFF"/>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DCF413E9-40E0-A046-93E5-106433A7494D}"/>
              </a:ext>
            </a:extLst>
          </p:cNvPr>
          <p:cNvSpPr>
            <a:spLocks noGrp="1"/>
          </p:cNvSpPr>
          <p:nvPr>
            <p:ph type="pic" sz="quarter" idx="13"/>
          </p:nvPr>
        </p:nvSpPr>
        <p:spPr>
          <a:xfrm>
            <a:off x="7124041" y="2"/>
            <a:ext cx="5067961" cy="6858000"/>
          </a:xfrm>
          <a:prstGeom prst="rect">
            <a:avLst/>
          </a:prstGeom>
        </p:spPr>
        <p:txBody>
          <a:bodyPr anchor="ctr"/>
          <a:lstStyle>
            <a:lvl1pPr algn="ctr">
              <a:buFontTx/>
              <a:buNone/>
              <a:defRPr sz="2115"/>
            </a:lvl1pPr>
          </a:lstStyle>
          <a:p>
            <a:endParaRPr lang="x-none"/>
          </a:p>
        </p:txBody>
      </p:sp>
      <p:sp>
        <p:nvSpPr>
          <p:cNvPr id="16" name="Title 1">
            <a:extLst>
              <a:ext uri="{FF2B5EF4-FFF2-40B4-BE49-F238E27FC236}">
                <a16:creationId xmlns:a16="http://schemas.microsoft.com/office/drawing/2014/main" id="{ED9D474A-60EC-E841-9105-E6C880456429}"/>
              </a:ext>
            </a:extLst>
          </p:cNvPr>
          <p:cNvSpPr>
            <a:spLocks noGrp="1"/>
          </p:cNvSpPr>
          <p:nvPr>
            <p:ph type="ctrTitle" hasCustomPrompt="1"/>
          </p:nvPr>
        </p:nvSpPr>
        <p:spPr>
          <a:xfrm>
            <a:off x="170299" y="2123760"/>
            <a:ext cx="6802558" cy="2257835"/>
          </a:xfrm>
          <a:prstGeom prst="rect">
            <a:avLst/>
          </a:prstGeom>
          <a:noFill/>
        </p:spPr>
        <p:txBody>
          <a:bodyPr lIns="180000" tIns="180000" rIns="864000" bIns="36000" anchor="t" anchorCtr="0">
            <a:noAutofit/>
          </a:bodyPr>
          <a:lstStyle>
            <a:lvl1pPr algn="l">
              <a:lnSpc>
                <a:spcPct val="100000"/>
              </a:lnSpc>
              <a:defRPr sz="4972" b="0" i="0" cap="none" spc="212" baseline="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Title slide header</a:t>
            </a:r>
            <a:r>
              <a:rPr lang="mr-IN" dirty="0"/>
              <a:t>…</a:t>
            </a:r>
            <a:endParaRPr lang="en-US" dirty="0"/>
          </a:p>
        </p:txBody>
      </p:sp>
      <p:sp>
        <p:nvSpPr>
          <p:cNvPr id="17" name="Text Placeholder 10">
            <a:extLst>
              <a:ext uri="{FF2B5EF4-FFF2-40B4-BE49-F238E27FC236}">
                <a16:creationId xmlns:a16="http://schemas.microsoft.com/office/drawing/2014/main" id="{363FA0F8-BE28-4D42-9479-7121AA2286EB}"/>
              </a:ext>
            </a:extLst>
          </p:cNvPr>
          <p:cNvSpPr>
            <a:spLocks noGrp="1"/>
          </p:cNvSpPr>
          <p:nvPr>
            <p:ph type="body" sz="quarter" idx="12" hasCustomPrompt="1"/>
          </p:nvPr>
        </p:nvSpPr>
        <p:spPr>
          <a:xfrm>
            <a:off x="219214" y="4541755"/>
            <a:ext cx="5810433" cy="869714"/>
          </a:xfrm>
          <a:prstGeom prst="rect">
            <a:avLst/>
          </a:prstGeom>
        </p:spPr>
        <p:txBody>
          <a:bodyPr lIns="180000" rIns="864000" anchor="t"/>
          <a:lstStyle>
            <a:lvl1pPr marL="0" marR="0" indent="0" algn="l" defTabSz="967332" rtl="0" eaLnBrk="1" fontAlgn="auto" latinLnBrk="0" hangingPunct="1">
              <a:lnSpc>
                <a:spcPct val="100000"/>
              </a:lnSpc>
              <a:spcBef>
                <a:spcPct val="20000"/>
              </a:spcBef>
              <a:spcAft>
                <a:spcPts val="0"/>
              </a:spcAft>
              <a:buClrTx/>
              <a:buSzTx/>
              <a:buFontTx/>
              <a:buNone/>
              <a:tabLst/>
              <a:defRPr lang="en-GB" sz="1905" b="0" i="0" smtClean="0">
                <a:solidFill>
                  <a:srgbClr val="19212C"/>
                </a:solidFill>
                <a:effectLst/>
              </a:defRPr>
            </a:lvl1pPr>
          </a:lstStyle>
          <a:p>
            <a:pPr marL="0" marR="0" lvl="0" indent="0" algn="l" defTabSz="967332" rtl="0" eaLnBrk="1" fontAlgn="auto" latinLnBrk="0" hangingPunct="1">
              <a:lnSpc>
                <a:spcPct val="100000"/>
              </a:lnSpc>
              <a:spcBef>
                <a:spcPct val="20000"/>
              </a:spcBef>
              <a:spcAft>
                <a:spcPts val="0"/>
              </a:spcAft>
              <a:buClrTx/>
              <a:buSzTx/>
              <a:buFontTx/>
              <a:buNone/>
              <a:tabLst/>
              <a:defRPr/>
            </a:pPr>
            <a:r>
              <a:rPr lang="en-US" dirty="0"/>
              <a:t>Lorem ipsum dolor sit </a:t>
            </a:r>
            <a:r>
              <a:rPr lang="en-US" dirty="0" err="1"/>
              <a:t>amet</a:t>
            </a:r>
            <a:r>
              <a:rPr lang="ru-RU" dirty="0"/>
              <a:t>, </a:t>
            </a:r>
            <a:r>
              <a:rPr lang="en-GB" dirty="0" err="1"/>
              <a:t>consectetur</a:t>
            </a:r>
            <a:r>
              <a:rPr lang="en-GB" dirty="0"/>
              <a:t> </a:t>
            </a:r>
            <a:r>
              <a:rPr lang="en-GB" dirty="0" err="1"/>
              <a:t>adipiscing</a:t>
            </a:r>
            <a:r>
              <a:rPr lang="ru-RU" dirty="0"/>
              <a:t> </a:t>
            </a:r>
            <a:endParaRPr lang="x-none" dirty="0"/>
          </a:p>
        </p:txBody>
      </p:sp>
      <p:sp>
        <p:nvSpPr>
          <p:cNvPr id="19" name="Text Placeholder 10">
            <a:extLst>
              <a:ext uri="{FF2B5EF4-FFF2-40B4-BE49-F238E27FC236}">
                <a16:creationId xmlns:a16="http://schemas.microsoft.com/office/drawing/2014/main" id="{478953E9-97B3-7349-B94E-9C0EAD1142C2}"/>
              </a:ext>
            </a:extLst>
          </p:cNvPr>
          <p:cNvSpPr>
            <a:spLocks noGrp="1"/>
          </p:cNvSpPr>
          <p:nvPr>
            <p:ph type="body" sz="quarter" idx="11" hasCustomPrompt="1"/>
          </p:nvPr>
        </p:nvSpPr>
        <p:spPr>
          <a:xfrm>
            <a:off x="2144846" y="5664000"/>
            <a:ext cx="2482010" cy="888610"/>
          </a:xfrm>
          <a:prstGeom prst="rect">
            <a:avLst/>
          </a:prstGeom>
        </p:spPr>
        <p:txBody>
          <a:bodyPr lIns="180000" rIns="864000" anchor="b"/>
          <a:lstStyle>
            <a:lvl1pPr marL="0" indent="0">
              <a:buFontTx/>
              <a:buNone/>
              <a:defRPr sz="1376"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Докладчик</a:t>
            </a:r>
            <a:br>
              <a:rPr lang="ru-RU" dirty="0"/>
            </a:br>
            <a:r>
              <a:rPr lang="ru-RU" dirty="0"/>
              <a:t>Фамилия Имя Отчество</a:t>
            </a:r>
            <a:endParaRPr lang="x-none" dirty="0"/>
          </a:p>
        </p:txBody>
      </p:sp>
      <p:sp>
        <p:nvSpPr>
          <p:cNvPr id="20" name="Text Placeholder 10">
            <a:extLst>
              <a:ext uri="{FF2B5EF4-FFF2-40B4-BE49-F238E27FC236}">
                <a16:creationId xmlns:a16="http://schemas.microsoft.com/office/drawing/2014/main" id="{01D04850-D4C9-544F-ABD2-B2DF7CEDC3E1}"/>
              </a:ext>
            </a:extLst>
          </p:cNvPr>
          <p:cNvSpPr>
            <a:spLocks noGrp="1"/>
          </p:cNvSpPr>
          <p:nvPr>
            <p:ph type="body" sz="quarter" idx="10" hasCustomPrompt="1"/>
          </p:nvPr>
        </p:nvSpPr>
        <p:spPr>
          <a:xfrm>
            <a:off x="5029326" y="5680455"/>
            <a:ext cx="1943531" cy="888610"/>
          </a:xfrm>
          <a:prstGeom prst="rect">
            <a:avLst/>
          </a:prstGeom>
        </p:spPr>
        <p:txBody>
          <a:bodyPr lIns="180000" rIns="864000" anchor="b"/>
          <a:lstStyle>
            <a:lvl1pPr marL="0" indent="0">
              <a:buFontTx/>
              <a:buNone/>
              <a:defRPr sz="1376" b="0" i="0">
                <a:solidFill>
                  <a:srgbClr val="E41910"/>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Subtitle</a:t>
            </a:r>
            <a:endParaRPr lang="x-none" dirty="0"/>
          </a:p>
        </p:txBody>
      </p:sp>
      <p:grpSp>
        <p:nvGrpSpPr>
          <p:cNvPr id="9" name="Graphic 2">
            <a:extLst>
              <a:ext uri="{FF2B5EF4-FFF2-40B4-BE49-F238E27FC236}">
                <a16:creationId xmlns:a16="http://schemas.microsoft.com/office/drawing/2014/main" id="{8C0088D3-3FA6-534C-8282-796801C56328}"/>
              </a:ext>
            </a:extLst>
          </p:cNvPr>
          <p:cNvGrpSpPr/>
          <p:nvPr userDrawn="1"/>
        </p:nvGrpSpPr>
        <p:grpSpPr>
          <a:xfrm>
            <a:off x="388590" y="430157"/>
            <a:ext cx="792312" cy="841885"/>
            <a:chOff x="4522787" y="1925637"/>
            <a:chExt cx="2472690" cy="2627001"/>
          </a:xfrm>
        </p:grpSpPr>
        <p:sp>
          <p:nvSpPr>
            <p:cNvPr id="11" name="Freeform 10">
              <a:extLst>
                <a:ext uri="{FF2B5EF4-FFF2-40B4-BE49-F238E27FC236}">
                  <a16:creationId xmlns:a16="http://schemas.microsoft.com/office/drawing/2014/main" id="{351EB077-9AD1-B445-86CD-DC4638C0C451}"/>
                </a:ext>
              </a:extLst>
            </p:cNvPr>
            <p:cNvSpPr/>
            <p:nvPr/>
          </p:nvSpPr>
          <p:spPr>
            <a:xfrm>
              <a:off x="4522787" y="1925637"/>
              <a:ext cx="2472690" cy="1641876"/>
            </a:xfrm>
            <a:custGeom>
              <a:avLst/>
              <a:gdLst>
                <a:gd name="connsiteX0" fmla="*/ 700088 w 2472690"/>
                <a:gd name="connsiteY0" fmla="*/ 820938 h 1641876"/>
                <a:gd name="connsiteX1" fmla="*/ 1235393 w 2472690"/>
                <a:gd name="connsiteY1" fmla="*/ 287566 h 1641876"/>
                <a:gd name="connsiteX2" fmla="*/ 1497330 w 2472690"/>
                <a:gd name="connsiteY2" fmla="*/ 355898 h 1641876"/>
                <a:gd name="connsiteX3" fmla="*/ 1497330 w 2472690"/>
                <a:gd name="connsiteY3" fmla="*/ 0 h 1641876"/>
                <a:gd name="connsiteX4" fmla="*/ 0 w 2472690"/>
                <a:gd name="connsiteY4" fmla="*/ 647260 h 1641876"/>
                <a:gd name="connsiteX5" fmla="*/ 0 w 2472690"/>
                <a:gd name="connsiteY5" fmla="*/ 1641876 h 1641876"/>
                <a:gd name="connsiteX6" fmla="*/ 914400 w 2472690"/>
                <a:gd name="connsiteY6" fmla="*/ 1247067 h 1641876"/>
                <a:gd name="connsiteX7" fmla="*/ 700088 w 2472690"/>
                <a:gd name="connsiteY7" fmla="*/ 820938 h 1641876"/>
                <a:gd name="connsiteX8" fmla="*/ 1558290 w 2472690"/>
                <a:gd name="connsiteY8" fmla="*/ 394810 h 1641876"/>
                <a:gd name="connsiteX9" fmla="*/ 1771650 w 2472690"/>
                <a:gd name="connsiteY9" fmla="*/ 820938 h 1641876"/>
                <a:gd name="connsiteX10" fmla="*/ 1236345 w 2472690"/>
                <a:gd name="connsiteY10" fmla="*/ 1354311 h 1641876"/>
                <a:gd name="connsiteX11" fmla="*/ 974408 w 2472690"/>
                <a:gd name="connsiteY11" fmla="*/ 1285978 h 1641876"/>
                <a:gd name="connsiteX12" fmla="*/ 974408 w 2472690"/>
                <a:gd name="connsiteY12" fmla="*/ 1641876 h 1641876"/>
                <a:gd name="connsiteX13" fmla="*/ 2472690 w 2472690"/>
                <a:gd name="connsiteY13" fmla="*/ 994616 h 1641876"/>
                <a:gd name="connsiteX14" fmla="*/ 2472690 w 2472690"/>
                <a:gd name="connsiteY14" fmla="*/ 0 h 1641876"/>
                <a:gd name="connsiteX15" fmla="*/ 1558290 w 2472690"/>
                <a:gd name="connsiteY15" fmla="*/ 394810 h 164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72690" h="1641876">
                  <a:moveTo>
                    <a:pt x="700088" y="820938"/>
                  </a:moveTo>
                  <a:cubicBezTo>
                    <a:pt x="700088" y="525780"/>
                    <a:pt x="940118" y="287566"/>
                    <a:pt x="1235393" y="287566"/>
                  </a:cubicBezTo>
                  <a:cubicBezTo>
                    <a:pt x="1330643" y="287566"/>
                    <a:pt x="1420178" y="312241"/>
                    <a:pt x="1497330" y="355898"/>
                  </a:cubicBezTo>
                  <a:lnTo>
                    <a:pt x="1497330" y="0"/>
                  </a:lnTo>
                  <a:lnTo>
                    <a:pt x="0" y="647260"/>
                  </a:lnTo>
                  <a:lnTo>
                    <a:pt x="0" y="1641876"/>
                  </a:lnTo>
                  <a:lnTo>
                    <a:pt x="914400" y="1247067"/>
                  </a:lnTo>
                  <a:cubicBezTo>
                    <a:pt x="784860" y="1150262"/>
                    <a:pt x="700088" y="995565"/>
                    <a:pt x="700088" y="820938"/>
                  </a:cubicBezTo>
                  <a:close/>
                  <a:moveTo>
                    <a:pt x="1558290" y="394810"/>
                  </a:moveTo>
                  <a:cubicBezTo>
                    <a:pt x="1687830" y="491614"/>
                    <a:pt x="1771650" y="647260"/>
                    <a:pt x="1771650" y="820938"/>
                  </a:cubicBezTo>
                  <a:cubicBezTo>
                    <a:pt x="1771650" y="1116096"/>
                    <a:pt x="1531620" y="1354311"/>
                    <a:pt x="1236345" y="1354311"/>
                  </a:cubicBezTo>
                  <a:cubicBezTo>
                    <a:pt x="1141095" y="1354311"/>
                    <a:pt x="1051560" y="1329635"/>
                    <a:pt x="974408" y="1285978"/>
                  </a:cubicBezTo>
                  <a:lnTo>
                    <a:pt x="974408" y="1641876"/>
                  </a:lnTo>
                  <a:lnTo>
                    <a:pt x="2472690" y="994616"/>
                  </a:lnTo>
                  <a:lnTo>
                    <a:pt x="2472690" y="0"/>
                  </a:lnTo>
                  <a:lnTo>
                    <a:pt x="1558290" y="394810"/>
                  </a:lnTo>
                  <a:close/>
                </a:path>
              </a:pathLst>
            </a:custGeom>
            <a:solidFill>
              <a:srgbClr val="7F8183"/>
            </a:solidFill>
            <a:ln w="9525" cap="flat">
              <a:noFill/>
              <a:prstDash val="solid"/>
              <a:miter/>
            </a:ln>
          </p:spPr>
          <p:txBody>
            <a:bodyPr rtlCol="0" anchor="ctr"/>
            <a:lstStyle/>
            <a:p>
              <a:endParaRPr lang="x-none" sz="1905"/>
            </a:p>
          </p:txBody>
        </p:sp>
        <p:sp>
          <p:nvSpPr>
            <p:cNvPr id="12" name="Freeform 11">
              <a:extLst>
                <a:ext uri="{FF2B5EF4-FFF2-40B4-BE49-F238E27FC236}">
                  <a16:creationId xmlns:a16="http://schemas.microsoft.com/office/drawing/2014/main" id="{F6ECA50A-7DD1-7640-BFAB-C6BF76ACE5E4}"/>
                </a:ext>
              </a:extLst>
            </p:cNvPr>
            <p:cNvSpPr/>
            <p:nvPr/>
          </p:nvSpPr>
          <p:spPr>
            <a:xfrm>
              <a:off x="5470524" y="2459009"/>
              <a:ext cx="577215" cy="575131"/>
            </a:xfrm>
            <a:custGeom>
              <a:avLst/>
              <a:gdLst>
                <a:gd name="connsiteX0" fmla="*/ 577215 w 577215"/>
                <a:gd name="connsiteY0" fmla="*/ 287566 h 575131"/>
                <a:gd name="connsiteX1" fmla="*/ 288608 w 577215"/>
                <a:gd name="connsiteY1" fmla="*/ 575131 h 575131"/>
                <a:gd name="connsiteX2" fmla="*/ 0 w 577215"/>
                <a:gd name="connsiteY2" fmla="*/ 287566 h 575131"/>
                <a:gd name="connsiteX3" fmla="*/ 288608 w 577215"/>
                <a:gd name="connsiteY3" fmla="*/ 0 h 575131"/>
                <a:gd name="connsiteX4" fmla="*/ 577215 w 577215"/>
                <a:gd name="connsiteY4" fmla="*/ 287566 h 57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15" h="575131">
                  <a:moveTo>
                    <a:pt x="577215" y="287566"/>
                  </a:moveTo>
                  <a:cubicBezTo>
                    <a:pt x="577215" y="446059"/>
                    <a:pt x="447675" y="575131"/>
                    <a:pt x="288608" y="575131"/>
                  </a:cubicBezTo>
                  <a:cubicBezTo>
                    <a:pt x="129540" y="575131"/>
                    <a:pt x="0" y="446059"/>
                    <a:pt x="0" y="287566"/>
                  </a:cubicBezTo>
                  <a:cubicBezTo>
                    <a:pt x="0" y="129072"/>
                    <a:pt x="129540" y="0"/>
                    <a:pt x="288608" y="0"/>
                  </a:cubicBezTo>
                  <a:cubicBezTo>
                    <a:pt x="447675" y="0"/>
                    <a:pt x="577215" y="129072"/>
                    <a:pt x="577215" y="287566"/>
                  </a:cubicBezTo>
                  <a:close/>
                </a:path>
              </a:pathLst>
            </a:custGeom>
            <a:solidFill>
              <a:srgbClr val="E72B2B"/>
            </a:solidFill>
            <a:ln w="9525" cap="flat">
              <a:noFill/>
              <a:prstDash val="solid"/>
              <a:miter/>
            </a:ln>
          </p:spPr>
          <p:txBody>
            <a:bodyPr rtlCol="0" anchor="ctr"/>
            <a:lstStyle/>
            <a:p>
              <a:endParaRPr lang="x-none" sz="1905"/>
            </a:p>
          </p:txBody>
        </p:sp>
        <p:sp>
          <p:nvSpPr>
            <p:cNvPr id="14" name="Freeform 13">
              <a:extLst>
                <a:ext uri="{FF2B5EF4-FFF2-40B4-BE49-F238E27FC236}">
                  <a16:creationId xmlns:a16="http://schemas.microsoft.com/office/drawing/2014/main" id="{F409EFD2-1E5F-934E-98FC-CB0FB9891DAB}"/>
                </a:ext>
              </a:extLst>
            </p:cNvPr>
            <p:cNvSpPr/>
            <p:nvPr/>
          </p:nvSpPr>
          <p:spPr>
            <a:xfrm>
              <a:off x="4522787" y="3863620"/>
              <a:ext cx="2472690" cy="689018"/>
            </a:xfrm>
            <a:custGeom>
              <a:avLst/>
              <a:gdLst>
                <a:gd name="connsiteX0" fmla="*/ 345758 w 2472690"/>
                <a:gd name="connsiteY0" fmla="*/ 0 h 689018"/>
                <a:gd name="connsiteX1" fmla="*/ 0 w 2472690"/>
                <a:gd name="connsiteY1" fmla="*/ 344509 h 689018"/>
                <a:gd name="connsiteX2" fmla="*/ 345758 w 2472690"/>
                <a:gd name="connsiteY2" fmla="*/ 689019 h 689018"/>
                <a:gd name="connsiteX3" fmla="*/ 691515 w 2472690"/>
                <a:gd name="connsiteY3" fmla="*/ 344509 h 689018"/>
                <a:gd name="connsiteX4" fmla="*/ 345758 w 2472690"/>
                <a:gd name="connsiteY4" fmla="*/ 0 h 689018"/>
                <a:gd name="connsiteX5" fmla="*/ 345758 w 2472690"/>
                <a:gd name="connsiteY5" fmla="*/ 525780 h 689018"/>
                <a:gd name="connsiteX6" fmla="*/ 164783 w 2472690"/>
                <a:gd name="connsiteY6" fmla="*/ 345458 h 689018"/>
                <a:gd name="connsiteX7" fmla="*/ 345758 w 2472690"/>
                <a:gd name="connsiteY7" fmla="*/ 165137 h 689018"/>
                <a:gd name="connsiteX8" fmla="*/ 526733 w 2472690"/>
                <a:gd name="connsiteY8" fmla="*/ 345458 h 689018"/>
                <a:gd name="connsiteX9" fmla="*/ 345758 w 2472690"/>
                <a:gd name="connsiteY9" fmla="*/ 525780 h 689018"/>
                <a:gd name="connsiteX10" fmla="*/ 1253490 w 2472690"/>
                <a:gd name="connsiteY10" fmla="*/ 284718 h 689018"/>
                <a:gd name="connsiteX11" fmla="*/ 1063943 w 2472690"/>
                <a:gd name="connsiteY11" fmla="*/ 17083 h 689018"/>
                <a:gd name="connsiteX12" fmla="*/ 899160 w 2472690"/>
                <a:gd name="connsiteY12" fmla="*/ 17083 h 689018"/>
                <a:gd name="connsiteX13" fmla="*/ 899160 w 2472690"/>
                <a:gd name="connsiteY13" fmla="*/ 673834 h 689018"/>
                <a:gd name="connsiteX14" fmla="*/ 1063943 w 2472690"/>
                <a:gd name="connsiteY14" fmla="*/ 673834 h 689018"/>
                <a:gd name="connsiteX15" fmla="*/ 1063943 w 2472690"/>
                <a:gd name="connsiteY15" fmla="*/ 301802 h 689018"/>
                <a:gd name="connsiteX16" fmla="*/ 1152525 w 2472690"/>
                <a:gd name="connsiteY16" fmla="*/ 427078 h 689018"/>
                <a:gd name="connsiteX17" fmla="*/ 1253490 w 2472690"/>
                <a:gd name="connsiteY17" fmla="*/ 569437 h 689018"/>
                <a:gd name="connsiteX18" fmla="*/ 1354455 w 2472690"/>
                <a:gd name="connsiteY18" fmla="*/ 427078 h 689018"/>
                <a:gd name="connsiteX19" fmla="*/ 1443038 w 2472690"/>
                <a:gd name="connsiteY19" fmla="*/ 301802 h 689018"/>
                <a:gd name="connsiteX20" fmla="*/ 1443038 w 2472690"/>
                <a:gd name="connsiteY20" fmla="*/ 673834 h 689018"/>
                <a:gd name="connsiteX21" fmla="*/ 1607820 w 2472690"/>
                <a:gd name="connsiteY21" fmla="*/ 673834 h 689018"/>
                <a:gd name="connsiteX22" fmla="*/ 1607820 w 2472690"/>
                <a:gd name="connsiteY22" fmla="*/ 17083 h 689018"/>
                <a:gd name="connsiteX23" fmla="*/ 1443038 w 2472690"/>
                <a:gd name="connsiteY23" fmla="*/ 17083 h 689018"/>
                <a:gd name="connsiteX24" fmla="*/ 1253490 w 2472690"/>
                <a:gd name="connsiteY24" fmla="*/ 284718 h 689018"/>
                <a:gd name="connsiteX25" fmla="*/ 2472690 w 2472690"/>
                <a:gd name="connsiteY25" fmla="*/ 18032 h 689018"/>
                <a:gd name="connsiteX26" fmla="*/ 2270760 w 2472690"/>
                <a:gd name="connsiteY26" fmla="*/ 18032 h 689018"/>
                <a:gd name="connsiteX27" fmla="*/ 2037398 w 2472690"/>
                <a:gd name="connsiteY27" fmla="*/ 336917 h 689018"/>
                <a:gd name="connsiteX28" fmla="*/ 2037398 w 2472690"/>
                <a:gd name="connsiteY28" fmla="*/ 18032 h 689018"/>
                <a:gd name="connsiteX29" fmla="*/ 1872615 w 2472690"/>
                <a:gd name="connsiteY29" fmla="*/ 18032 h 689018"/>
                <a:gd name="connsiteX30" fmla="*/ 1872615 w 2472690"/>
                <a:gd name="connsiteY30" fmla="*/ 674783 h 689018"/>
                <a:gd name="connsiteX31" fmla="*/ 2037398 w 2472690"/>
                <a:gd name="connsiteY31" fmla="*/ 674783 h 689018"/>
                <a:gd name="connsiteX32" fmla="*/ 2037398 w 2472690"/>
                <a:gd name="connsiteY32" fmla="*/ 354000 h 689018"/>
                <a:gd name="connsiteX33" fmla="*/ 2270760 w 2472690"/>
                <a:gd name="connsiteY33" fmla="*/ 674783 h 689018"/>
                <a:gd name="connsiteX34" fmla="*/ 2472690 w 2472690"/>
                <a:gd name="connsiteY34" fmla="*/ 674783 h 689018"/>
                <a:gd name="connsiteX35" fmla="*/ 2231708 w 2472690"/>
                <a:gd name="connsiteY35" fmla="*/ 346407 h 689018"/>
                <a:gd name="connsiteX36" fmla="*/ 2472690 w 2472690"/>
                <a:gd name="connsiteY36" fmla="*/ 18032 h 68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72690" h="689018">
                  <a:moveTo>
                    <a:pt x="345758" y="0"/>
                  </a:moveTo>
                  <a:cubicBezTo>
                    <a:pt x="155258" y="0"/>
                    <a:pt x="0" y="154697"/>
                    <a:pt x="0" y="344509"/>
                  </a:cubicBezTo>
                  <a:cubicBezTo>
                    <a:pt x="0" y="535271"/>
                    <a:pt x="155258" y="689019"/>
                    <a:pt x="345758" y="689019"/>
                  </a:cubicBezTo>
                  <a:cubicBezTo>
                    <a:pt x="537210" y="689019"/>
                    <a:pt x="691515" y="534322"/>
                    <a:pt x="691515" y="344509"/>
                  </a:cubicBezTo>
                  <a:cubicBezTo>
                    <a:pt x="692468" y="154697"/>
                    <a:pt x="537210" y="0"/>
                    <a:pt x="345758" y="0"/>
                  </a:cubicBezTo>
                  <a:close/>
                  <a:moveTo>
                    <a:pt x="345758" y="525780"/>
                  </a:moveTo>
                  <a:cubicBezTo>
                    <a:pt x="245745" y="525780"/>
                    <a:pt x="164783" y="445110"/>
                    <a:pt x="164783" y="345458"/>
                  </a:cubicBezTo>
                  <a:cubicBezTo>
                    <a:pt x="164783" y="245807"/>
                    <a:pt x="245745" y="165137"/>
                    <a:pt x="345758" y="165137"/>
                  </a:cubicBezTo>
                  <a:cubicBezTo>
                    <a:pt x="445770" y="165137"/>
                    <a:pt x="526733" y="245807"/>
                    <a:pt x="526733" y="345458"/>
                  </a:cubicBezTo>
                  <a:cubicBezTo>
                    <a:pt x="527685" y="444161"/>
                    <a:pt x="445770" y="525780"/>
                    <a:pt x="345758" y="525780"/>
                  </a:cubicBezTo>
                  <a:close/>
                  <a:moveTo>
                    <a:pt x="1253490" y="284718"/>
                  </a:moveTo>
                  <a:lnTo>
                    <a:pt x="1063943" y="17083"/>
                  </a:lnTo>
                  <a:lnTo>
                    <a:pt x="899160" y="17083"/>
                  </a:lnTo>
                  <a:lnTo>
                    <a:pt x="899160" y="673834"/>
                  </a:lnTo>
                  <a:lnTo>
                    <a:pt x="1063943" y="673834"/>
                  </a:lnTo>
                  <a:lnTo>
                    <a:pt x="1063943" y="301802"/>
                  </a:lnTo>
                  <a:lnTo>
                    <a:pt x="1152525" y="427078"/>
                  </a:lnTo>
                  <a:lnTo>
                    <a:pt x="1253490" y="569437"/>
                  </a:lnTo>
                  <a:lnTo>
                    <a:pt x="1354455" y="427078"/>
                  </a:lnTo>
                  <a:lnTo>
                    <a:pt x="1443038" y="301802"/>
                  </a:lnTo>
                  <a:lnTo>
                    <a:pt x="1443038" y="673834"/>
                  </a:lnTo>
                  <a:lnTo>
                    <a:pt x="1607820" y="673834"/>
                  </a:lnTo>
                  <a:lnTo>
                    <a:pt x="1607820" y="17083"/>
                  </a:lnTo>
                  <a:lnTo>
                    <a:pt x="1443038" y="17083"/>
                  </a:lnTo>
                  <a:lnTo>
                    <a:pt x="1253490" y="284718"/>
                  </a:lnTo>
                  <a:close/>
                  <a:moveTo>
                    <a:pt x="2472690" y="18032"/>
                  </a:moveTo>
                  <a:lnTo>
                    <a:pt x="2270760" y="18032"/>
                  </a:lnTo>
                  <a:lnTo>
                    <a:pt x="2037398" y="336917"/>
                  </a:lnTo>
                  <a:lnTo>
                    <a:pt x="2037398" y="18032"/>
                  </a:lnTo>
                  <a:lnTo>
                    <a:pt x="1872615" y="18032"/>
                  </a:lnTo>
                  <a:lnTo>
                    <a:pt x="1872615" y="674783"/>
                  </a:lnTo>
                  <a:lnTo>
                    <a:pt x="2037398" y="674783"/>
                  </a:lnTo>
                  <a:lnTo>
                    <a:pt x="2037398" y="354000"/>
                  </a:lnTo>
                  <a:lnTo>
                    <a:pt x="2270760" y="674783"/>
                  </a:lnTo>
                  <a:lnTo>
                    <a:pt x="2472690" y="674783"/>
                  </a:lnTo>
                  <a:lnTo>
                    <a:pt x="2231708" y="346407"/>
                  </a:lnTo>
                  <a:lnTo>
                    <a:pt x="2472690" y="18032"/>
                  </a:lnTo>
                  <a:close/>
                </a:path>
              </a:pathLst>
            </a:custGeom>
            <a:solidFill>
              <a:srgbClr val="7F8183"/>
            </a:solidFill>
            <a:ln w="9525" cap="flat">
              <a:noFill/>
              <a:prstDash val="solid"/>
              <a:miter/>
            </a:ln>
          </p:spPr>
          <p:txBody>
            <a:bodyPr rtlCol="0" anchor="ctr"/>
            <a:lstStyle/>
            <a:p>
              <a:endParaRPr lang="x-none" sz="1905"/>
            </a:p>
          </p:txBody>
        </p:sp>
      </p:grpSp>
      <p:grpSp>
        <p:nvGrpSpPr>
          <p:cNvPr id="2" name="Graphic 14">
            <a:extLst>
              <a:ext uri="{FF2B5EF4-FFF2-40B4-BE49-F238E27FC236}">
                <a16:creationId xmlns:a16="http://schemas.microsoft.com/office/drawing/2014/main" id="{EFA7B93E-DE11-0C42-9FDB-635B9BB922E3}"/>
              </a:ext>
            </a:extLst>
          </p:cNvPr>
          <p:cNvGrpSpPr/>
          <p:nvPr/>
        </p:nvGrpSpPr>
        <p:grpSpPr>
          <a:xfrm>
            <a:off x="341547" y="5763382"/>
            <a:ext cx="886399" cy="762739"/>
            <a:chOff x="322778" y="5445861"/>
            <a:chExt cx="837693" cy="720718"/>
          </a:xfrm>
        </p:grpSpPr>
        <p:grpSp>
          <p:nvGrpSpPr>
            <p:cNvPr id="3" name="Graphic 14">
              <a:extLst>
                <a:ext uri="{FF2B5EF4-FFF2-40B4-BE49-F238E27FC236}">
                  <a16:creationId xmlns:a16="http://schemas.microsoft.com/office/drawing/2014/main" id="{EFA7B93E-DE11-0C42-9FDB-635B9BB922E3}"/>
                </a:ext>
              </a:extLst>
            </p:cNvPr>
            <p:cNvGrpSpPr/>
            <p:nvPr/>
          </p:nvGrpSpPr>
          <p:grpSpPr>
            <a:xfrm>
              <a:off x="349290" y="5786435"/>
              <a:ext cx="327743" cy="106553"/>
              <a:chOff x="349290" y="5786435"/>
              <a:chExt cx="327743" cy="106553"/>
            </a:xfrm>
            <a:solidFill>
              <a:srgbClr val="CFD4D9"/>
            </a:solidFill>
          </p:grpSpPr>
          <p:sp>
            <p:nvSpPr>
              <p:cNvPr id="4" name="Freeform 3">
                <a:extLst>
                  <a:ext uri="{FF2B5EF4-FFF2-40B4-BE49-F238E27FC236}">
                    <a16:creationId xmlns:a16="http://schemas.microsoft.com/office/drawing/2014/main" id="{FD809D4D-CEFB-CD44-890E-6CC8CAE30F89}"/>
                  </a:ext>
                </a:extLst>
              </p:cNvPr>
              <p:cNvSpPr/>
              <p:nvPr/>
            </p:nvSpPr>
            <p:spPr>
              <a:xfrm>
                <a:off x="349290" y="5786435"/>
                <a:ext cx="72205" cy="84225"/>
              </a:xfrm>
              <a:custGeom>
                <a:avLst/>
                <a:gdLst>
                  <a:gd name="connsiteX0" fmla="*/ 38077 w 72205"/>
                  <a:gd name="connsiteY0" fmla="*/ 74898 h 84225"/>
                  <a:gd name="connsiteX1" fmla="*/ 55000 w 72205"/>
                  <a:gd name="connsiteY1" fmla="*/ 69811 h 84225"/>
                  <a:gd name="connsiteX2" fmla="*/ 62615 w 72205"/>
                  <a:gd name="connsiteY2" fmla="*/ 55962 h 84225"/>
                  <a:gd name="connsiteX3" fmla="*/ 72205 w 72205"/>
                  <a:gd name="connsiteY3" fmla="*/ 57657 h 84225"/>
                  <a:gd name="connsiteX4" fmla="*/ 60923 w 72205"/>
                  <a:gd name="connsiteY4" fmla="*/ 77442 h 84225"/>
                  <a:gd name="connsiteX5" fmla="*/ 37795 w 72205"/>
                  <a:gd name="connsiteY5" fmla="*/ 84225 h 84225"/>
                  <a:gd name="connsiteX6" fmla="*/ 10154 w 72205"/>
                  <a:gd name="connsiteY6" fmla="*/ 72920 h 84225"/>
                  <a:gd name="connsiteX7" fmla="*/ 0 w 72205"/>
                  <a:gd name="connsiteY7" fmla="*/ 42113 h 84225"/>
                  <a:gd name="connsiteX8" fmla="*/ 2821 w 72205"/>
                  <a:gd name="connsiteY8" fmla="*/ 24307 h 84225"/>
                  <a:gd name="connsiteX9" fmla="*/ 10436 w 72205"/>
                  <a:gd name="connsiteY9" fmla="*/ 11023 h 84225"/>
                  <a:gd name="connsiteX10" fmla="*/ 22282 w 72205"/>
                  <a:gd name="connsiteY10" fmla="*/ 2826 h 84225"/>
                  <a:gd name="connsiteX11" fmla="*/ 37795 w 72205"/>
                  <a:gd name="connsiteY11" fmla="*/ 0 h 84225"/>
                  <a:gd name="connsiteX12" fmla="*/ 60923 w 72205"/>
                  <a:gd name="connsiteY12" fmla="*/ 6783 h 84225"/>
                  <a:gd name="connsiteX13" fmla="*/ 71923 w 72205"/>
                  <a:gd name="connsiteY13" fmla="*/ 26568 h 84225"/>
                  <a:gd name="connsiteX14" fmla="*/ 62333 w 72205"/>
                  <a:gd name="connsiteY14" fmla="*/ 28263 h 84225"/>
                  <a:gd name="connsiteX15" fmla="*/ 54718 w 72205"/>
                  <a:gd name="connsiteY15" fmla="*/ 14697 h 84225"/>
                  <a:gd name="connsiteX16" fmla="*/ 37795 w 72205"/>
                  <a:gd name="connsiteY16" fmla="*/ 9327 h 84225"/>
                  <a:gd name="connsiteX17" fmla="*/ 25667 w 72205"/>
                  <a:gd name="connsiteY17" fmla="*/ 11871 h 84225"/>
                  <a:gd name="connsiteX18" fmla="*/ 16923 w 72205"/>
                  <a:gd name="connsiteY18" fmla="*/ 18654 h 84225"/>
                  <a:gd name="connsiteX19" fmla="*/ 11564 w 72205"/>
                  <a:gd name="connsiteY19" fmla="*/ 29111 h 84225"/>
                  <a:gd name="connsiteX20" fmla="*/ 9872 w 72205"/>
                  <a:gd name="connsiteY20" fmla="*/ 42678 h 84225"/>
                  <a:gd name="connsiteX21" fmla="*/ 17205 w 72205"/>
                  <a:gd name="connsiteY21" fmla="*/ 66419 h 84225"/>
                  <a:gd name="connsiteX22" fmla="*/ 38077 w 72205"/>
                  <a:gd name="connsiteY22" fmla="*/ 74898 h 8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2205" h="84225">
                    <a:moveTo>
                      <a:pt x="38077" y="74898"/>
                    </a:moveTo>
                    <a:cubicBezTo>
                      <a:pt x="45410" y="74898"/>
                      <a:pt x="51051" y="73202"/>
                      <a:pt x="55000" y="69811"/>
                    </a:cubicBezTo>
                    <a:cubicBezTo>
                      <a:pt x="58949" y="66419"/>
                      <a:pt x="61487" y="61897"/>
                      <a:pt x="62615" y="55962"/>
                    </a:cubicBezTo>
                    <a:lnTo>
                      <a:pt x="72205" y="57657"/>
                    </a:lnTo>
                    <a:cubicBezTo>
                      <a:pt x="70795" y="66136"/>
                      <a:pt x="66846" y="72920"/>
                      <a:pt x="60923" y="77442"/>
                    </a:cubicBezTo>
                    <a:cubicBezTo>
                      <a:pt x="55000" y="81964"/>
                      <a:pt x="47385" y="84225"/>
                      <a:pt x="37795" y="84225"/>
                    </a:cubicBezTo>
                    <a:cubicBezTo>
                      <a:pt x="26231" y="84225"/>
                      <a:pt x="16923" y="80551"/>
                      <a:pt x="10154" y="72920"/>
                    </a:cubicBezTo>
                    <a:cubicBezTo>
                      <a:pt x="3385" y="65289"/>
                      <a:pt x="0" y="55114"/>
                      <a:pt x="0" y="42113"/>
                    </a:cubicBezTo>
                    <a:cubicBezTo>
                      <a:pt x="0" y="35329"/>
                      <a:pt x="846" y="29394"/>
                      <a:pt x="2821" y="24307"/>
                    </a:cubicBezTo>
                    <a:cubicBezTo>
                      <a:pt x="4513" y="18937"/>
                      <a:pt x="7333" y="14697"/>
                      <a:pt x="10436" y="11023"/>
                    </a:cubicBezTo>
                    <a:cubicBezTo>
                      <a:pt x="13821" y="7348"/>
                      <a:pt x="17769" y="4522"/>
                      <a:pt x="22282" y="2826"/>
                    </a:cubicBezTo>
                    <a:cubicBezTo>
                      <a:pt x="27077" y="848"/>
                      <a:pt x="32154" y="0"/>
                      <a:pt x="37795" y="0"/>
                    </a:cubicBezTo>
                    <a:cubicBezTo>
                      <a:pt x="47385" y="0"/>
                      <a:pt x="55000" y="2261"/>
                      <a:pt x="60923" y="6783"/>
                    </a:cubicBezTo>
                    <a:cubicBezTo>
                      <a:pt x="66846" y="11305"/>
                      <a:pt x="70513" y="18089"/>
                      <a:pt x="71923" y="26568"/>
                    </a:cubicBezTo>
                    <a:lnTo>
                      <a:pt x="62333" y="28263"/>
                    </a:lnTo>
                    <a:cubicBezTo>
                      <a:pt x="61205" y="22893"/>
                      <a:pt x="58667" y="18371"/>
                      <a:pt x="54718" y="14697"/>
                    </a:cubicBezTo>
                    <a:cubicBezTo>
                      <a:pt x="50769" y="11023"/>
                      <a:pt x="45128" y="9327"/>
                      <a:pt x="37795" y="9327"/>
                    </a:cubicBezTo>
                    <a:cubicBezTo>
                      <a:pt x="33282" y="9327"/>
                      <a:pt x="29333" y="10175"/>
                      <a:pt x="25667" y="11871"/>
                    </a:cubicBezTo>
                    <a:cubicBezTo>
                      <a:pt x="22282" y="13566"/>
                      <a:pt x="19180" y="15828"/>
                      <a:pt x="16923" y="18654"/>
                    </a:cubicBezTo>
                    <a:cubicBezTo>
                      <a:pt x="14667" y="21480"/>
                      <a:pt x="12974" y="24872"/>
                      <a:pt x="11564" y="29111"/>
                    </a:cubicBezTo>
                    <a:cubicBezTo>
                      <a:pt x="10436" y="33068"/>
                      <a:pt x="9872" y="37590"/>
                      <a:pt x="9872" y="42678"/>
                    </a:cubicBezTo>
                    <a:cubicBezTo>
                      <a:pt x="9872" y="52570"/>
                      <a:pt x="12410" y="60484"/>
                      <a:pt x="17205" y="66419"/>
                    </a:cubicBezTo>
                    <a:cubicBezTo>
                      <a:pt x="22282" y="72072"/>
                      <a:pt x="29051" y="74898"/>
                      <a:pt x="38077" y="74898"/>
                    </a:cubicBezTo>
                  </a:path>
                </a:pathLst>
              </a:custGeom>
              <a:solidFill>
                <a:srgbClr val="7F8183"/>
              </a:solidFill>
              <a:ln w="2790" cap="flat">
                <a:noFill/>
                <a:prstDash val="solid"/>
                <a:miter/>
              </a:ln>
            </p:spPr>
            <p:txBody>
              <a:bodyPr rtlCol="0" anchor="ctr"/>
              <a:lstStyle/>
              <a:p>
                <a:endParaRPr lang="x-none" sz="1905"/>
              </a:p>
            </p:txBody>
          </p:sp>
          <p:sp>
            <p:nvSpPr>
              <p:cNvPr id="5" name="Freeform 4">
                <a:extLst>
                  <a:ext uri="{FF2B5EF4-FFF2-40B4-BE49-F238E27FC236}">
                    <a16:creationId xmlns:a16="http://schemas.microsoft.com/office/drawing/2014/main" id="{1570AD26-5BB7-D94D-AE4F-C426093ED2DA}"/>
                  </a:ext>
                </a:extLst>
              </p:cNvPr>
              <p:cNvSpPr/>
              <p:nvPr/>
            </p:nvSpPr>
            <p:spPr>
              <a:xfrm>
                <a:off x="432778" y="5811024"/>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769" y="49461"/>
                      <a:pt x="22000"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764"/>
                      <a:pt x="0" y="29959"/>
                    </a:cubicBezTo>
                    <a:cubicBezTo>
                      <a:pt x="0" y="20350"/>
                      <a:pt x="2538" y="13001"/>
                      <a:pt x="7615" y="7914"/>
                    </a:cubicBezTo>
                    <a:cubicBezTo>
                      <a:pt x="12692" y="2826"/>
                      <a:pt x="19180" y="0"/>
                      <a:pt x="27359" y="0"/>
                    </a:cubicBezTo>
                    <a:cubicBezTo>
                      <a:pt x="35256" y="0"/>
                      <a:pt x="41744" y="2544"/>
                      <a:pt x="46539" y="7914"/>
                    </a:cubicBezTo>
                    <a:cubicBezTo>
                      <a:pt x="51333" y="13001"/>
                      <a:pt x="53872" y="20350"/>
                      <a:pt x="53872" y="29959"/>
                    </a:cubicBezTo>
                    <a:cubicBezTo>
                      <a:pt x="53872" y="39286"/>
                      <a:pt x="51333" y="46635"/>
                      <a:pt x="46539" y="52005"/>
                    </a:cubicBezTo>
                    <a:cubicBezTo>
                      <a:pt x="41744" y="57092"/>
                      <a:pt x="35538" y="59919"/>
                      <a:pt x="27359" y="59919"/>
                    </a:cubicBezTo>
                  </a:path>
                </a:pathLst>
              </a:custGeom>
              <a:solidFill>
                <a:srgbClr val="7F8183"/>
              </a:solidFill>
              <a:ln w="2790" cap="flat">
                <a:noFill/>
                <a:prstDash val="solid"/>
                <a:miter/>
              </a:ln>
            </p:spPr>
            <p:txBody>
              <a:bodyPr rtlCol="0" anchor="ctr"/>
              <a:lstStyle/>
              <a:p>
                <a:endParaRPr lang="x-none" sz="1905"/>
              </a:p>
            </p:txBody>
          </p:sp>
          <p:sp>
            <p:nvSpPr>
              <p:cNvPr id="6" name="Freeform 5">
                <a:extLst>
                  <a:ext uri="{FF2B5EF4-FFF2-40B4-BE49-F238E27FC236}">
                    <a16:creationId xmlns:a16="http://schemas.microsoft.com/office/drawing/2014/main" id="{DB71EE2F-B57B-C04F-B3F8-2F632116B5E8}"/>
                  </a:ext>
                </a:extLst>
              </p:cNvPr>
              <p:cNvSpPr/>
              <p:nvPr/>
            </p:nvSpPr>
            <p:spPr>
              <a:xfrm>
                <a:off x="501316" y="5812155"/>
                <a:ext cx="45410" cy="57657"/>
              </a:xfrm>
              <a:custGeom>
                <a:avLst/>
                <a:gdLst>
                  <a:gd name="connsiteX0" fmla="*/ 26231 w 45410"/>
                  <a:gd name="connsiteY0" fmla="*/ 32220 h 57657"/>
                  <a:gd name="connsiteX1" fmla="*/ 9308 w 45410"/>
                  <a:gd name="connsiteY1" fmla="*/ 32220 h 57657"/>
                  <a:gd name="connsiteX2" fmla="*/ 9308 w 45410"/>
                  <a:gd name="connsiteY2" fmla="*/ 49178 h 57657"/>
                  <a:gd name="connsiteX3" fmla="*/ 26231 w 45410"/>
                  <a:gd name="connsiteY3" fmla="*/ 49178 h 57657"/>
                  <a:gd name="connsiteX4" fmla="*/ 34128 w 45410"/>
                  <a:gd name="connsiteY4" fmla="*/ 46917 h 57657"/>
                  <a:gd name="connsiteX5" fmla="*/ 36385 w 45410"/>
                  <a:gd name="connsiteY5" fmla="*/ 40699 h 57657"/>
                  <a:gd name="connsiteX6" fmla="*/ 33846 w 45410"/>
                  <a:gd name="connsiteY6" fmla="*/ 34199 h 57657"/>
                  <a:gd name="connsiteX7" fmla="*/ 26231 w 45410"/>
                  <a:gd name="connsiteY7" fmla="*/ 32220 h 57657"/>
                  <a:gd name="connsiteX8" fmla="*/ 24538 w 45410"/>
                  <a:gd name="connsiteY8" fmla="*/ 8196 h 57657"/>
                  <a:gd name="connsiteX9" fmla="*/ 9308 w 45410"/>
                  <a:gd name="connsiteY9" fmla="*/ 8196 h 57657"/>
                  <a:gd name="connsiteX10" fmla="*/ 9308 w 45410"/>
                  <a:gd name="connsiteY10" fmla="*/ 24307 h 57657"/>
                  <a:gd name="connsiteX11" fmla="*/ 25385 w 45410"/>
                  <a:gd name="connsiteY11" fmla="*/ 24307 h 57657"/>
                  <a:gd name="connsiteX12" fmla="*/ 32436 w 45410"/>
                  <a:gd name="connsiteY12" fmla="*/ 22328 h 57657"/>
                  <a:gd name="connsiteX13" fmla="*/ 34692 w 45410"/>
                  <a:gd name="connsiteY13" fmla="*/ 16110 h 57657"/>
                  <a:gd name="connsiteX14" fmla="*/ 32436 w 45410"/>
                  <a:gd name="connsiteY14" fmla="*/ 9892 h 57657"/>
                  <a:gd name="connsiteX15" fmla="*/ 24538 w 45410"/>
                  <a:gd name="connsiteY15" fmla="*/ 8196 h 57657"/>
                  <a:gd name="connsiteX16" fmla="*/ 0 w 45410"/>
                  <a:gd name="connsiteY16" fmla="*/ 57375 h 57657"/>
                  <a:gd name="connsiteX17" fmla="*/ 0 w 45410"/>
                  <a:gd name="connsiteY17" fmla="*/ 0 h 57657"/>
                  <a:gd name="connsiteX18" fmla="*/ 24538 w 45410"/>
                  <a:gd name="connsiteY18" fmla="*/ 0 h 57657"/>
                  <a:gd name="connsiteX19" fmla="*/ 38923 w 45410"/>
                  <a:gd name="connsiteY19" fmla="*/ 3957 h 57657"/>
                  <a:gd name="connsiteX20" fmla="*/ 44000 w 45410"/>
                  <a:gd name="connsiteY20" fmla="*/ 15545 h 57657"/>
                  <a:gd name="connsiteX21" fmla="*/ 42308 w 45410"/>
                  <a:gd name="connsiteY21" fmla="*/ 22328 h 57657"/>
                  <a:gd name="connsiteX22" fmla="*/ 35821 w 45410"/>
                  <a:gd name="connsiteY22" fmla="*/ 27698 h 57657"/>
                  <a:gd name="connsiteX23" fmla="*/ 43154 w 45410"/>
                  <a:gd name="connsiteY23" fmla="*/ 32786 h 57657"/>
                  <a:gd name="connsiteX24" fmla="*/ 45410 w 45410"/>
                  <a:gd name="connsiteY24" fmla="*/ 41265 h 57657"/>
                  <a:gd name="connsiteX25" fmla="*/ 40897 w 45410"/>
                  <a:gd name="connsiteY25" fmla="*/ 53135 h 57657"/>
                  <a:gd name="connsiteX26" fmla="*/ 26231 w 45410"/>
                  <a:gd name="connsiteY26" fmla="*/ 57657 h 57657"/>
                  <a:gd name="connsiteX27" fmla="*/ 0 w 45410"/>
                  <a:gd name="connsiteY27" fmla="*/ 57657 h 5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5410" h="57657">
                    <a:moveTo>
                      <a:pt x="26231" y="32220"/>
                    </a:moveTo>
                    <a:lnTo>
                      <a:pt x="9308" y="32220"/>
                    </a:lnTo>
                    <a:lnTo>
                      <a:pt x="9308" y="49178"/>
                    </a:lnTo>
                    <a:lnTo>
                      <a:pt x="26231" y="49178"/>
                    </a:lnTo>
                    <a:cubicBezTo>
                      <a:pt x="29897" y="49178"/>
                      <a:pt x="32436" y="48330"/>
                      <a:pt x="34128" y="46917"/>
                    </a:cubicBezTo>
                    <a:cubicBezTo>
                      <a:pt x="35538" y="45504"/>
                      <a:pt x="36385" y="43526"/>
                      <a:pt x="36385" y="40699"/>
                    </a:cubicBezTo>
                    <a:cubicBezTo>
                      <a:pt x="36385" y="37590"/>
                      <a:pt x="35538" y="35612"/>
                      <a:pt x="33846" y="34199"/>
                    </a:cubicBezTo>
                    <a:cubicBezTo>
                      <a:pt x="32436" y="33068"/>
                      <a:pt x="29897" y="32220"/>
                      <a:pt x="26231" y="32220"/>
                    </a:cubicBezTo>
                    <a:moveTo>
                      <a:pt x="24538" y="8196"/>
                    </a:moveTo>
                    <a:lnTo>
                      <a:pt x="9308" y="8196"/>
                    </a:lnTo>
                    <a:lnTo>
                      <a:pt x="9308" y="24307"/>
                    </a:lnTo>
                    <a:lnTo>
                      <a:pt x="25385" y="24307"/>
                    </a:lnTo>
                    <a:cubicBezTo>
                      <a:pt x="28487" y="24307"/>
                      <a:pt x="31026" y="23741"/>
                      <a:pt x="32436" y="22328"/>
                    </a:cubicBezTo>
                    <a:cubicBezTo>
                      <a:pt x="34128" y="20915"/>
                      <a:pt x="34692" y="18937"/>
                      <a:pt x="34692" y="16110"/>
                    </a:cubicBezTo>
                    <a:cubicBezTo>
                      <a:pt x="34692" y="13284"/>
                      <a:pt x="33846" y="11305"/>
                      <a:pt x="32436" y="9892"/>
                    </a:cubicBezTo>
                    <a:cubicBezTo>
                      <a:pt x="31308" y="9044"/>
                      <a:pt x="28487" y="8196"/>
                      <a:pt x="24538" y="8196"/>
                    </a:cubicBezTo>
                    <a:moveTo>
                      <a:pt x="0" y="57375"/>
                    </a:moveTo>
                    <a:lnTo>
                      <a:pt x="0" y="0"/>
                    </a:lnTo>
                    <a:lnTo>
                      <a:pt x="24538" y="0"/>
                    </a:lnTo>
                    <a:cubicBezTo>
                      <a:pt x="30744" y="0"/>
                      <a:pt x="35538" y="1413"/>
                      <a:pt x="38923" y="3957"/>
                    </a:cubicBezTo>
                    <a:cubicBezTo>
                      <a:pt x="42308" y="6501"/>
                      <a:pt x="44000" y="10457"/>
                      <a:pt x="44000" y="15545"/>
                    </a:cubicBezTo>
                    <a:cubicBezTo>
                      <a:pt x="44000" y="17806"/>
                      <a:pt x="43436" y="20067"/>
                      <a:pt x="42308" y="22328"/>
                    </a:cubicBezTo>
                    <a:cubicBezTo>
                      <a:pt x="41180" y="24589"/>
                      <a:pt x="39205" y="26568"/>
                      <a:pt x="35821" y="27698"/>
                    </a:cubicBezTo>
                    <a:cubicBezTo>
                      <a:pt x="39205" y="28829"/>
                      <a:pt x="41744" y="30524"/>
                      <a:pt x="43154" y="32786"/>
                    </a:cubicBezTo>
                    <a:cubicBezTo>
                      <a:pt x="44564" y="35047"/>
                      <a:pt x="45410" y="37873"/>
                      <a:pt x="45410" y="41265"/>
                    </a:cubicBezTo>
                    <a:cubicBezTo>
                      <a:pt x="45410" y="46069"/>
                      <a:pt x="44000" y="50026"/>
                      <a:pt x="40897" y="53135"/>
                    </a:cubicBezTo>
                    <a:cubicBezTo>
                      <a:pt x="37795" y="55962"/>
                      <a:pt x="33000" y="57657"/>
                      <a:pt x="26231" y="57657"/>
                    </a:cubicBezTo>
                    <a:lnTo>
                      <a:pt x="0" y="57657"/>
                    </a:lnTo>
                    <a:close/>
                  </a:path>
                </a:pathLst>
              </a:custGeom>
              <a:solidFill>
                <a:srgbClr val="7F8183"/>
              </a:solidFill>
              <a:ln w="2790" cap="flat">
                <a:noFill/>
                <a:prstDash val="solid"/>
                <a:miter/>
              </a:ln>
            </p:spPr>
            <p:txBody>
              <a:bodyPr rtlCol="0" anchor="ctr"/>
              <a:lstStyle/>
              <a:p>
                <a:endParaRPr lang="x-none" sz="1905"/>
              </a:p>
            </p:txBody>
          </p:sp>
          <p:sp>
            <p:nvSpPr>
              <p:cNvPr id="7" name="Freeform 6">
                <a:extLst>
                  <a:ext uri="{FF2B5EF4-FFF2-40B4-BE49-F238E27FC236}">
                    <a16:creationId xmlns:a16="http://schemas.microsoft.com/office/drawing/2014/main" id="{23DEF7E2-7DC1-4942-9C85-106595C0C28B}"/>
                  </a:ext>
                </a:extLst>
              </p:cNvPr>
              <p:cNvSpPr/>
              <p:nvPr/>
            </p:nvSpPr>
            <p:spPr>
              <a:xfrm>
                <a:off x="557444" y="5811307"/>
                <a:ext cx="51333" cy="59635"/>
              </a:xfrm>
              <a:custGeom>
                <a:avLst/>
                <a:gdLst>
                  <a:gd name="connsiteX0" fmla="*/ 26795 w 51333"/>
                  <a:gd name="connsiteY0" fmla="*/ 7914 h 59635"/>
                  <a:gd name="connsiteX1" fmla="*/ 15795 w 51333"/>
                  <a:gd name="connsiteY1" fmla="*/ 12153 h 59635"/>
                  <a:gd name="connsiteX2" fmla="*/ 10154 w 51333"/>
                  <a:gd name="connsiteY2" fmla="*/ 23176 h 59635"/>
                  <a:gd name="connsiteX3" fmla="*/ 42308 w 51333"/>
                  <a:gd name="connsiteY3" fmla="*/ 23176 h 59635"/>
                  <a:gd name="connsiteX4" fmla="*/ 38359 w 51333"/>
                  <a:gd name="connsiteY4" fmla="*/ 12153 h 59635"/>
                  <a:gd name="connsiteX5" fmla="*/ 26795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8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795" y="7914"/>
                    </a:moveTo>
                    <a:cubicBezTo>
                      <a:pt x="22282" y="7914"/>
                      <a:pt x="18615" y="9327"/>
                      <a:pt x="15795" y="12153"/>
                    </a:cubicBezTo>
                    <a:cubicBezTo>
                      <a:pt x="12692" y="14980"/>
                      <a:pt x="11000" y="18654"/>
                      <a:pt x="10154" y="23176"/>
                    </a:cubicBezTo>
                    <a:lnTo>
                      <a:pt x="42308" y="23176"/>
                    </a:lnTo>
                    <a:cubicBezTo>
                      <a:pt x="42026" y="18654"/>
                      <a:pt x="40615" y="14980"/>
                      <a:pt x="38359" y="12153"/>
                    </a:cubicBezTo>
                    <a:cubicBezTo>
                      <a:pt x="35256" y="9327"/>
                      <a:pt x="31590" y="7914"/>
                      <a:pt x="26795"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8"/>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8" name="Freeform 7">
                <a:extLst>
                  <a:ext uri="{FF2B5EF4-FFF2-40B4-BE49-F238E27FC236}">
                    <a16:creationId xmlns:a16="http://schemas.microsoft.com/office/drawing/2014/main" id="{9872F911-B5E6-5445-A16F-4041EA39AAD7}"/>
                  </a:ext>
                </a:extLst>
              </p:cNvPr>
              <p:cNvSpPr/>
              <p:nvPr/>
            </p:nvSpPr>
            <p:spPr>
              <a:xfrm>
                <a:off x="622880" y="5810742"/>
                <a:ext cx="54153" cy="82246"/>
              </a:xfrm>
              <a:custGeom>
                <a:avLst/>
                <a:gdLst>
                  <a:gd name="connsiteX0" fmla="*/ 9590 w 54153"/>
                  <a:gd name="connsiteY0" fmla="*/ 34764 h 82246"/>
                  <a:gd name="connsiteX1" fmla="*/ 14949 w 54153"/>
                  <a:gd name="connsiteY1" fmla="*/ 46917 h 82246"/>
                  <a:gd name="connsiteX2" fmla="*/ 27641 w 54153"/>
                  <a:gd name="connsiteY2" fmla="*/ 51439 h 82246"/>
                  <a:gd name="connsiteX3" fmla="*/ 40051 w 54153"/>
                  <a:gd name="connsiteY3" fmla="*/ 45504 h 82246"/>
                  <a:gd name="connsiteX4" fmla="*/ 44564 w 54153"/>
                  <a:gd name="connsiteY4" fmla="*/ 29677 h 82246"/>
                  <a:gd name="connsiteX5" fmla="*/ 40051 w 54153"/>
                  <a:gd name="connsiteY5" fmla="*/ 14414 h 82246"/>
                  <a:gd name="connsiteX6" fmla="*/ 27359 w 54153"/>
                  <a:gd name="connsiteY6" fmla="*/ 8479 h 82246"/>
                  <a:gd name="connsiteX7" fmla="*/ 20872 w 54153"/>
                  <a:gd name="connsiteY7" fmla="*/ 9610 h 82246"/>
                  <a:gd name="connsiteX8" fmla="*/ 15231 w 54153"/>
                  <a:gd name="connsiteY8" fmla="*/ 13284 h 82246"/>
                  <a:gd name="connsiteX9" fmla="*/ 11282 w 54153"/>
                  <a:gd name="connsiteY9" fmla="*/ 19219 h 82246"/>
                  <a:gd name="connsiteX10" fmla="*/ 9872 w 54153"/>
                  <a:gd name="connsiteY10" fmla="*/ 27416 h 82246"/>
                  <a:gd name="connsiteX11" fmla="*/ 9872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590" y="34764"/>
                    </a:moveTo>
                    <a:cubicBezTo>
                      <a:pt x="9590" y="40134"/>
                      <a:pt x="11282" y="44091"/>
                      <a:pt x="14949" y="46917"/>
                    </a:cubicBezTo>
                    <a:cubicBezTo>
                      <a:pt x="18615" y="49744"/>
                      <a:pt x="22846" y="51439"/>
                      <a:pt x="27641" y="51439"/>
                    </a:cubicBezTo>
                    <a:cubicBezTo>
                      <a:pt x="33000" y="51439"/>
                      <a:pt x="36949" y="49461"/>
                      <a:pt x="40051" y="45504"/>
                    </a:cubicBezTo>
                    <a:cubicBezTo>
                      <a:pt x="43154" y="41547"/>
                      <a:pt x="44564" y="36460"/>
                      <a:pt x="44564" y="29677"/>
                    </a:cubicBezTo>
                    <a:cubicBezTo>
                      <a:pt x="44564" y="23459"/>
                      <a:pt x="43154" y="18371"/>
                      <a:pt x="40051" y="14414"/>
                    </a:cubicBezTo>
                    <a:cubicBezTo>
                      <a:pt x="36949" y="10457"/>
                      <a:pt x="32718" y="8479"/>
                      <a:pt x="27359" y="8479"/>
                    </a:cubicBezTo>
                    <a:cubicBezTo>
                      <a:pt x="25103" y="8479"/>
                      <a:pt x="22846" y="8762"/>
                      <a:pt x="20872" y="9610"/>
                    </a:cubicBezTo>
                    <a:cubicBezTo>
                      <a:pt x="18897" y="10457"/>
                      <a:pt x="16923" y="11588"/>
                      <a:pt x="15231" y="13284"/>
                    </a:cubicBezTo>
                    <a:cubicBezTo>
                      <a:pt x="13538" y="14980"/>
                      <a:pt x="12128" y="16958"/>
                      <a:pt x="11282" y="19219"/>
                    </a:cubicBezTo>
                    <a:cubicBezTo>
                      <a:pt x="10154" y="21763"/>
                      <a:pt x="9872" y="24307"/>
                      <a:pt x="9872" y="27416"/>
                    </a:cubicBezTo>
                    <a:lnTo>
                      <a:pt x="9872" y="34764"/>
                    </a:lnTo>
                    <a:close/>
                    <a:moveTo>
                      <a:pt x="0" y="82247"/>
                    </a:moveTo>
                    <a:lnTo>
                      <a:pt x="0" y="1413"/>
                    </a:lnTo>
                    <a:lnTo>
                      <a:pt x="9590" y="1413"/>
                    </a:lnTo>
                    <a:lnTo>
                      <a:pt x="9590" y="9044"/>
                    </a:lnTo>
                    <a:cubicBezTo>
                      <a:pt x="11564" y="6218"/>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grpSp>
        <p:sp>
          <p:nvSpPr>
            <p:cNvPr id="13" name="Freeform 12">
              <a:extLst>
                <a:ext uri="{FF2B5EF4-FFF2-40B4-BE49-F238E27FC236}">
                  <a16:creationId xmlns:a16="http://schemas.microsoft.com/office/drawing/2014/main" id="{723AD634-2BE8-314E-AFDC-4D639CC30A8F}"/>
                </a:ext>
              </a:extLst>
            </p:cNvPr>
            <p:cNvSpPr/>
            <p:nvPr/>
          </p:nvSpPr>
          <p:spPr>
            <a:xfrm>
              <a:off x="691419" y="5812155"/>
              <a:ext cx="75307" cy="57374"/>
            </a:xfrm>
            <a:custGeom>
              <a:avLst/>
              <a:gdLst>
                <a:gd name="connsiteX0" fmla="*/ 75308 w 75307"/>
                <a:gd name="connsiteY0" fmla="*/ 0 h 57374"/>
                <a:gd name="connsiteX1" fmla="*/ 75308 w 75307"/>
                <a:gd name="connsiteY1" fmla="*/ 57375 h 57374"/>
                <a:gd name="connsiteX2" fmla="*/ 0 w 75307"/>
                <a:gd name="connsiteY2" fmla="*/ 57375 h 57374"/>
                <a:gd name="connsiteX3" fmla="*/ 0 w 75307"/>
                <a:gd name="connsiteY3" fmla="*/ 0 h 57374"/>
                <a:gd name="connsiteX4" fmla="*/ 9590 w 75307"/>
                <a:gd name="connsiteY4" fmla="*/ 0 h 57374"/>
                <a:gd name="connsiteX5" fmla="*/ 9590 w 75307"/>
                <a:gd name="connsiteY5" fmla="*/ 48613 h 57374"/>
                <a:gd name="connsiteX6" fmla="*/ 33000 w 75307"/>
                <a:gd name="connsiteY6" fmla="*/ 48613 h 57374"/>
                <a:gd name="connsiteX7" fmla="*/ 33000 w 75307"/>
                <a:gd name="connsiteY7" fmla="*/ 0 h 57374"/>
                <a:gd name="connsiteX8" fmla="*/ 42308 w 75307"/>
                <a:gd name="connsiteY8" fmla="*/ 0 h 57374"/>
                <a:gd name="connsiteX9" fmla="*/ 42308 w 75307"/>
                <a:gd name="connsiteY9" fmla="*/ 48613 h 57374"/>
                <a:gd name="connsiteX10" fmla="*/ 65718 w 75307"/>
                <a:gd name="connsiteY10" fmla="*/ 48613 h 57374"/>
                <a:gd name="connsiteX11" fmla="*/ 65718 w 75307"/>
                <a:gd name="connsiteY11" fmla="*/ 0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307" h="57374">
                  <a:moveTo>
                    <a:pt x="75308" y="0"/>
                  </a:moveTo>
                  <a:lnTo>
                    <a:pt x="75308" y="57375"/>
                  </a:lnTo>
                  <a:lnTo>
                    <a:pt x="0" y="57375"/>
                  </a:lnTo>
                  <a:lnTo>
                    <a:pt x="0" y="0"/>
                  </a:lnTo>
                  <a:lnTo>
                    <a:pt x="9590" y="0"/>
                  </a:lnTo>
                  <a:lnTo>
                    <a:pt x="9590" y="48613"/>
                  </a:lnTo>
                  <a:lnTo>
                    <a:pt x="33000" y="48613"/>
                  </a:lnTo>
                  <a:lnTo>
                    <a:pt x="33000" y="0"/>
                  </a:lnTo>
                  <a:lnTo>
                    <a:pt x="42308" y="0"/>
                  </a:lnTo>
                  <a:lnTo>
                    <a:pt x="42308" y="48613"/>
                  </a:lnTo>
                  <a:lnTo>
                    <a:pt x="65718" y="48613"/>
                  </a:lnTo>
                  <a:lnTo>
                    <a:pt x="65718" y="0"/>
                  </a:lnTo>
                  <a:close/>
                </a:path>
              </a:pathLst>
            </a:custGeom>
            <a:solidFill>
              <a:srgbClr val="7F8183"/>
            </a:solidFill>
            <a:ln w="2790" cap="flat">
              <a:noFill/>
              <a:prstDash val="solid"/>
              <a:miter/>
            </a:ln>
          </p:spPr>
          <p:txBody>
            <a:bodyPr rtlCol="0" anchor="ctr"/>
            <a:lstStyle/>
            <a:p>
              <a:endParaRPr lang="x-none" sz="1905"/>
            </a:p>
          </p:txBody>
        </p:sp>
        <p:sp>
          <p:nvSpPr>
            <p:cNvPr id="18" name="Freeform 17">
              <a:extLst>
                <a:ext uri="{FF2B5EF4-FFF2-40B4-BE49-F238E27FC236}">
                  <a16:creationId xmlns:a16="http://schemas.microsoft.com/office/drawing/2014/main" id="{D2ACB3F3-4CB4-8444-8A0E-8DF00021317C}"/>
                </a:ext>
              </a:extLst>
            </p:cNvPr>
            <p:cNvSpPr/>
            <p:nvPr/>
          </p:nvSpPr>
          <p:spPr>
            <a:xfrm>
              <a:off x="780829" y="5811307"/>
              <a:ext cx="51615" cy="59635"/>
            </a:xfrm>
            <a:custGeom>
              <a:avLst/>
              <a:gdLst>
                <a:gd name="connsiteX0" fmla="*/ 26795 w 51615"/>
                <a:gd name="connsiteY0" fmla="*/ 7914 h 59635"/>
                <a:gd name="connsiteX1" fmla="*/ 15795 w 51615"/>
                <a:gd name="connsiteY1" fmla="*/ 12153 h 59635"/>
                <a:gd name="connsiteX2" fmla="*/ 10154 w 51615"/>
                <a:gd name="connsiteY2" fmla="*/ 23176 h 59635"/>
                <a:gd name="connsiteX3" fmla="*/ 42308 w 51615"/>
                <a:gd name="connsiteY3" fmla="*/ 23176 h 59635"/>
                <a:gd name="connsiteX4" fmla="*/ 38359 w 51615"/>
                <a:gd name="connsiteY4" fmla="*/ 12153 h 59635"/>
                <a:gd name="connsiteX5" fmla="*/ 26795 w 51615"/>
                <a:gd name="connsiteY5" fmla="*/ 7914 h 59635"/>
                <a:gd name="connsiteX6" fmla="*/ 51615 w 51615"/>
                <a:gd name="connsiteY6" fmla="*/ 31372 h 59635"/>
                <a:gd name="connsiteX7" fmla="*/ 9590 w 51615"/>
                <a:gd name="connsiteY7" fmla="*/ 31372 h 59635"/>
                <a:gd name="connsiteX8" fmla="*/ 14949 w 51615"/>
                <a:gd name="connsiteY8" fmla="*/ 46069 h 59635"/>
                <a:gd name="connsiteX9" fmla="*/ 27077 w 51615"/>
                <a:gd name="connsiteY9" fmla="*/ 51157 h 59635"/>
                <a:gd name="connsiteX10" fmla="*/ 37513 w 51615"/>
                <a:gd name="connsiteY10" fmla="*/ 48048 h 59635"/>
                <a:gd name="connsiteX11" fmla="*/ 42308 w 51615"/>
                <a:gd name="connsiteY11" fmla="*/ 40699 h 59635"/>
                <a:gd name="connsiteX12" fmla="*/ 51333 w 51615"/>
                <a:gd name="connsiteY12" fmla="*/ 42395 h 59635"/>
                <a:gd name="connsiteX13" fmla="*/ 42872 w 51615"/>
                <a:gd name="connsiteY13" fmla="*/ 55114 h 59635"/>
                <a:gd name="connsiteX14" fmla="*/ 26795 w 51615"/>
                <a:gd name="connsiteY14" fmla="*/ 59636 h 59635"/>
                <a:gd name="connsiteX15" fmla="*/ 7333 w 51615"/>
                <a:gd name="connsiteY15" fmla="*/ 51722 h 59635"/>
                <a:gd name="connsiteX16" fmla="*/ 0 w 51615"/>
                <a:gd name="connsiteY16" fmla="*/ 29677 h 59635"/>
                <a:gd name="connsiteX17" fmla="*/ 1974 w 51615"/>
                <a:gd name="connsiteY17" fmla="*/ 16958 h 59635"/>
                <a:gd name="connsiteX18" fmla="*/ 7615 w 51615"/>
                <a:gd name="connsiteY18" fmla="*/ 7631 h 59635"/>
                <a:gd name="connsiteX19" fmla="*/ 16077 w 51615"/>
                <a:gd name="connsiteY19" fmla="*/ 1978 h 59635"/>
                <a:gd name="connsiteX20" fmla="*/ 26513 w 51615"/>
                <a:gd name="connsiteY20" fmla="*/ 0 h 59635"/>
                <a:gd name="connsiteX21" fmla="*/ 44564 w 51615"/>
                <a:gd name="connsiteY21" fmla="*/ 7348 h 59635"/>
                <a:gd name="connsiteX22" fmla="*/ 51333 w 51615"/>
                <a:gd name="connsiteY22" fmla="*/ 27698 h 59635"/>
                <a:gd name="connsiteX23" fmla="*/ 51333 w 51615"/>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615" h="59635">
                  <a:moveTo>
                    <a:pt x="26795" y="7914"/>
                  </a:moveTo>
                  <a:cubicBezTo>
                    <a:pt x="22282" y="7914"/>
                    <a:pt x="18615" y="9327"/>
                    <a:pt x="15795" y="12153"/>
                  </a:cubicBezTo>
                  <a:cubicBezTo>
                    <a:pt x="12692" y="14980"/>
                    <a:pt x="11000" y="18654"/>
                    <a:pt x="10154" y="23176"/>
                  </a:cubicBezTo>
                  <a:lnTo>
                    <a:pt x="42308" y="23176"/>
                  </a:lnTo>
                  <a:cubicBezTo>
                    <a:pt x="42026" y="18654"/>
                    <a:pt x="40615" y="14980"/>
                    <a:pt x="38359" y="12153"/>
                  </a:cubicBezTo>
                  <a:cubicBezTo>
                    <a:pt x="35539" y="9327"/>
                    <a:pt x="31590" y="7914"/>
                    <a:pt x="26795" y="7914"/>
                  </a:cubicBezTo>
                  <a:moveTo>
                    <a:pt x="51615"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8"/>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21" name="Freeform 20">
              <a:extLst>
                <a:ext uri="{FF2B5EF4-FFF2-40B4-BE49-F238E27FC236}">
                  <a16:creationId xmlns:a16="http://schemas.microsoft.com/office/drawing/2014/main" id="{1848144D-6708-7A4D-A281-F5E054E1DD23}"/>
                </a:ext>
              </a:extLst>
            </p:cNvPr>
            <p:cNvSpPr/>
            <p:nvPr/>
          </p:nvSpPr>
          <p:spPr>
            <a:xfrm>
              <a:off x="846265" y="5812155"/>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22" name="Freeform 21">
              <a:extLst>
                <a:ext uri="{FF2B5EF4-FFF2-40B4-BE49-F238E27FC236}">
                  <a16:creationId xmlns:a16="http://schemas.microsoft.com/office/drawing/2014/main" id="{68D39686-802C-5F4F-A5D0-4245BDBF74BA}"/>
                </a:ext>
              </a:extLst>
            </p:cNvPr>
            <p:cNvSpPr/>
            <p:nvPr/>
          </p:nvSpPr>
          <p:spPr>
            <a:xfrm>
              <a:off x="910291" y="5810742"/>
              <a:ext cx="50769" cy="59918"/>
            </a:xfrm>
            <a:custGeom>
              <a:avLst/>
              <a:gdLst>
                <a:gd name="connsiteX0" fmla="*/ 41744 w 50769"/>
                <a:gd name="connsiteY0" fmla="*/ 40134 h 59918"/>
                <a:gd name="connsiteX1" fmla="*/ 50769 w 50769"/>
                <a:gd name="connsiteY1" fmla="*/ 41547 h 59918"/>
                <a:gd name="connsiteX2" fmla="*/ 43154 w 50769"/>
                <a:gd name="connsiteY2" fmla="*/ 54548 h 59918"/>
                <a:gd name="connsiteX3" fmla="*/ 26513 w 50769"/>
                <a:gd name="connsiteY3" fmla="*/ 59919 h 59918"/>
                <a:gd name="connsiteX4" fmla="*/ 7333 w 50769"/>
                <a:gd name="connsiteY4" fmla="*/ 52287 h 59918"/>
                <a:gd name="connsiteX5" fmla="*/ 0 w 50769"/>
                <a:gd name="connsiteY5" fmla="*/ 29959 h 59918"/>
                <a:gd name="connsiteX6" fmla="*/ 1974 w 50769"/>
                <a:gd name="connsiteY6" fmla="*/ 16675 h 59918"/>
                <a:gd name="connsiteX7" fmla="*/ 7615 w 50769"/>
                <a:gd name="connsiteY7" fmla="*/ 7348 h 59918"/>
                <a:gd name="connsiteX8" fmla="*/ 16077 w 50769"/>
                <a:gd name="connsiteY8" fmla="*/ 1696 h 59918"/>
                <a:gd name="connsiteX9" fmla="*/ 26513 w 50769"/>
                <a:gd name="connsiteY9" fmla="*/ 0 h 59918"/>
                <a:gd name="connsiteX10" fmla="*/ 43436 w 50769"/>
                <a:gd name="connsiteY10" fmla="*/ 5370 h 59918"/>
                <a:gd name="connsiteX11" fmla="*/ 50769 w 50769"/>
                <a:gd name="connsiteY11" fmla="*/ 18089 h 59918"/>
                <a:gd name="connsiteX12" fmla="*/ 42026 w 50769"/>
                <a:gd name="connsiteY12" fmla="*/ 19784 h 59918"/>
                <a:gd name="connsiteX13" fmla="*/ 37513 w 50769"/>
                <a:gd name="connsiteY13" fmla="*/ 12153 h 59918"/>
                <a:gd name="connsiteX14" fmla="*/ 26795 w 50769"/>
                <a:gd name="connsiteY14" fmla="*/ 8479 h 59918"/>
                <a:gd name="connsiteX15" fmla="*/ 14103 w 50769"/>
                <a:gd name="connsiteY15" fmla="*/ 14132 h 59918"/>
                <a:gd name="connsiteX16" fmla="*/ 9590 w 50769"/>
                <a:gd name="connsiteY16" fmla="*/ 29677 h 59918"/>
                <a:gd name="connsiteX17" fmla="*/ 14103 w 50769"/>
                <a:gd name="connsiteY17" fmla="*/ 45222 h 59918"/>
                <a:gd name="connsiteX18" fmla="*/ 26795 w 50769"/>
                <a:gd name="connsiteY18" fmla="*/ 51157 h 59918"/>
                <a:gd name="connsiteX19" fmla="*/ 37795 w 50769"/>
                <a:gd name="connsiteY19" fmla="*/ 47483 h 59918"/>
                <a:gd name="connsiteX20" fmla="*/ 41744 w 50769"/>
                <a:gd name="connsiteY20" fmla="*/ 40134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769" h="59918">
                  <a:moveTo>
                    <a:pt x="41744" y="40134"/>
                  </a:moveTo>
                  <a:lnTo>
                    <a:pt x="50769" y="41547"/>
                  </a:lnTo>
                  <a:cubicBezTo>
                    <a:pt x="49641" y="46635"/>
                    <a:pt x="47103" y="51157"/>
                    <a:pt x="43154" y="54548"/>
                  </a:cubicBezTo>
                  <a:cubicBezTo>
                    <a:pt x="39205" y="58223"/>
                    <a:pt x="33564" y="59919"/>
                    <a:pt x="26513" y="59919"/>
                  </a:cubicBezTo>
                  <a:cubicBezTo>
                    <a:pt x="18615" y="59919"/>
                    <a:pt x="12128" y="57375"/>
                    <a:pt x="7333" y="52287"/>
                  </a:cubicBezTo>
                  <a:cubicBezTo>
                    <a:pt x="2538" y="47200"/>
                    <a:pt x="0" y="39851"/>
                    <a:pt x="0" y="29959"/>
                  </a:cubicBezTo>
                  <a:cubicBezTo>
                    <a:pt x="0" y="24872"/>
                    <a:pt x="564" y="20350"/>
                    <a:pt x="1974" y="16675"/>
                  </a:cubicBezTo>
                  <a:cubicBezTo>
                    <a:pt x="3385" y="13001"/>
                    <a:pt x="5359" y="9892"/>
                    <a:pt x="7615" y="7348"/>
                  </a:cubicBezTo>
                  <a:cubicBezTo>
                    <a:pt x="9872" y="4805"/>
                    <a:pt x="12692" y="3109"/>
                    <a:pt x="16077" y="1696"/>
                  </a:cubicBezTo>
                  <a:cubicBezTo>
                    <a:pt x="19462" y="565"/>
                    <a:pt x="22846" y="0"/>
                    <a:pt x="26513" y="0"/>
                  </a:cubicBezTo>
                  <a:cubicBezTo>
                    <a:pt x="33846" y="0"/>
                    <a:pt x="39487" y="1696"/>
                    <a:pt x="43436" y="5370"/>
                  </a:cubicBezTo>
                  <a:cubicBezTo>
                    <a:pt x="47385" y="9044"/>
                    <a:pt x="49641" y="13284"/>
                    <a:pt x="50769" y="18089"/>
                  </a:cubicBezTo>
                  <a:lnTo>
                    <a:pt x="42026" y="19784"/>
                  </a:lnTo>
                  <a:cubicBezTo>
                    <a:pt x="41179" y="16958"/>
                    <a:pt x="39769" y="14414"/>
                    <a:pt x="37513" y="12153"/>
                  </a:cubicBezTo>
                  <a:cubicBezTo>
                    <a:pt x="35256" y="9892"/>
                    <a:pt x="31590" y="8479"/>
                    <a:pt x="26795" y="8479"/>
                  </a:cubicBezTo>
                  <a:cubicBezTo>
                    <a:pt x="21436" y="8479"/>
                    <a:pt x="17205" y="10457"/>
                    <a:pt x="14103" y="14132"/>
                  </a:cubicBezTo>
                  <a:cubicBezTo>
                    <a:pt x="11000" y="18089"/>
                    <a:pt x="9590" y="23176"/>
                    <a:pt x="9590" y="29677"/>
                  </a:cubicBezTo>
                  <a:cubicBezTo>
                    <a:pt x="9590" y="36177"/>
                    <a:pt x="11000" y="41265"/>
                    <a:pt x="14103" y="45222"/>
                  </a:cubicBezTo>
                  <a:cubicBezTo>
                    <a:pt x="16923" y="49178"/>
                    <a:pt x="21154" y="51157"/>
                    <a:pt x="26795" y="51157"/>
                  </a:cubicBezTo>
                  <a:cubicBezTo>
                    <a:pt x="31872" y="51157"/>
                    <a:pt x="35538" y="50026"/>
                    <a:pt x="37795" y="47483"/>
                  </a:cubicBezTo>
                  <a:cubicBezTo>
                    <a:pt x="39487" y="45504"/>
                    <a:pt x="40897" y="42960"/>
                    <a:pt x="41744" y="40134"/>
                  </a:cubicBezTo>
                </a:path>
              </a:pathLst>
            </a:custGeom>
            <a:solidFill>
              <a:srgbClr val="7F8183"/>
            </a:solidFill>
            <a:ln w="2790" cap="flat">
              <a:noFill/>
              <a:prstDash val="solid"/>
              <a:miter/>
            </a:ln>
          </p:spPr>
          <p:txBody>
            <a:bodyPr rtlCol="0" anchor="ctr"/>
            <a:lstStyle/>
            <a:p>
              <a:endParaRPr lang="x-none" sz="1905"/>
            </a:p>
          </p:txBody>
        </p:sp>
        <p:sp>
          <p:nvSpPr>
            <p:cNvPr id="23" name="Freeform 22">
              <a:extLst>
                <a:ext uri="{FF2B5EF4-FFF2-40B4-BE49-F238E27FC236}">
                  <a16:creationId xmlns:a16="http://schemas.microsoft.com/office/drawing/2014/main" id="{E4A55DE7-CA8E-0840-8A5D-CAC473787E8B}"/>
                </a:ext>
              </a:extLst>
            </p:cNvPr>
            <p:cNvSpPr/>
            <p:nvPr/>
          </p:nvSpPr>
          <p:spPr>
            <a:xfrm>
              <a:off x="968111" y="5812155"/>
              <a:ext cx="51333" cy="57374"/>
            </a:xfrm>
            <a:custGeom>
              <a:avLst/>
              <a:gdLst>
                <a:gd name="connsiteX0" fmla="*/ 0 w 51333"/>
                <a:gd name="connsiteY0" fmla="*/ 9044 h 57374"/>
                <a:gd name="connsiteX1" fmla="*/ 0 w 51333"/>
                <a:gd name="connsiteY1" fmla="*/ 0 h 57374"/>
                <a:gd name="connsiteX2" fmla="*/ 51333 w 51333"/>
                <a:gd name="connsiteY2" fmla="*/ 0 h 57374"/>
                <a:gd name="connsiteX3" fmla="*/ 51333 w 51333"/>
                <a:gd name="connsiteY3" fmla="*/ 9044 h 57374"/>
                <a:gd name="connsiteX4" fmla="*/ 30462 w 51333"/>
                <a:gd name="connsiteY4" fmla="*/ 9044 h 57374"/>
                <a:gd name="connsiteX5" fmla="*/ 30462 w 51333"/>
                <a:gd name="connsiteY5" fmla="*/ 57375 h 57374"/>
                <a:gd name="connsiteX6" fmla="*/ 20872 w 51333"/>
                <a:gd name="connsiteY6" fmla="*/ 57375 h 57374"/>
                <a:gd name="connsiteX7" fmla="*/ 20872 w 51333"/>
                <a:gd name="connsiteY7" fmla="*/ 9044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333" h="57374">
                  <a:moveTo>
                    <a:pt x="0" y="9044"/>
                  </a:moveTo>
                  <a:lnTo>
                    <a:pt x="0" y="0"/>
                  </a:lnTo>
                  <a:lnTo>
                    <a:pt x="51333" y="0"/>
                  </a:lnTo>
                  <a:lnTo>
                    <a:pt x="51333" y="9044"/>
                  </a:lnTo>
                  <a:lnTo>
                    <a:pt x="30462" y="9044"/>
                  </a:lnTo>
                  <a:lnTo>
                    <a:pt x="30462" y="57375"/>
                  </a:lnTo>
                  <a:lnTo>
                    <a:pt x="20872" y="57375"/>
                  </a:lnTo>
                  <a:lnTo>
                    <a:pt x="20872" y="9044"/>
                  </a:lnTo>
                  <a:close/>
                </a:path>
              </a:pathLst>
            </a:custGeom>
            <a:solidFill>
              <a:srgbClr val="7F8183"/>
            </a:solidFill>
            <a:ln w="2790" cap="flat">
              <a:noFill/>
              <a:prstDash val="solid"/>
              <a:miter/>
            </a:ln>
          </p:spPr>
          <p:txBody>
            <a:bodyPr rtlCol="0" anchor="ctr"/>
            <a:lstStyle/>
            <a:p>
              <a:endParaRPr lang="x-none" sz="1905"/>
            </a:p>
          </p:txBody>
        </p:sp>
        <p:grpSp>
          <p:nvGrpSpPr>
            <p:cNvPr id="24" name="Graphic 14">
              <a:extLst>
                <a:ext uri="{FF2B5EF4-FFF2-40B4-BE49-F238E27FC236}">
                  <a16:creationId xmlns:a16="http://schemas.microsoft.com/office/drawing/2014/main" id="{EFA7B93E-DE11-0C42-9FDB-635B9BB922E3}"/>
                </a:ext>
              </a:extLst>
            </p:cNvPr>
            <p:cNvGrpSpPr/>
            <p:nvPr/>
          </p:nvGrpSpPr>
          <p:grpSpPr>
            <a:xfrm>
              <a:off x="1031291" y="5811024"/>
              <a:ext cx="110282" cy="59918"/>
              <a:chOff x="1031291" y="5811024"/>
              <a:chExt cx="110282" cy="59918"/>
            </a:xfrm>
            <a:solidFill>
              <a:srgbClr val="CFD4D9"/>
            </a:solidFill>
          </p:grpSpPr>
          <p:sp>
            <p:nvSpPr>
              <p:cNvPr id="25" name="Freeform 24">
                <a:extLst>
                  <a:ext uri="{FF2B5EF4-FFF2-40B4-BE49-F238E27FC236}">
                    <a16:creationId xmlns:a16="http://schemas.microsoft.com/office/drawing/2014/main" id="{594A101E-06B7-1947-9317-FC7D7E0291F8}"/>
                  </a:ext>
                </a:extLst>
              </p:cNvPr>
              <p:cNvSpPr/>
              <p:nvPr/>
            </p:nvSpPr>
            <p:spPr>
              <a:xfrm>
                <a:off x="1031291" y="5812155"/>
                <a:ext cx="45410" cy="57657"/>
              </a:xfrm>
              <a:custGeom>
                <a:avLst/>
                <a:gdLst>
                  <a:gd name="connsiteX0" fmla="*/ 26231 w 45410"/>
                  <a:gd name="connsiteY0" fmla="*/ 32220 h 57657"/>
                  <a:gd name="connsiteX1" fmla="*/ 9308 w 45410"/>
                  <a:gd name="connsiteY1" fmla="*/ 32220 h 57657"/>
                  <a:gd name="connsiteX2" fmla="*/ 9308 w 45410"/>
                  <a:gd name="connsiteY2" fmla="*/ 49178 h 57657"/>
                  <a:gd name="connsiteX3" fmla="*/ 26231 w 45410"/>
                  <a:gd name="connsiteY3" fmla="*/ 49178 h 57657"/>
                  <a:gd name="connsiteX4" fmla="*/ 34128 w 45410"/>
                  <a:gd name="connsiteY4" fmla="*/ 46917 h 57657"/>
                  <a:gd name="connsiteX5" fmla="*/ 36385 w 45410"/>
                  <a:gd name="connsiteY5" fmla="*/ 40699 h 57657"/>
                  <a:gd name="connsiteX6" fmla="*/ 33846 w 45410"/>
                  <a:gd name="connsiteY6" fmla="*/ 34199 h 57657"/>
                  <a:gd name="connsiteX7" fmla="*/ 26231 w 45410"/>
                  <a:gd name="connsiteY7" fmla="*/ 32220 h 57657"/>
                  <a:gd name="connsiteX8" fmla="*/ 24538 w 45410"/>
                  <a:gd name="connsiteY8" fmla="*/ 8196 h 57657"/>
                  <a:gd name="connsiteX9" fmla="*/ 9308 w 45410"/>
                  <a:gd name="connsiteY9" fmla="*/ 8196 h 57657"/>
                  <a:gd name="connsiteX10" fmla="*/ 9308 w 45410"/>
                  <a:gd name="connsiteY10" fmla="*/ 24307 h 57657"/>
                  <a:gd name="connsiteX11" fmla="*/ 25385 w 45410"/>
                  <a:gd name="connsiteY11" fmla="*/ 24307 h 57657"/>
                  <a:gd name="connsiteX12" fmla="*/ 32436 w 45410"/>
                  <a:gd name="connsiteY12" fmla="*/ 22328 h 57657"/>
                  <a:gd name="connsiteX13" fmla="*/ 34692 w 45410"/>
                  <a:gd name="connsiteY13" fmla="*/ 16110 h 57657"/>
                  <a:gd name="connsiteX14" fmla="*/ 32436 w 45410"/>
                  <a:gd name="connsiteY14" fmla="*/ 9892 h 57657"/>
                  <a:gd name="connsiteX15" fmla="*/ 24538 w 45410"/>
                  <a:gd name="connsiteY15" fmla="*/ 8196 h 57657"/>
                  <a:gd name="connsiteX16" fmla="*/ 0 w 45410"/>
                  <a:gd name="connsiteY16" fmla="*/ 57375 h 57657"/>
                  <a:gd name="connsiteX17" fmla="*/ 0 w 45410"/>
                  <a:gd name="connsiteY17" fmla="*/ 0 h 57657"/>
                  <a:gd name="connsiteX18" fmla="*/ 24538 w 45410"/>
                  <a:gd name="connsiteY18" fmla="*/ 0 h 57657"/>
                  <a:gd name="connsiteX19" fmla="*/ 38923 w 45410"/>
                  <a:gd name="connsiteY19" fmla="*/ 3957 h 57657"/>
                  <a:gd name="connsiteX20" fmla="*/ 44000 w 45410"/>
                  <a:gd name="connsiteY20" fmla="*/ 15545 h 57657"/>
                  <a:gd name="connsiteX21" fmla="*/ 42308 w 45410"/>
                  <a:gd name="connsiteY21" fmla="*/ 22328 h 57657"/>
                  <a:gd name="connsiteX22" fmla="*/ 35821 w 45410"/>
                  <a:gd name="connsiteY22" fmla="*/ 27698 h 57657"/>
                  <a:gd name="connsiteX23" fmla="*/ 43154 w 45410"/>
                  <a:gd name="connsiteY23" fmla="*/ 32786 h 57657"/>
                  <a:gd name="connsiteX24" fmla="*/ 45410 w 45410"/>
                  <a:gd name="connsiteY24" fmla="*/ 41265 h 57657"/>
                  <a:gd name="connsiteX25" fmla="*/ 40898 w 45410"/>
                  <a:gd name="connsiteY25" fmla="*/ 53135 h 57657"/>
                  <a:gd name="connsiteX26" fmla="*/ 26231 w 45410"/>
                  <a:gd name="connsiteY26" fmla="*/ 57657 h 57657"/>
                  <a:gd name="connsiteX27" fmla="*/ 0 w 45410"/>
                  <a:gd name="connsiteY27" fmla="*/ 57657 h 5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5410" h="57657">
                    <a:moveTo>
                      <a:pt x="26231" y="32220"/>
                    </a:moveTo>
                    <a:lnTo>
                      <a:pt x="9308" y="32220"/>
                    </a:lnTo>
                    <a:lnTo>
                      <a:pt x="9308" y="49178"/>
                    </a:lnTo>
                    <a:lnTo>
                      <a:pt x="26231" y="49178"/>
                    </a:lnTo>
                    <a:cubicBezTo>
                      <a:pt x="29897" y="49178"/>
                      <a:pt x="32436" y="48330"/>
                      <a:pt x="34128" y="46917"/>
                    </a:cubicBezTo>
                    <a:cubicBezTo>
                      <a:pt x="35538" y="45504"/>
                      <a:pt x="36385" y="43526"/>
                      <a:pt x="36385" y="40699"/>
                    </a:cubicBezTo>
                    <a:cubicBezTo>
                      <a:pt x="36385" y="37590"/>
                      <a:pt x="35538" y="35612"/>
                      <a:pt x="33846" y="34199"/>
                    </a:cubicBezTo>
                    <a:cubicBezTo>
                      <a:pt x="32436" y="33068"/>
                      <a:pt x="29897" y="32220"/>
                      <a:pt x="26231" y="32220"/>
                    </a:cubicBezTo>
                    <a:moveTo>
                      <a:pt x="24538" y="8196"/>
                    </a:moveTo>
                    <a:lnTo>
                      <a:pt x="9308" y="8196"/>
                    </a:lnTo>
                    <a:lnTo>
                      <a:pt x="9308" y="24307"/>
                    </a:lnTo>
                    <a:lnTo>
                      <a:pt x="25385" y="24307"/>
                    </a:lnTo>
                    <a:cubicBezTo>
                      <a:pt x="28487" y="24307"/>
                      <a:pt x="31026" y="23741"/>
                      <a:pt x="32436" y="22328"/>
                    </a:cubicBezTo>
                    <a:cubicBezTo>
                      <a:pt x="34128" y="20915"/>
                      <a:pt x="34692" y="18937"/>
                      <a:pt x="34692" y="16110"/>
                    </a:cubicBezTo>
                    <a:cubicBezTo>
                      <a:pt x="34692" y="13284"/>
                      <a:pt x="33846" y="11305"/>
                      <a:pt x="32436" y="9892"/>
                    </a:cubicBezTo>
                    <a:cubicBezTo>
                      <a:pt x="31308" y="9044"/>
                      <a:pt x="28487" y="8196"/>
                      <a:pt x="24538" y="8196"/>
                    </a:cubicBezTo>
                    <a:moveTo>
                      <a:pt x="0" y="57375"/>
                    </a:moveTo>
                    <a:lnTo>
                      <a:pt x="0" y="0"/>
                    </a:lnTo>
                    <a:lnTo>
                      <a:pt x="24538" y="0"/>
                    </a:lnTo>
                    <a:cubicBezTo>
                      <a:pt x="30744" y="0"/>
                      <a:pt x="35538" y="1413"/>
                      <a:pt x="38923" y="3957"/>
                    </a:cubicBezTo>
                    <a:cubicBezTo>
                      <a:pt x="42308" y="6501"/>
                      <a:pt x="44000" y="10457"/>
                      <a:pt x="44000" y="15545"/>
                    </a:cubicBezTo>
                    <a:cubicBezTo>
                      <a:pt x="44000" y="17806"/>
                      <a:pt x="43436" y="20067"/>
                      <a:pt x="42308" y="22328"/>
                    </a:cubicBezTo>
                    <a:cubicBezTo>
                      <a:pt x="41179" y="24589"/>
                      <a:pt x="39205" y="26568"/>
                      <a:pt x="35821" y="27698"/>
                    </a:cubicBezTo>
                    <a:cubicBezTo>
                      <a:pt x="39205" y="28829"/>
                      <a:pt x="41744" y="30524"/>
                      <a:pt x="43154" y="32786"/>
                    </a:cubicBezTo>
                    <a:cubicBezTo>
                      <a:pt x="44564" y="35047"/>
                      <a:pt x="45410" y="37873"/>
                      <a:pt x="45410" y="41265"/>
                    </a:cubicBezTo>
                    <a:cubicBezTo>
                      <a:pt x="45410" y="46069"/>
                      <a:pt x="44000" y="50026"/>
                      <a:pt x="40898" y="53135"/>
                    </a:cubicBezTo>
                    <a:cubicBezTo>
                      <a:pt x="37795" y="55962"/>
                      <a:pt x="33000" y="57657"/>
                      <a:pt x="26231" y="57657"/>
                    </a:cubicBezTo>
                    <a:lnTo>
                      <a:pt x="0" y="57657"/>
                    </a:lnTo>
                    <a:close/>
                  </a:path>
                </a:pathLst>
              </a:custGeom>
              <a:solidFill>
                <a:srgbClr val="7F8183"/>
              </a:solidFill>
              <a:ln w="2790" cap="flat">
                <a:noFill/>
                <a:prstDash val="solid"/>
                <a:miter/>
              </a:ln>
            </p:spPr>
            <p:txBody>
              <a:bodyPr rtlCol="0" anchor="ctr"/>
              <a:lstStyle/>
              <a:p>
                <a:endParaRPr lang="x-none" sz="1905"/>
              </a:p>
            </p:txBody>
          </p:sp>
          <p:sp>
            <p:nvSpPr>
              <p:cNvPr id="26" name="Freeform 25">
                <a:extLst>
                  <a:ext uri="{FF2B5EF4-FFF2-40B4-BE49-F238E27FC236}">
                    <a16:creationId xmlns:a16="http://schemas.microsoft.com/office/drawing/2014/main" id="{9F755969-685C-9E45-8E21-154064CC4ACA}"/>
                  </a:ext>
                </a:extLst>
              </p:cNvPr>
              <p:cNvSpPr/>
              <p:nvPr/>
            </p:nvSpPr>
            <p:spPr>
              <a:xfrm>
                <a:off x="1087701" y="5811024"/>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487" y="49461"/>
                      <a:pt x="21718"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764"/>
                      <a:pt x="0" y="29959"/>
                    </a:cubicBezTo>
                    <a:cubicBezTo>
                      <a:pt x="0" y="20350"/>
                      <a:pt x="2538" y="13001"/>
                      <a:pt x="7615" y="7914"/>
                    </a:cubicBezTo>
                    <a:cubicBezTo>
                      <a:pt x="12692" y="2826"/>
                      <a:pt x="19179" y="0"/>
                      <a:pt x="27359" y="0"/>
                    </a:cubicBezTo>
                    <a:cubicBezTo>
                      <a:pt x="35256" y="0"/>
                      <a:pt x="41744" y="2544"/>
                      <a:pt x="46539" y="7914"/>
                    </a:cubicBezTo>
                    <a:cubicBezTo>
                      <a:pt x="51333" y="13001"/>
                      <a:pt x="53872" y="20350"/>
                      <a:pt x="53872" y="29959"/>
                    </a:cubicBezTo>
                    <a:cubicBezTo>
                      <a:pt x="53872" y="39286"/>
                      <a:pt x="51333" y="46635"/>
                      <a:pt x="46539" y="52005"/>
                    </a:cubicBezTo>
                    <a:cubicBezTo>
                      <a:pt x="41462" y="57092"/>
                      <a:pt x="35256" y="59919"/>
                      <a:pt x="27359" y="59919"/>
                    </a:cubicBezTo>
                  </a:path>
                </a:pathLst>
              </a:custGeom>
              <a:solidFill>
                <a:srgbClr val="7F8183"/>
              </a:solidFill>
              <a:ln w="2790" cap="flat">
                <a:noFill/>
                <a:prstDash val="solid"/>
                <a:miter/>
              </a:ln>
            </p:spPr>
            <p:txBody>
              <a:bodyPr rtlCol="0" anchor="ctr"/>
              <a:lstStyle/>
              <a:p>
                <a:endParaRPr lang="x-none" sz="1905"/>
              </a:p>
            </p:txBody>
          </p:sp>
        </p:grpSp>
        <p:sp>
          <p:nvSpPr>
            <p:cNvPr id="27" name="Freeform 26">
              <a:extLst>
                <a:ext uri="{FF2B5EF4-FFF2-40B4-BE49-F238E27FC236}">
                  <a16:creationId xmlns:a16="http://schemas.microsoft.com/office/drawing/2014/main" id="{11356EE0-0A07-F142-85BE-2D1A3DE3BDD7}"/>
                </a:ext>
              </a:extLst>
            </p:cNvPr>
            <p:cNvSpPr/>
            <p:nvPr/>
          </p:nvSpPr>
          <p:spPr>
            <a:xfrm>
              <a:off x="351829" y="5935383"/>
              <a:ext cx="48230" cy="57374"/>
            </a:xfrm>
            <a:custGeom>
              <a:avLst/>
              <a:gdLst>
                <a:gd name="connsiteX0" fmla="*/ 0 w 48230"/>
                <a:gd name="connsiteY0" fmla="*/ 57375 h 57374"/>
                <a:gd name="connsiteX1" fmla="*/ 0 w 48230"/>
                <a:gd name="connsiteY1" fmla="*/ 0 h 57374"/>
                <a:gd name="connsiteX2" fmla="*/ 48231 w 48230"/>
                <a:gd name="connsiteY2" fmla="*/ 0 h 57374"/>
                <a:gd name="connsiteX3" fmla="*/ 48231 w 48230"/>
                <a:gd name="connsiteY3" fmla="*/ 57375 h 57374"/>
                <a:gd name="connsiteX4" fmla="*/ 38641 w 48230"/>
                <a:gd name="connsiteY4" fmla="*/ 57375 h 57374"/>
                <a:gd name="connsiteX5" fmla="*/ 38641 w 48230"/>
                <a:gd name="connsiteY5" fmla="*/ 9044 h 57374"/>
                <a:gd name="connsiteX6" fmla="*/ 9308 w 48230"/>
                <a:gd name="connsiteY6" fmla="*/ 9044 h 57374"/>
                <a:gd name="connsiteX7" fmla="*/ 9308 w 48230"/>
                <a:gd name="connsiteY7"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30" h="57374">
                  <a:moveTo>
                    <a:pt x="0" y="57375"/>
                  </a:moveTo>
                  <a:lnTo>
                    <a:pt x="0" y="0"/>
                  </a:lnTo>
                  <a:lnTo>
                    <a:pt x="48231" y="0"/>
                  </a:lnTo>
                  <a:lnTo>
                    <a:pt x="48231" y="57375"/>
                  </a:lnTo>
                  <a:lnTo>
                    <a:pt x="38641" y="57375"/>
                  </a:lnTo>
                  <a:lnTo>
                    <a:pt x="38641" y="9044"/>
                  </a:lnTo>
                  <a:lnTo>
                    <a:pt x="9308" y="9044"/>
                  </a:lnTo>
                  <a:lnTo>
                    <a:pt x="9308" y="57375"/>
                  </a:lnTo>
                  <a:close/>
                </a:path>
              </a:pathLst>
            </a:custGeom>
            <a:solidFill>
              <a:srgbClr val="7F8183"/>
            </a:solidFill>
            <a:ln w="2790" cap="flat">
              <a:noFill/>
              <a:prstDash val="solid"/>
              <a:miter/>
            </a:ln>
          </p:spPr>
          <p:txBody>
            <a:bodyPr rtlCol="0" anchor="ctr"/>
            <a:lstStyle/>
            <a:p>
              <a:endParaRPr lang="x-none" sz="1905"/>
            </a:p>
          </p:txBody>
        </p:sp>
        <p:grpSp>
          <p:nvGrpSpPr>
            <p:cNvPr id="28" name="Graphic 14">
              <a:extLst>
                <a:ext uri="{FF2B5EF4-FFF2-40B4-BE49-F238E27FC236}">
                  <a16:creationId xmlns:a16="http://schemas.microsoft.com/office/drawing/2014/main" id="{EFA7B93E-DE11-0C42-9FDB-635B9BB922E3}"/>
                </a:ext>
              </a:extLst>
            </p:cNvPr>
            <p:cNvGrpSpPr/>
            <p:nvPr/>
          </p:nvGrpSpPr>
          <p:grpSpPr>
            <a:xfrm>
              <a:off x="417829" y="5933970"/>
              <a:ext cx="245948" cy="82246"/>
              <a:chOff x="417829" y="5933970"/>
              <a:chExt cx="245948" cy="82246"/>
            </a:xfrm>
            <a:solidFill>
              <a:srgbClr val="CFD4D9"/>
            </a:solidFill>
          </p:grpSpPr>
          <p:sp>
            <p:nvSpPr>
              <p:cNvPr id="29" name="Freeform 28">
                <a:extLst>
                  <a:ext uri="{FF2B5EF4-FFF2-40B4-BE49-F238E27FC236}">
                    <a16:creationId xmlns:a16="http://schemas.microsoft.com/office/drawing/2014/main" id="{D43FD1D5-41D8-2A4E-B5DC-49B4F5A818F2}"/>
                  </a:ext>
                </a:extLst>
              </p:cNvPr>
              <p:cNvSpPr/>
              <p:nvPr/>
            </p:nvSpPr>
            <p:spPr>
              <a:xfrm>
                <a:off x="417829" y="5933970"/>
                <a:ext cx="54153" cy="82246"/>
              </a:xfrm>
              <a:custGeom>
                <a:avLst/>
                <a:gdLst>
                  <a:gd name="connsiteX0" fmla="*/ 9590 w 54153"/>
                  <a:gd name="connsiteY0" fmla="*/ 34764 h 82246"/>
                  <a:gd name="connsiteX1" fmla="*/ 14949 w 54153"/>
                  <a:gd name="connsiteY1" fmla="*/ 46917 h 82246"/>
                  <a:gd name="connsiteX2" fmla="*/ 27641 w 54153"/>
                  <a:gd name="connsiteY2" fmla="*/ 51439 h 82246"/>
                  <a:gd name="connsiteX3" fmla="*/ 40051 w 54153"/>
                  <a:gd name="connsiteY3" fmla="*/ 45504 h 82246"/>
                  <a:gd name="connsiteX4" fmla="*/ 44564 w 54153"/>
                  <a:gd name="connsiteY4" fmla="*/ 29677 h 82246"/>
                  <a:gd name="connsiteX5" fmla="*/ 40051 w 54153"/>
                  <a:gd name="connsiteY5" fmla="*/ 14414 h 82246"/>
                  <a:gd name="connsiteX6" fmla="*/ 27359 w 54153"/>
                  <a:gd name="connsiteY6" fmla="*/ 8479 h 82246"/>
                  <a:gd name="connsiteX7" fmla="*/ 20872 w 54153"/>
                  <a:gd name="connsiteY7" fmla="*/ 9610 h 82246"/>
                  <a:gd name="connsiteX8" fmla="*/ 15231 w 54153"/>
                  <a:gd name="connsiteY8" fmla="*/ 13284 h 82246"/>
                  <a:gd name="connsiteX9" fmla="*/ 11282 w 54153"/>
                  <a:gd name="connsiteY9" fmla="*/ 19219 h 82246"/>
                  <a:gd name="connsiteX10" fmla="*/ 9872 w 54153"/>
                  <a:gd name="connsiteY10" fmla="*/ 27416 h 82246"/>
                  <a:gd name="connsiteX11" fmla="*/ 9872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590" y="34764"/>
                    </a:moveTo>
                    <a:cubicBezTo>
                      <a:pt x="9590" y="40134"/>
                      <a:pt x="11282" y="44091"/>
                      <a:pt x="14949" y="46917"/>
                    </a:cubicBezTo>
                    <a:cubicBezTo>
                      <a:pt x="18615" y="49744"/>
                      <a:pt x="22846" y="51439"/>
                      <a:pt x="27641" y="51439"/>
                    </a:cubicBezTo>
                    <a:cubicBezTo>
                      <a:pt x="33000" y="51439"/>
                      <a:pt x="36949" y="49461"/>
                      <a:pt x="40051" y="45504"/>
                    </a:cubicBezTo>
                    <a:cubicBezTo>
                      <a:pt x="43154" y="41547"/>
                      <a:pt x="44564" y="36460"/>
                      <a:pt x="44564" y="29677"/>
                    </a:cubicBezTo>
                    <a:cubicBezTo>
                      <a:pt x="44564" y="23459"/>
                      <a:pt x="43154" y="18371"/>
                      <a:pt x="40051" y="14414"/>
                    </a:cubicBezTo>
                    <a:cubicBezTo>
                      <a:pt x="36949" y="10457"/>
                      <a:pt x="32718" y="8479"/>
                      <a:pt x="27359" y="8479"/>
                    </a:cubicBezTo>
                    <a:cubicBezTo>
                      <a:pt x="25103" y="8479"/>
                      <a:pt x="22846" y="8762"/>
                      <a:pt x="20872" y="9610"/>
                    </a:cubicBezTo>
                    <a:cubicBezTo>
                      <a:pt x="18897" y="10457"/>
                      <a:pt x="16923" y="11588"/>
                      <a:pt x="15231" y="13284"/>
                    </a:cubicBezTo>
                    <a:cubicBezTo>
                      <a:pt x="13538" y="14980"/>
                      <a:pt x="12128" y="16958"/>
                      <a:pt x="11282" y="19219"/>
                    </a:cubicBezTo>
                    <a:cubicBezTo>
                      <a:pt x="10154" y="21763"/>
                      <a:pt x="9872" y="24307"/>
                      <a:pt x="9872" y="27416"/>
                    </a:cubicBezTo>
                    <a:lnTo>
                      <a:pt x="9872" y="34764"/>
                    </a:lnTo>
                    <a:close/>
                    <a:moveTo>
                      <a:pt x="0" y="82247"/>
                    </a:moveTo>
                    <a:lnTo>
                      <a:pt x="0" y="1413"/>
                    </a:lnTo>
                    <a:lnTo>
                      <a:pt x="9590" y="1413"/>
                    </a:lnTo>
                    <a:lnTo>
                      <a:pt x="9590" y="9044"/>
                    </a:lnTo>
                    <a:cubicBezTo>
                      <a:pt x="11564" y="5935"/>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sp>
            <p:nvSpPr>
              <p:cNvPr id="30" name="Freeform 29">
                <a:extLst>
                  <a:ext uri="{FF2B5EF4-FFF2-40B4-BE49-F238E27FC236}">
                    <a16:creationId xmlns:a16="http://schemas.microsoft.com/office/drawing/2014/main" id="{1E64769E-32E5-9F47-9D5B-5483F8F4DE50}"/>
                  </a:ext>
                </a:extLst>
              </p:cNvPr>
              <p:cNvSpPr/>
              <p:nvPr/>
            </p:nvSpPr>
            <p:spPr>
              <a:xfrm>
                <a:off x="482983" y="5934253"/>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487" y="49461"/>
                      <a:pt x="22000"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481"/>
                      <a:pt x="0" y="29959"/>
                    </a:cubicBezTo>
                    <a:cubicBezTo>
                      <a:pt x="0" y="20350"/>
                      <a:pt x="2538" y="13001"/>
                      <a:pt x="7615" y="7914"/>
                    </a:cubicBezTo>
                    <a:cubicBezTo>
                      <a:pt x="12692" y="2826"/>
                      <a:pt x="19180" y="0"/>
                      <a:pt x="27359" y="0"/>
                    </a:cubicBezTo>
                    <a:cubicBezTo>
                      <a:pt x="35256" y="0"/>
                      <a:pt x="41744" y="2544"/>
                      <a:pt x="46539" y="7914"/>
                    </a:cubicBezTo>
                    <a:cubicBezTo>
                      <a:pt x="51333" y="13001"/>
                      <a:pt x="53872" y="20350"/>
                      <a:pt x="53872" y="29959"/>
                    </a:cubicBezTo>
                    <a:cubicBezTo>
                      <a:pt x="53872" y="39286"/>
                      <a:pt x="51333" y="46635"/>
                      <a:pt x="46539" y="52005"/>
                    </a:cubicBezTo>
                    <a:cubicBezTo>
                      <a:pt x="41744" y="57092"/>
                      <a:pt x="35256" y="59919"/>
                      <a:pt x="27359" y="59919"/>
                    </a:cubicBezTo>
                  </a:path>
                </a:pathLst>
              </a:custGeom>
              <a:solidFill>
                <a:srgbClr val="7F8183"/>
              </a:solidFill>
              <a:ln w="2790" cap="flat">
                <a:noFill/>
                <a:prstDash val="solid"/>
                <a:miter/>
              </a:ln>
            </p:spPr>
            <p:txBody>
              <a:bodyPr rtlCol="0" anchor="ctr"/>
              <a:lstStyle/>
              <a:p>
                <a:endParaRPr lang="x-none" sz="1905"/>
              </a:p>
            </p:txBody>
          </p:sp>
          <p:sp>
            <p:nvSpPr>
              <p:cNvPr id="31" name="Freeform 30">
                <a:extLst>
                  <a:ext uri="{FF2B5EF4-FFF2-40B4-BE49-F238E27FC236}">
                    <a16:creationId xmlns:a16="http://schemas.microsoft.com/office/drawing/2014/main" id="{9B71F156-CD9A-034F-9CBB-CBAB2ECAA703}"/>
                  </a:ext>
                </a:extLst>
              </p:cNvPr>
              <p:cNvSpPr/>
              <p:nvPr/>
            </p:nvSpPr>
            <p:spPr>
              <a:xfrm>
                <a:off x="541932" y="5935383"/>
                <a:ext cx="63461" cy="73767"/>
              </a:xfrm>
              <a:custGeom>
                <a:avLst/>
                <a:gdLst>
                  <a:gd name="connsiteX0" fmla="*/ 22282 w 63461"/>
                  <a:gd name="connsiteY0" fmla="*/ 33068 h 73767"/>
                  <a:gd name="connsiteX1" fmla="*/ 20308 w 63461"/>
                  <a:gd name="connsiteY1" fmla="*/ 41830 h 73767"/>
                  <a:gd name="connsiteX2" fmla="*/ 16923 w 63461"/>
                  <a:gd name="connsiteY2" fmla="*/ 48331 h 73767"/>
                  <a:gd name="connsiteX3" fmla="*/ 44846 w 63461"/>
                  <a:gd name="connsiteY3" fmla="*/ 48331 h 73767"/>
                  <a:gd name="connsiteX4" fmla="*/ 44846 w 63461"/>
                  <a:gd name="connsiteY4" fmla="*/ 8762 h 73767"/>
                  <a:gd name="connsiteX5" fmla="*/ 23128 w 63461"/>
                  <a:gd name="connsiteY5" fmla="*/ 8762 h 73767"/>
                  <a:gd name="connsiteX6" fmla="*/ 23128 w 63461"/>
                  <a:gd name="connsiteY6" fmla="*/ 23176 h 73767"/>
                  <a:gd name="connsiteX7" fmla="*/ 22282 w 63461"/>
                  <a:gd name="connsiteY7" fmla="*/ 33068 h 73767"/>
                  <a:gd name="connsiteX8" fmla="*/ 0 w 63461"/>
                  <a:gd name="connsiteY8" fmla="*/ 48613 h 73767"/>
                  <a:gd name="connsiteX9" fmla="*/ 5923 w 63461"/>
                  <a:gd name="connsiteY9" fmla="*/ 48613 h 73767"/>
                  <a:gd name="connsiteX10" fmla="*/ 11000 w 63461"/>
                  <a:gd name="connsiteY10" fmla="*/ 41547 h 73767"/>
                  <a:gd name="connsiteX11" fmla="*/ 13256 w 63461"/>
                  <a:gd name="connsiteY11" fmla="*/ 31938 h 73767"/>
                  <a:gd name="connsiteX12" fmla="*/ 13538 w 63461"/>
                  <a:gd name="connsiteY12" fmla="*/ 27416 h 73767"/>
                  <a:gd name="connsiteX13" fmla="*/ 13821 w 63461"/>
                  <a:gd name="connsiteY13" fmla="*/ 21198 h 73767"/>
                  <a:gd name="connsiteX14" fmla="*/ 13821 w 63461"/>
                  <a:gd name="connsiteY14" fmla="*/ 12436 h 73767"/>
                  <a:gd name="connsiteX15" fmla="*/ 13821 w 63461"/>
                  <a:gd name="connsiteY15" fmla="*/ 0 h 73767"/>
                  <a:gd name="connsiteX16" fmla="*/ 54154 w 63461"/>
                  <a:gd name="connsiteY16" fmla="*/ 0 h 73767"/>
                  <a:gd name="connsiteX17" fmla="*/ 54154 w 63461"/>
                  <a:gd name="connsiteY17" fmla="*/ 48613 h 73767"/>
                  <a:gd name="connsiteX18" fmla="*/ 63462 w 63461"/>
                  <a:gd name="connsiteY18" fmla="*/ 48613 h 73767"/>
                  <a:gd name="connsiteX19" fmla="*/ 63462 w 63461"/>
                  <a:gd name="connsiteY19" fmla="*/ 73768 h 73767"/>
                  <a:gd name="connsiteX20" fmla="*/ 54154 w 63461"/>
                  <a:gd name="connsiteY20" fmla="*/ 73768 h 73767"/>
                  <a:gd name="connsiteX21" fmla="*/ 54154 w 63461"/>
                  <a:gd name="connsiteY21" fmla="*/ 57657 h 73767"/>
                  <a:gd name="connsiteX22" fmla="*/ 9308 w 63461"/>
                  <a:gd name="connsiteY22" fmla="*/ 57657 h 73767"/>
                  <a:gd name="connsiteX23" fmla="*/ 9308 w 63461"/>
                  <a:gd name="connsiteY23" fmla="*/ 73768 h 73767"/>
                  <a:gd name="connsiteX24" fmla="*/ 0 w 63461"/>
                  <a:gd name="connsiteY24" fmla="*/ 73768 h 73767"/>
                  <a:gd name="connsiteX25" fmla="*/ 0 w 63461"/>
                  <a:gd name="connsiteY25" fmla="*/ 48613 h 7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3461" h="73767">
                    <a:moveTo>
                      <a:pt x="22282" y="33068"/>
                    </a:moveTo>
                    <a:cubicBezTo>
                      <a:pt x="22000" y="36460"/>
                      <a:pt x="21154" y="39286"/>
                      <a:pt x="20308" y="41830"/>
                    </a:cubicBezTo>
                    <a:cubicBezTo>
                      <a:pt x="19180" y="44374"/>
                      <a:pt x="18051" y="46635"/>
                      <a:pt x="16923" y="48331"/>
                    </a:cubicBezTo>
                    <a:lnTo>
                      <a:pt x="44846" y="48331"/>
                    </a:lnTo>
                    <a:lnTo>
                      <a:pt x="44846" y="8762"/>
                    </a:lnTo>
                    <a:lnTo>
                      <a:pt x="23128" y="8762"/>
                    </a:lnTo>
                    <a:cubicBezTo>
                      <a:pt x="23128" y="14414"/>
                      <a:pt x="23128" y="19219"/>
                      <a:pt x="23128" y="23176"/>
                    </a:cubicBezTo>
                    <a:cubicBezTo>
                      <a:pt x="22564" y="27698"/>
                      <a:pt x="22564" y="30807"/>
                      <a:pt x="22282" y="33068"/>
                    </a:cubicBezTo>
                    <a:moveTo>
                      <a:pt x="0" y="48613"/>
                    </a:moveTo>
                    <a:lnTo>
                      <a:pt x="5923" y="48613"/>
                    </a:lnTo>
                    <a:cubicBezTo>
                      <a:pt x="7897" y="46917"/>
                      <a:pt x="9590" y="44656"/>
                      <a:pt x="11000" y="41547"/>
                    </a:cubicBezTo>
                    <a:cubicBezTo>
                      <a:pt x="12410" y="38438"/>
                      <a:pt x="13256" y="35329"/>
                      <a:pt x="13256" y="31938"/>
                    </a:cubicBezTo>
                    <a:cubicBezTo>
                      <a:pt x="13256" y="30525"/>
                      <a:pt x="13538" y="29111"/>
                      <a:pt x="13538" y="27416"/>
                    </a:cubicBezTo>
                    <a:cubicBezTo>
                      <a:pt x="13538" y="25720"/>
                      <a:pt x="13538" y="23741"/>
                      <a:pt x="13821" y="21198"/>
                    </a:cubicBezTo>
                    <a:cubicBezTo>
                      <a:pt x="13821" y="18654"/>
                      <a:pt x="13821" y="15828"/>
                      <a:pt x="13821" y="12436"/>
                    </a:cubicBezTo>
                    <a:cubicBezTo>
                      <a:pt x="13821" y="9044"/>
                      <a:pt x="13821" y="4805"/>
                      <a:pt x="13821" y="0"/>
                    </a:cubicBezTo>
                    <a:lnTo>
                      <a:pt x="54154" y="0"/>
                    </a:lnTo>
                    <a:lnTo>
                      <a:pt x="54154" y="48613"/>
                    </a:lnTo>
                    <a:lnTo>
                      <a:pt x="63462" y="48613"/>
                    </a:lnTo>
                    <a:lnTo>
                      <a:pt x="63462" y="73768"/>
                    </a:lnTo>
                    <a:lnTo>
                      <a:pt x="54154" y="73768"/>
                    </a:lnTo>
                    <a:lnTo>
                      <a:pt x="54154" y="57657"/>
                    </a:lnTo>
                    <a:lnTo>
                      <a:pt x="9308" y="57657"/>
                    </a:lnTo>
                    <a:lnTo>
                      <a:pt x="9308" y="73768"/>
                    </a:lnTo>
                    <a:lnTo>
                      <a:pt x="0" y="73768"/>
                    </a:lnTo>
                    <a:lnTo>
                      <a:pt x="0" y="48613"/>
                    </a:lnTo>
                    <a:close/>
                  </a:path>
                </a:pathLst>
              </a:custGeom>
              <a:solidFill>
                <a:srgbClr val="7F8183"/>
              </a:solidFill>
              <a:ln w="2790" cap="flat">
                <a:noFill/>
                <a:prstDash val="solid"/>
                <a:miter/>
              </a:ln>
            </p:spPr>
            <p:txBody>
              <a:bodyPr rtlCol="0" anchor="ctr"/>
              <a:lstStyle/>
              <a:p>
                <a:endParaRPr lang="x-none" sz="1905"/>
              </a:p>
            </p:txBody>
          </p:sp>
          <p:sp>
            <p:nvSpPr>
              <p:cNvPr id="32" name="Freeform 31">
                <a:extLst>
                  <a:ext uri="{FF2B5EF4-FFF2-40B4-BE49-F238E27FC236}">
                    <a16:creationId xmlns:a16="http://schemas.microsoft.com/office/drawing/2014/main" id="{99AA9C04-C6E9-E342-A945-C5B4E2EAE82C}"/>
                  </a:ext>
                </a:extLst>
              </p:cNvPr>
              <p:cNvSpPr/>
              <p:nvPr/>
            </p:nvSpPr>
            <p:spPr>
              <a:xfrm>
                <a:off x="608214" y="5935383"/>
                <a:ext cx="55564" cy="80833"/>
              </a:xfrm>
              <a:custGeom>
                <a:avLst/>
                <a:gdLst>
                  <a:gd name="connsiteX0" fmla="*/ 29615 w 55564"/>
                  <a:gd name="connsiteY0" fmla="*/ 66419 h 80833"/>
                  <a:gd name="connsiteX1" fmla="*/ 22000 w 55564"/>
                  <a:gd name="connsiteY1" fmla="*/ 77724 h 80833"/>
                  <a:gd name="connsiteX2" fmla="*/ 11282 w 55564"/>
                  <a:gd name="connsiteY2" fmla="*/ 80833 h 80833"/>
                  <a:gd name="connsiteX3" fmla="*/ 5923 w 55564"/>
                  <a:gd name="connsiteY3" fmla="*/ 80833 h 80833"/>
                  <a:gd name="connsiteX4" fmla="*/ 5923 w 55564"/>
                  <a:gd name="connsiteY4" fmla="*/ 71789 h 80833"/>
                  <a:gd name="connsiteX5" fmla="*/ 9590 w 55564"/>
                  <a:gd name="connsiteY5" fmla="*/ 71789 h 80833"/>
                  <a:gd name="connsiteX6" fmla="*/ 16641 w 55564"/>
                  <a:gd name="connsiteY6" fmla="*/ 70093 h 80833"/>
                  <a:gd name="connsiteX7" fmla="*/ 21436 w 55564"/>
                  <a:gd name="connsiteY7" fmla="*/ 63310 h 80833"/>
                  <a:gd name="connsiteX8" fmla="*/ 23974 w 55564"/>
                  <a:gd name="connsiteY8" fmla="*/ 57092 h 80833"/>
                  <a:gd name="connsiteX9" fmla="*/ 0 w 55564"/>
                  <a:gd name="connsiteY9" fmla="*/ 0 h 80833"/>
                  <a:gd name="connsiteX10" fmla="*/ 10436 w 55564"/>
                  <a:gd name="connsiteY10" fmla="*/ 0 h 80833"/>
                  <a:gd name="connsiteX11" fmla="*/ 29051 w 55564"/>
                  <a:gd name="connsiteY11" fmla="*/ 45504 h 80833"/>
                  <a:gd name="connsiteX12" fmla="*/ 45692 w 55564"/>
                  <a:gd name="connsiteY12" fmla="*/ 0 h 80833"/>
                  <a:gd name="connsiteX13" fmla="*/ 55564 w 55564"/>
                  <a:gd name="connsiteY13" fmla="*/ 0 h 80833"/>
                  <a:gd name="connsiteX14" fmla="*/ 29615 w 55564"/>
                  <a:gd name="connsiteY14" fmla="*/ 66419 h 8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564" h="80833">
                    <a:moveTo>
                      <a:pt x="29615" y="66419"/>
                    </a:moveTo>
                    <a:cubicBezTo>
                      <a:pt x="27359" y="71789"/>
                      <a:pt x="25103" y="75746"/>
                      <a:pt x="22000" y="77724"/>
                    </a:cubicBezTo>
                    <a:cubicBezTo>
                      <a:pt x="19180" y="79986"/>
                      <a:pt x="15513" y="80833"/>
                      <a:pt x="11282" y="80833"/>
                    </a:cubicBezTo>
                    <a:lnTo>
                      <a:pt x="5923" y="80833"/>
                    </a:lnTo>
                    <a:lnTo>
                      <a:pt x="5923" y="71789"/>
                    </a:lnTo>
                    <a:lnTo>
                      <a:pt x="9590" y="71789"/>
                    </a:lnTo>
                    <a:cubicBezTo>
                      <a:pt x="12410" y="71789"/>
                      <a:pt x="14667" y="71224"/>
                      <a:pt x="16641" y="70093"/>
                    </a:cubicBezTo>
                    <a:cubicBezTo>
                      <a:pt x="18615" y="68963"/>
                      <a:pt x="20308" y="66702"/>
                      <a:pt x="21436" y="63310"/>
                    </a:cubicBezTo>
                    <a:lnTo>
                      <a:pt x="23974" y="57092"/>
                    </a:lnTo>
                    <a:lnTo>
                      <a:pt x="0" y="0"/>
                    </a:lnTo>
                    <a:lnTo>
                      <a:pt x="10436" y="0"/>
                    </a:lnTo>
                    <a:lnTo>
                      <a:pt x="29051" y="45504"/>
                    </a:lnTo>
                    <a:lnTo>
                      <a:pt x="45692" y="0"/>
                    </a:lnTo>
                    <a:lnTo>
                      <a:pt x="55564" y="0"/>
                    </a:lnTo>
                    <a:lnTo>
                      <a:pt x="29615" y="66419"/>
                    </a:lnTo>
                    <a:close/>
                  </a:path>
                </a:pathLst>
              </a:custGeom>
              <a:solidFill>
                <a:srgbClr val="7F8183"/>
              </a:solidFill>
              <a:ln w="2790" cap="flat">
                <a:noFill/>
                <a:prstDash val="solid"/>
                <a:miter/>
              </a:ln>
            </p:spPr>
            <p:txBody>
              <a:bodyPr rtlCol="0" anchor="ctr"/>
              <a:lstStyle/>
              <a:p>
                <a:endParaRPr lang="x-none" sz="1905"/>
              </a:p>
            </p:txBody>
          </p:sp>
        </p:grpSp>
        <p:sp>
          <p:nvSpPr>
            <p:cNvPr id="33" name="Freeform 32">
              <a:extLst>
                <a:ext uri="{FF2B5EF4-FFF2-40B4-BE49-F238E27FC236}">
                  <a16:creationId xmlns:a16="http://schemas.microsoft.com/office/drawing/2014/main" id="{81962B0C-2005-EF40-9A1E-B753FA614827}"/>
                </a:ext>
              </a:extLst>
            </p:cNvPr>
            <p:cNvSpPr/>
            <p:nvPr/>
          </p:nvSpPr>
          <p:spPr>
            <a:xfrm>
              <a:off x="673650" y="5935383"/>
              <a:ext cx="66282" cy="57374"/>
            </a:xfrm>
            <a:custGeom>
              <a:avLst/>
              <a:gdLst>
                <a:gd name="connsiteX0" fmla="*/ 0 w 66282"/>
                <a:gd name="connsiteY0" fmla="*/ 57375 h 57374"/>
                <a:gd name="connsiteX1" fmla="*/ 0 w 66282"/>
                <a:gd name="connsiteY1" fmla="*/ 0 h 57374"/>
                <a:gd name="connsiteX2" fmla="*/ 14103 w 66282"/>
                <a:gd name="connsiteY2" fmla="*/ 0 h 57374"/>
                <a:gd name="connsiteX3" fmla="*/ 33282 w 66282"/>
                <a:gd name="connsiteY3" fmla="*/ 48048 h 57374"/>
                <a:gd name="connsiteX4" fmla="*/ 52744 w 66282"/>
                <a:gd name="connsiteY4" fmla="*/ 0 h 57374"/>
                <a:gd name="connsiteX5" fmla="*/ 66282 w 66282"/>
                <a:gd name="connsiteY5" fmla="*/ 0 h 57374"/>
                <a:gd name="connsiteX6" fmla="*/ 66282 w 66282"/>
                <a:gd name="connsiteY6" fmla="*/ 57375 h 57374"/>
                <a:gd name="connsiteX7" fmla="*/ 56974 w 66282"/>
                <a:gd name="connsiteY7" fmla="*/ 57375 h 57374"/>
                <a:gd name="connsiteX8" fmla="*/ 56974 w 66282"/>
                <a:gd name="connsiteY8" fmla="*/ 10457 h 57374"/>
                <a:gd name="connsiteX9" fmla="*/ 37795 w 66282"/>
                <a:gd name="connsiteY9" fmla="*/ 57375 h 57374"/>
                <a:gd name="connsiteX10" fmla="*/ 27923 w 66282"/>
                <a:gd name="connsiteY10" fmla="*/ 57375 h 57374"/>
                <a:gd name="connsiteX11" fmla="*/ 8744 w 66282"/>
                <a:gd name="connsiteY11" fmla="*/ 10457 h 57374"/>
                <a:gd name="connsiteX12" fmla="*/ 8744 w 66282"/>
                <a:gd name="connsiteY12"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282" h="57374">
                  <a:moveTo>
                    <a:pt x="0" y="57375"/>
                  </a:moveTo>
                  <a:lnTo>
                    <a:pt x="0" y="0"/>
                  </a:lnTo>
                  <a:lnTo>
                    <a:pt x="14103" y="0"/>
                  </a:lnTo>
                  <a:lnTo>
                    <a:pt x="33282" y="48048"/>
                  </a:lnTo>
                  <a:lnTo>
                    <a:pt x="52744" y="0"/>
                  </a:lnTo>
                  <a:lnTo>
                    <a:pt x="66282" y="0"/>
                  </a:lnTo>
                  <a:lnTo>
                    <a:pt x="66282" y="57375"/>
                  </a:lnTo>
                  <a:lnTo>
                    <a:pt x="56974" y="57375"/>
                  </a:lnTo>
                  <a:lnTo>
                    <a:pt x="56974" y="10457"/>
                  </a:lnTo>
                  <a:lnTo>
                    <a:pt x="37795" y="57375"/>
                  </a:lnTo>
                  <a:lnTo>
                    <a:pt x="27923" y="57375"/>
                  </a:lnTo>
                  <a:lnTo>
                    <a:pt x="8744" y="10457"/>
                  </a:lnTo>
                  <a:lnTo>
                    <a:pt x="8744" y="57375"/>
                  </a:lnTo>
                  <a:close/>
                </a:path>
              </a:pathLst>
            </a:custGeom>
            <a:solidFill>
              <a:srgbClr val="7F8183"/>
            </a:solidFill>
            <a:ln w="2790" cap="flat">
              <a:noFill/>
              <a:prstDash val="solid"/>
              <a:miter/>
            </a:ln>
          </p:spPr>
          <p:txBody>
            <a:bodyPr rtlCol="0" anchor="ctr"/>
            <a:lstStyle/>
            <a:p>
              <a:endParaRPr lang="x-none" sz="1905"/>
            </a:p>
          </p:txBody>
        </p:sp>
        <p:sp>
          <p:nvSpPr>
            <p:cNvPr id="34" name="Freeform 33">
              <a:extLst>
                <a:ext uri="{FF2B5EF4-FFF2-40B4-BE49-F238E27FC236}">
                  <a16:creationId xmlns:a16="http://schemas.microsoft.com/office/drawing/2014/main" id="{D5422049-BD4A-B140-88D7-FA949505F6A7}"/>
                </a:ext>
              </a:extLst>
            </p:cNvPr>
            <p:cNvSpPr/>
            <p:nvPr/>
          </p:nvSpPr>
          <p:spPr>
            <a:xfrm>
              <a:off x="755162" y="5934253"/>
              <a:ext cx="46820" cy="59635"/>
            </a:xfrm>
            <a:custGeom>
              <a:avLst/>
              <a:gdLst>
                <a:gd name="connsiteX0" fmla="*/ 37513 w 46820"/>
                <a:gd name="connsiteY0" fmla="*/ 33068 h 59635"/>
                <a:gd name="connsiteX1" fmla="*/ 29897 w 46820"/>
                <a:gd name="connsiteY1" fmla="*/ 33068 h 59635"/>
                <a:gd name="connsiteX2" fmla="*/ 21718 w 46820"/>
                <a:gd name="connsiteY2" fmla="*/ 33068 h 59635"/>
                <a:gd name="connsiteX3" fmla="*/ 12692 w 46820"/>
                <a:gd name="connsiteY3" fmla="*/ 35612 h 59635"/>
                <a:gd name="connsiteX4" fmla="*/ 9590 w 46820"/>
                <a:gd name="connsiteY4" fmla="*/ 42395 h 59635"/>
                <a:gd name="connsiteX5" fmla="*/ 12410 w 46820"/>
                <a:gd name="connsiteY5" fmla="*/ 48896 h 59635"/>
                <a:gd name="connsiteX6" fmla="*/ 20308 w 46820"/>
                <a:gd name="connsiteY6" fmla="*/ 51439 h 59635"/>
                <a:gd name="connsiteX7" fmla="*/ 32436 w 46820"/>
                <a:gd name="connsiteY7" fmla="*/ 47765 h 59635"/>
                <a:gd name="connsiteX8" fmla="*/ 37513 w 46820"/>
                <a:gd name="connsiteY8" fmla="*/ 38438 h 59635"/>
                <a:gd name="connsiteX9" fmla="*/ 37513 w 46820"/>
                <a:gd name="connsiteY9" fmla="*/ 33068 h 59635"/>
                <a:gd name="connsiteX10" fmla="*/ 38077 w 46820"/>
                <a:gd name="connsiteY10" fmla="*/ 58505 h 59635"/>
                <a:gd name="connsiteX11" fmla="*/ 38077 w 46820"/>
                <a:gd name="connsiteY11" fmla="*/ 51722 h 59635"/>
                <a:gd name="connsiteX12" fmla="*/ 30744 w 46820"/>
                <a:gd name="connsiteY12" fmla="*/ 57375 h 59635"/>
                <a:gd name="connsiteX13" fmla="*/ 20026 w 46820"/>
                <a:gd name="connsiteY13" fmla="*/ 59636 h 59635"/>
                <a:gd name="connsiteX14" fmla="*/ 5359 w 46820"/>
                <a:gd name="connsiteY14" fmla="*/ 55114 h 59635"/>
                <a:gd name="connsiteX15" fmla="*/ 0 w 46820"/>
                <a:gd name="connsiteY15" fmla="*/ 42678 h 59635"/>
                <a:gd name="connsiteX16" fmla="*/ 5923 w 46820"/>
                <a:gd name="connsiteY16" fmla="*/ 29677 h 59635"/>
                <a:gd name="connsiteX17" fmla="*/ 21718 w 46820"/>
                <a:gd name="connsiteY17" fmla="*/ 25437 h 59635"/>
                <a:gd name="connsiteX18" fmla="*/ 29897 w 46820"/>
                <a:gd name="connsiteY18" fmla="*/ 25437 h 59635"/>
                <a:gd name="connsiteX19" fmla="*/ 37513 w 46820"/>
                <a:gd name="connsiteY19" fmla="*/ 25720 h 59635"/>
                <a:gd name="connsiteX20" fmla="*/ 37513 w 46820"/>
                <a:gd name="connsiteY20" fmla="*/ 20632 h 59635"/>
                <a:gd name="connsiteX21" fmla="*/ 33846 w 46820"/>
                <a:gd name="connsiteY21" fmla="*/ 11588 h 59635"/>
                <a:gd name="connsiteX22" fmla="*/ 24821 w 46820"/>
                <a:gd name="connsiteY22" fmla="*/ 8762 h 59635"/>
                <a:gd name="connsiteX23" fmla="*/ 15513 w 46820"/>
                <a:gd name="connsiteY23" fmla="*/ 11871 h 59635"/>
                <a:gd name="connsiteX24" fmla="*/ 11000 w 46820"/>
                <a:gd name="connsiteY24" fmla="*/ 19219 h 59635"/>
                <a:gd name="connsiteX25" fmla="*/ 1974 w 46820"/>
                <a:gd name="connsiteY25" fmla="*/ 17241 h 59635"/>
                <a:gd name="connsiteX26" fmla="*/ 9590 w 46820"/>
                <a:gd name="connsiteY26" fmla="*/ 4805 h 59635"/>
                <a:gd name="connsiteX27" fmla="*/ 24821 w 46820"/>
                <a:gd name="connsiteY27" fmla="*/ 0 h 59635"/>
                <a:gd name="connsiteX28" fmla="*/ 40615 w 46820"/>
                <a:gd name="connsiteY28" fmla="*/ 4805 h 59635"/>
                <a:gd name="connsiteX29" fmla="*/ 46821 w 46820"/>
                <a:gd name="connsiteY29" fmla="*/ 20067 h 59635"/>
                <a:gd name="connsiteX30" fmla="*/ 46821 w 46820"/>
                <a:gd name="connsiteY30" fmla="*/ 58505 h 59635"/>
                <a:gd name="connsiteX31" fmla="*/ 38077 w 46820"/>
                <a:gd name="connsiteY31" fmla="*/ 58505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820" h="59635">
                  <a:moveTo>
                    <a:pt x="37513" y="33068"/>
                  </a:moveTo>
                  <a:cubicBezTo>
                    <a:pt x="35256" y="33068"/>
                    <a:pt x="32718" y="33068"/>
                    <a:pt x="29897" y="33068"/>
                  </a:cubicBezTo>
                  <a:cubicBezTo>
                    <a:pt x="27359" y="33068"/>
                    <a:pt x="24538" y="33068"/>
                    <a:pt x="21718" y="33068"/>
                  </a:cubicBezTo>
                  <a:cubicBezTo>
                    <a:pt x="17769" y="33351"/>
                    <a:pt x="14667" y="34199"/>
                    <a:pt x="12692" y="35612"/>
                  </a:cubicBezTo>
                  <a:cubicBezTo>
                    <a:pt x="10718" y="37308"/>
                    <a:pt x="9590" y="39569"/>
                    <a:pt x="9590" y="42395"/>
                  </a:cubicBezTo>
                  <a:cubicBezTo>
                    <a:pt x="9590" y="45222"/>
                    <a:pt x="10436" y="47200"/>
                    <a:pt x="12410" y="48896"/>
                  </a:cubicBezTo>
                  <a:cubicBezTo>
                    <a:pt x="14385" y="50592"/>
                    <a:pt x="16923" y="51439"/>
                    <a:pt x="20308" y="51439"/>
                  </a:cubicBezTo>
                  <a:cubicBezTo>
                    <a:pt x="25103" y="51439"/>
                    <a:pt x="29051" y="50309"/>
                    <a:pt x="32436" y="47765"/>
                  </a:cubicBezTo>
                  <a:cubicBezTo>
                    <a:pt x="35821" y="45504"/>
                    <a:pt x="37513" y="42395"/>
                    <a:pt x="37513" y="38438"/>
                  </a:cubicBezTo>
                  <a:lnTo>
                    <a:pt x="37513" y="33068"/>
                  </a:lnTo>
                  <a:close/>
                  <a:moveTo>
                    <a:pt x="38077" y="58505"/>
                  </a:moveTo>
                  <a:lnTo>
                    <a:pt x="38077" y="51722"/>
                  </a:lnTo>
                  <a:cubicBezTo>
                    <a:pt x="36385" y="53983"/>
                    <a:pt x="33846" y="55962"/>
                    <a:pt x="30744" y="57375"/>
                  </a:cubicBezTo>
                  <a:cubicBezTo>
                    <a:pt x="27641" y="58788"/>
                    <a:pt x="24256" y="59636"/>
                    <a:pt x="20026" y="59636"/>
                  </a:cubicBezTo>
                  <a:cubicBezTo>
                    <a:pt x="13821" y="59636"/>
                    <a:pt x="9026" y="58223"/>
                    <a:pt x="5359" y="55114"/>
                  </a:cubicBezTo>
                  <a:cubicBezTo>
                    <a:pt x="1692" y="52005"/>
                    <a:pt x="0" y="47765"/>
                    <a:pt x="0" y="42678"/>
                  </a:cubicBezTo>
                  <a:cubicBezTo>
                    <a:pt x="0" y="36742"/>
                    <a:pt x="1974" y="32503"/>
                    <a:pt x="5923" y="29677"/>
                  </a:cubicBezTo>
                  <a:cubicBezTo>
                    <a:pt x="9872" y="27133"/>
                    <a:pt x="14949" y="25437"/>
                    <a:pt x="21718" y="25437"/>
                  </a:cubicBezTo>
                  <a:cubicBezTo>
                    <a:pt x="24538" y="25437"/>
                    <a:pt x="27359" y="25437"/>
                    <a:pt x="29897" y="25437"/>
                  </a:cubicBezTo>
                  <a:cubicBezTo>
                    <a:pt x="32436" y="25437"/>
                    <a:pt x="34974" y="25437"/>
                    <a:pt x="37513" y="25720"/>
                  </a:cubicBezTo>
                  <a:lnTo>
                    <a:pt x="37513" y="20632"/>
                  </a:lnTo>
                  <a:cubicBezTo>
                    <a:pt x="37513" y="16393"/>
                    <a:pt x="36385" y="13284"/>
                    <a:pt x="33846" y="11588"/>
                  </a:cubicBezTo>
                  <a:cubicBezTo>
                    <a:pt x="31590" y="9610"/>
                    <a:pt x="28487" y="8762"/>
                    <a:pt x="24821" y="8762"/>
                  </a:cubicBezTo>
                  <a:cubicBezTo>
                    <a:pt x="20872" y="8762"/>
                    <a:pt x="17769" y="9892"/>
                    <a:pt x="15513" y="11871"/>
                  </a:cubicBezTo>
                  <a:cubicBezTo>
                    <a:pt x="13538" y="13849"/>
                    <a:pt x="11846" y="16393"/>
                    <a:pt x="11000" y="19219"/>
                  </a:cubicBezTo>
                  <a:lnTo>
                    <a:pt x="1974" y="17241"/>
                  </a:lnTo>
                  <a:cubicBezTo>
                    <a:pt x="3103" y="12153"/>
                    <a:pt x="5641" y="8196"/>
                    <a:pt x="9590" y="4805"/>
                  </a:cubicBezTo>
                  <a:cubicBezTo>
                    <a:pt x="13538" y="1696"/>
                    <a:pt x="18615" y="0"/>
                    <a:pt x="24821" y="0"/>
                  </a:cubicBezTo>
                  <a:cubicBezTo>
                    <a:pt x="31308" y="0"/>
                    <a:pt x="36667" y="1696"/>
                    <a:pt x="40615" y="4805"/>
                  </a:cubicBezTo>
                  <a:cubicBezTo>
                    <a:pt x="44846" y="8196"/>
                    <a:pt x="46821" y="13284"/>
                    <a:pt x="46821" y="20067"/>
                  </a:cubicBezTo>
                  <a:lnTo>
                    <a:pt x="46821" y="58505"/>
                  </a:lnTo>
                  <a:lnTo>
                    <a:pt x="38077" y="58505"/>
                  </a:lnTo>
                  <a:close/>
                </a:path>
              </a:pathLst>
            </a:custGeom>
            <a:solidFill>
              <a:srgbClr val="7F8183"/>
            </a:solidFill>
            <a:ln w="2790" cap="flat">
              <a:noFill/>
              <a:prstDash val="solid"/>
              <a:miter/>
            </a:ln>
          </p:spPr>
          <p:txBody>
            <a:bodyPr rtlCol="0" anchor="ctr"/>
            <a:lstStyle/>
            <a:p>
              <a:endParaRPr lang="x-none" sz="1905"/>
            </a:p>
          </p:txBody>
        </p:sp>
        <p:sp>
          <p:nvSpPr>
            <p:cNvPr id="35" name="Freeform 34">
              <a:extLst>
                <a:ext uri="{FF2B5EF4-FFF2-40B4-BE49-F238E27FC236}">
                  <a16:creationId xmlns:a16="http://schemas.microsoft.com/office/drawing/2014/main" id="{5FF7B6FA-8C8D-6E47-A9DF-DF291042086E}"/>
                </a:ext>
              </a:extLst>
            </p:cNvPr>
            <p:cNvSpPr/>
            <p:nvPr/>
          </p:nvSpPr>
          <p:spPr>
            <a:xfrm>
              <a:off x="819470" y="5935383"/>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36" name="Freeform 35">
              <a:extLst>
                <a:ext uri="{FF2B5EF4-FFF2-40B4-BE49-F238E27FC236}">
                  <a16:creationId xmlns:a16="http://schemas.microsoft.com/office/drawing/2014/main" id="{E0AF6EFB-1E57-E94C-AC8D-487785EE95FB}"/>
                </a:ext>
              </a:extLst>
            </p:cNvPr>
            <p:cNvSpPr/>
            <p:nvPr/>
          </p:nvSpPr>
          <p:spPr>
            <a:xfrm>
              <a:off x="886598" y="5935383"/>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37" name="Freeform 36">
              <a:extLst>
                <a:ext uri="{FF2B5EF4-FFF2-40B4-BE49-F238E27FC236}">
                  <a16:creationId xmlns:a16="http://schemas.microsoft.com/office/drawing/2014/main" id="{67BCDA38-3E2E-3B41-9481-C92AE6AD1D32}"/>
                </a:ext>
              </a:extLst>
            </p:cNvPr>
            <p:cNvSpPr/>
            <p:nvPr/>
          </p:nvSpPr>
          <p:spPr>
            <a:xfrm>
              <a:off x="953727" y="5935383"/>
              <a:ext cx="62333" cy="57374"/>
            </a:xfrm>
            <a:custGeom>
              <a:avLst/>
              <a:gdLst>
                <a:gd name="connsiteX0" fmla="*/ 52744 w 62333"/>
                <a:gd name="connsiteY0" fmla="*/ 0 h 57374"/>
                <a:gd name="connsiteX1" fmla="*/ 62333 w 62333"/>
                <a:gd name="connsiteY1" fmla="*/ 0 h 57374"/>
                <a:gd name="connsiteX2" fmla="*/ 62333 w 62333"/>
                <a:gd name="connsiteY2" fmla="*/ 57375 h 57374"/>
                <a:gd name="connsiteX3" fmla="*/ 52744 w 62333"/>
                <a:gd name="connsiteY3" fmla="*/ 57375 h 57374"/>
                <a:gd name="connsiteX4" fmla="*/ 52744 w 62333"/>
                <a:gd name="connsiteY4" fmla="*/ 0 h 57374"/>
                <a:gd name="connsiteX5" fmla="*/ 24256 w 62333"/>
                <a:gd name="connsiteY5" fmla="*/ 28546 h 57374"/>
                <a:gd name="connsiteX6" fmla="*/ 9590 w 62333"/>
                <a:gd name="connsiteY6" fmla="*/ 28546 h 57374"/>
                <a:gd name="connsiteX7" fmla="*/ 9590 w 62333"/>
                <a:gd name="connsiteY7" fmla="*/ 48896 h 57374"/>
                <a:gd name="connsiteX8" fmla="*/ 24256 w 62333"/>
                <a:gd name="connsiteY8" fmla="*/ 48896 h 57374"/>
                <a:gd name="connsiteX9" fmla="*/ 33000 w 62333"/>
                <a:gd name="connsiteY9" fmla="*/ 46069 h 57374"/>
                <a:gd name="connsiteX10" fmla="*/ 35256 w 62333"/>
                <a:gd name="connsiteY10" fmla="*/ 38438 h 57374"/>
                <a:gd name="connsiteX11" fmla="*/ 33000 w 62333"/>
                <a:gd name="connsiteY11" fmla="*/ 31090 h 57374"/>
                <a:gd name="connsiteX12" fmla="*/ 24256 w 62333"/>
                <a:gd name="connsiteY12" fmla="*/ 28546 h 57374"/>
                <a:gd name="connsiteX13" fmla="*/ 0 w 62333"/>
                <a:gd name="connsiteY13" fmla="*/ 57375 h 57374"/>
                <a:gd name="connsiteX14" fmla="*/ 0 w 62333"/>
                <a:gd name="connsiteY14" fmla="*/ 0 h 57374"/>
                <a:gd name="connsiteX15" fmla="*/ 9590 w 62333"/>
                <a:gd name="connsiteY15" fmla="*/ 0 h 57374"/>
                <a:gd name="connsiteX16" fmla="*/ 9590 w 62333"/>
                <a:gd name="connsiteY16" fmla="*/ 19784 h 57374"/>
                <a:gd name="connsiteX17" fmla="*/ 24256 w 62333"/>
                <a:gd name="connsiteY17" fmla="*/ 19784 h 57374"/>
                <a:gd name="connsiteX18" fmla="*/ 39205 w 62333"/>
                <a:gd name="connsiteY18" fmla="*/ 24589 h 57374"/>
                <a:gd name="connsiteX19" fmla="*/ 44282 w 62333"/>
                <a:gd name="connsiteY19" fmla="*/ 38156 h 57374"/>
                <a:gd name="connsiteX20" fmla="*/ 39205 w 62333"/>
                <a:gd name="connsiteY20" fmla="*/ 52287 h 57374"/>
                <a:gd name="connsiteX21" fmla="*/ 23974 w 62333"/>
                <a:gd name="connsiteY21" fmla="*/ 57375 h 57374"/>
                <a:gd name="connsiteX22" fmla="*/ 0 w 62333"/>
                <a:gd name="connsiteY22"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333" h="57374">
                  <a:moveTo>
                    <a:pt x="52744" y="0"/>
                  </a:moveTo>
                  <a:lnTo>
                    <a:pt x="62333" y="0"/>
                  </a:lnTo>
                  <a:lnTo>
                    <a:pt x="62333" y="57375"/>
                  </a:lnTo>
                  <a:lnTo>
                    <a:pt x="52744" y="57375"/>
                  </a:lnTo>
                  <a:lnTo>
                    <a:pt x="52744" y="0"/>
                  </a:lnTo>
                  <a:close/>
                  <a:moveTo>
                    <a:pt x="24256" y="28546"/>
                  </a:moveTo>
                  <a:lnTo>
                    <a:pt x="9590" y="28546"/>
                  </a:lnTo>
                  <a:lnTo>
                    <a:pt x="9590" y="48896"/>
                  </a:lnTo>
                  <a:lnTo>
                    <a:pt x="24256" y="48896"/>
                  </a:lnTo>
                  <a:cubicBezTo>
                    <a:pt x="28487" y="48896"/>
                    <a:pt x="31590" y="47765"/>
                    <a:pt x="33000" y="46069"/>
                  </a:cubicBezTo>
                  <a:cubicBezTo>
                    <a:pt x="34692" y="44091"/>
                    <a:pt x="35256" y="41547"/>
                    <a:pt x="35256" y="38438"/>
                  </a:cubicBezTo>
                  <a:cubicBezTo>
                    <a:pt x="35256" y="35329"/>
                    <a:pt x="34410" y="32786"/>
                    <a:pt x="33000" y="31090"/>
                  </a:cubicBezTo>
                  <a:cubicBezTo>
                    <a:pt x="31590" y="29394"/>
                    <a:pt x="28769" y="28546"/>
                    <a:pt x="24256" y="28546"/>
                  </a:cubicBezTo>
                  <a:moveTo>
                    <a:pt x="0" y="57375"/>
                  </a:moveTo>
                  <a:lnTo>
                    <a:pt x="0" y="0"/>
                  </a:lnTo>
                  <a:lnTo>
                    <a:pt x="9590" y="0"/>
                  </a:lnTo>
                  <a:lnTo>
                    <a:pt x="9590" y="19784"/>
                  </a:lnTo>
                  <a:lnTo>
                    <a:pt x="24256" y="19784"/>
                  </a:lnTo>
                  <a:cubicBezTo>
                    <a:pt x="30744" y="19784"/>
                    <a:pt x="35821" y="21480"/>
                    <a:pt x="39205" y="24589"/>
                  </a:cubicBezTo>
                  <a:cubicBezTo>
                    <a:pt x="42590" y="27698"/>
                    <a:pt x="44282" y="32220"/>
                    <a:pt x="44282" y="38156"/>
                  </a:cubicBezTo>
                  <a:cubicBezTo>
                    <a:pt x="44282" y="44091"/>
                    <a:pt x="42590" y="48896"/>
                    <a:pt x="39205" y="52287"/>
                  </a:cubicBezTo>
                  <a:cubicBezTo>
                    <a:pt x="35821" y="55679"/>
                    <a:pt x="30744" y="57375"/>
                    <a:pt x="23974" y="57375"/>
                  </a:cubicBezTo>
                  <a:lnTo>
                    <a:pt x="0" y="57375"/>
                  </a:lnTo>
                  <a:close/>
                </a:path>
              </a:pathLst>
            </a:custGeom>
            <a:solidFill>
              <a:srgbClr val="7F8183"/>
            </a:solidFill>
            <a:ln w="2790" cap="flat">
              <a:noFill/>
              <a:prstDash val="solid"/>
              <a:miter/>
            </a:ln>
          </p:spPr>
          <p:txBody>
            <a:bodyPr rtlCol="0" anchor="ctr"/>
            <a:lstStyle/>
            <a:p>
              <a:endParaRPr lang="x-none" sz="1905"/>
            </a:p>
          </p:txBody>
        </p:sp>
        <p:sp>
          <p:nvSpPr>
            <p:cNvPr id="38" name="Freeform 37">
              <a:extLst>
                <a:ext uri="{FF2B5EF4-FFF2-40B4-BE49-F238E27FC236}">
                  <a16:creationId xmlns:a16="http://schemas.microsoft.com/office/drawing/2014/main" id="{344C2DB0-5C48-B34D-A28C-AFECC7A74E5E}"/>
                </a:ext>
              </a:extLst>
            </p:cNvPr>
            <p:cNvSpPr/>
            <p:nvPr/>
          </p:nvSpPr>
          <p:spPr>
            <a:xfrm>
              <a:off x="1026778" y="5935383"/>
              <a:ext cx="54435" cy="57374"/>
            </a:xfrm>
            <a:custGeom>
              <a:avLst/>
              <a:gdLst>
                <a:gd name="connsiteX0" fmla="*/ 42872 w 54435"/>
                <a:gd name="connsiteY0" fmla="*/ 57375 h 57374"/>
                <a:gd name="connsiteX1" fmla="*/ 26795 w 54435"/>
                <a:gd name="connsiteY1" fmla="*/ 34481 h 57374"/>
                <a:gd name="connsiteX2" fmla="*/ 11282 w 54435"/>
                <a:gd name="connsiteY2" fmla="*/ 57375 h 57374"/>
                <a:gd name="connsiteX3" fmla="*/ 0 w 54435"/>
                <a:gd name="connsiteY3" fmla="*/ 57375 h 57374"/>
                <a:gd name="connsiteX4" fmla="*/ 21154 w 54435"/>
                <a:gd name="connsiteY4" fmla="*/ 27981 h 57374"/>
                <a:gd name="connsiteX5" fmla="*/ 1410 w 54435"/>
                <a:gd name="connsiteY5" fmla="*/ 0 h 57374"/>
                <a:gd name="connsiteX6" fmla="*/ 12410 w 54435"/>
                <a:gd name="connsiteY6" fmla="*/ 0 h 57374"/>
                <a:gd name="connsiteX7" fmla="*/ 26795 w 54435"/>
                <a:gd name="connsiteY7" fmla="*/ 21198 h 57374"/>
                <a:gd name="connsiteX8" fmla="*/ 41462 w 54435"/>
                <a:gd name="connsiteY8" fmla="*/ 0 h 57374"/>
                <a:gd name="connsiteX9" fmla="*/ 52462 w 54435"/>
                <a:gd name="connsiteY9" fmla="*/ 0 h 57374"/>
                <a:gd name="connsiteX10" fmla="*/ 32436 w 54435"/>
                <a:gd name="connsiteY10" fmla="*/ 27416 h 57374"/>
                <a:gd name="connsiteX11" fmla="*/ 54436 w 54435"/>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35" h="57374">
                  <a:moveTo>
                    <a:pt x="42872" y="57375"/>
                  </a:moveTo>
                  <a:lnTo>
                    <a:pt x="26795" y="34481"/>
                  </a:lnTo>
                  <a:lnTo>
                    <a:pt x="11282" y="57375"/>
                  </a:lnTo>
                  <a:lnTo>
                    <a:pt x="0" y="57375"/>
                  </a:lnTo>
                  <a:lnTo>
                    <a:pt x="21154" y="27981"/>
                  </a:lnTo>
                  <a:lnTo>
                    <a:pt x="1410" y="0"/>
                  </a:lnTo>
                  <a:lnTo>
                    <a:pt x="12410" y="0"/>
                  </a:lnTo>
                  <a:lnTo>
                    <a:pt x="26795" y="21198"/>
                  </a:lnTo>
                  <a:lnTo>
                    <a:pt x="41462" y="0"/>
                  </a:lnTo>
                  <a:lnTo>
                    <a:pt x="52462" y="0"/>
                  </a:lnTo>
                  <a:lnTo>
                    <a:pt x="32436" y="27416"/>
                  </a:lnTo>
                  <a:lnTo>
                    <a:pt x="54436" y="57375"/>
                  </a:lnTo>
                  <a:close/>
                </a:path>
              </a:pathLst>
            </a:custGeom>
            <a:solidFill>
              <a:srgbClr val="7F8183"/>
            </a:solidFill>
            <a:ln w="2790" cap="flat">
              <a:noFill/>
              <a:prstDash val="solid"/>
              <a:miter/>
            </a:ln>
          </p:spPr>
          <p:txBody>
            <a:bodyPr rtlCol="0" anchor="ctr"/>
            <a:lstStyle/>
            <a:p>
              <a:endParaRPr lang="x-none" sz="1905"/>
            </a:p>
          </p:txBody>
        </p:sp>
        <p:grpSp>
          <p:nvGrpSpPr>
            <p:cNvPr id="39" name="Graphic 14">
              <a:extLst>
                <a:ext uri="{FF2B5EF4-FFF2-40B4-BE49-F238E27FC236}">
                  <a16:creationId xmlns:a16="http://schemas.microsoft.com/office/drawing/2014/main" id="{EFA7B93E-DE11-0C42-9FDB-635B9BB922E3}"/>
                </a:ext>
              </a:extLst>
            </p:cNvPr>
            <p:cNvGrpSpPr/>
            <p:nvPr/>
          </p:nvGrpSpPr>
          <p:grpSpPr>
            <a:xfrm>
              <a:off x="351829" y="6057199"/>
              <a:ext cx="116205" cy="82246"/>
              <a:chOff x="351829" y="6057199"/>
              <a:chExt cx="116205" cy="82246"/>
            </a:xfrm>
            <a:solidFill>
              <a:srgbClr val="CFD4D9"/>
            </a:solidFill>
          </p:grpSpPr>
          <p:sp>
            <p:nvSpPr>
              <p:cNvPr id="40" name="Freeform 39">
                <a:extLst>
                  <a:ext uri="{FF2B5EF4-FFF2-40B4-BE49-F238E27FC236}">
                    <a16:creationId xmlns:a16="http://schemas.microsoft.com/office/drawing/2014/main" id="{0870A2C9-2722-2D42-A794-AB0269D968C3}"/>
                  </a:ext>
                </a:extLst>
              </p:cNvPr>
              <p:cNvSpPr/>
              <p:nvPr/>
            </p:nvSpPr>
            <p:spPr>
              <a:xfrm>
                <a:off x="351829" y="6057199"/>
                <a:ext cx="54153" cy="82246"/>
              </a:xfrm>
              <a:custGeom>
                <a:avLst/>
                <a:gdLst>
                  <a:gd name="connsiteX0" fmla="*/ 9308 w 54153"/>
                  <a:gd name="connsiteY0" fmla="*/ 34764 h 82246"/>
                  <a:gd name="connsiteX1" fmla="*/ 14667 w 54153"/>
                  <a:gd name="connsiteY1" fmla="*/ 46917 h 82246"/>
                  <a:gd name="connsiteX2" fmla="*/ 27359 w 54153"/>
                  <a:gd name="connsiteY2" fmla="*/ 51439 h 82246"/>
                  <a:gd name="connsiteX3" fmla="*/ 39769 w 54153"/>
                  <a:gd name="connsiteY3" fmla="*/ 45504 h 82246"/>
                  <a:gd name="connsiteX4" fmla="*/ 44282 w 54153"/>
                  <a:gd name="connsiteY4" fmla="*/ 29677 h 82246"/>
                  <a:gd name="connsiteX5" fmla="*/ 39769 w 54153"/>
                  <a:gd name="connsiteY5" fmla="*/ 14414 h 82246"/>
                  <a:gd name="connsiteX6" fmla="*/ 27077 w 54153"/>
                  <a:gd name="connsiteY6" fmla="*/ 8479 h 82246"/>
                  <a:gd name="connsiteX7" fmla="*/ 20590 w 54153"/>
                  <a:gd name="connsiteY7" fmla="*/ 9610 h 82246"/>
                  <a:gd name="connsiteX8" fmla="*/ 14949 w 54153"/>
                  <a:gd name="connsiteY8" fmla="*/ 13284 h 82246"/>
                  <a:gd name="connsiteX9" fmla="*/ 11000 w 54153"/>
                  <a:gd name="connsiteY9" fmla="*/ 19219 h 82246"/>
                  <a:gd name="connsiteX10" fmla="*/ 9590 w 54153"/>
                  <a:gd name="connsiteY10" fmla="*/ 27416 h 82246"/>
                  <a:gd name="connsiteX11" fmla="*/ 9590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308" y="34764"/>
                    </a:moveTo>
                    <a:cubicBezTo>
                      <a:pt x="9308" y="40134"/>
                      <a:pt x="11000" y="44091"/>
                      <a:pt x="14667" y="46917"/>
                    </a:cubicBezTo>
                    <a:cubicBezTo>
                      <a:pt x="18333" y="49744"/>
                      <a:pt x="22564" y="51439"/>
                      <a:pt x="27359" y="51439"/>
                    </a:cubicBezTo>
                    <a:cubicBezTo>
                      <a:pt x="32718" y="51439"/>
                      <a:pt x="36667" y="49461"/>
                      <a:pt x="39769" y="45504"/>
                    </a:cubicBezTo>
                    <a:cubicBezTo>
                      <a:pt x="42872" y="41547"/>
                      <a:pt x="44282" y="36460"/>
                      <a:pt x="44282" y="29677"/>
                    </a:cubicBezTo>
                    <a:cubicBezTo>
                      <a:pt x="44282" y="23459"/>
                      <a:pt x="42872" y="18371"/>
                      <a:pt x="39769" y="14414"/>
                    </a:cubicBezTo>
                    <a:cubicBezTo>
                      <a:pt x="36667" y="10457"/>
                      <a:pt x="32436" y="8479"/>
                      <a:pt x="27077" y="8479"/>
                    </a:cubicBezTo>
                    <a:cubicBezTo>
                      <a:pt x="24821" y="8479"/>
                      <a:pt x="22564" y="8762"/>
                      <a:pt x="20590" y="9610"/>
                    </a:cubicBezTo>
                    <a:cubicBezTo>
                      <a:pt x="18615" y="10457"/>
                      <a:pt x="16641" y="11588"/>
                      <a:pt x="14949" y="13284"/>
                    </a:cubicBezTo>
                    <a:cubicBezTo>
                      <a:pt x="13256" y="14980"/>
                      <a:pt x="11846" y="16958"/>
                      <a:pt x="11000" y="19219"/>
                    </a:cubicBezTo>
                    <a:cubicBezTo>
                      <a:pt x="9872" y="21763"/>
                      <a:pt x="9590" y="24307"/>
                      <a:pt x="9590" y="27416"/>
                    </a:cubicBezTo>
                    <a:lnTo>
                      <a:pt x="9590" y="34764"/>
                    </a:lnTo>
                    <a:close/>
                    <a:moveTo>
                      <a:pt x="0" y="82247"/>
                    </a:moveTo>
                    <a:lnTo>
                      <a:pt x="0" y="1413"/>
                    </a:lnTo>
                    <a:lnTo>
                      <a:pt x="9590" y="1413"/>
                    </a:lnTo>
                    <a:lnTo>
                      <a:pt x="9590" y="9044"/>
                    </a:lnTo>
                    <a:cubicBezTo>
                      <a:pt x="11564" y="5935"/>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sp>
            <p:nvSpPr>
              <p:cNvPr id="41" name="Freeform 40">
                <a:extLst>
                  <a:ext uri="{FF2B5EF4-FFF2-40B4-BE49-F238E27FC236}">
                    <a16:creationId xmlns:a16="http://schemas.microsoft.com/office/drawing/2014/main" id="{28189C74-7479-0C4B-8B0E-4F62FF8E26F5}"/>
                  </a:ext>
                </a:extLst>
              </p:cNvPr>
              <p:cNvSpPr/>
              <p:nvPr/>
            </p:nvSpPr>
            <p:spPr>
              <a:xfrm>
                <a:off x="416701" y="6057764"/>
                <a:ext cx="51333" cy="59635"/>
              </a:xfrm>
              <a:custGeom>
                <a:avLst/>
                <a:gdLst>
                  <a:gd name="connsiteX0" fmla="*/ 26513 w 51333"/>
                  <a:gd name="connsiteY0" fmla="*/ 7914 h 59635"/>
                  <a:gd name="connsiteX1" fmla="*/ 15513 w 51333"/>
                  <a:gd name="connsiteY1" fmla="*/ 12153 h 59635"/>
                  <a:gd name="connsiteX2" fmla="*/ 9872 w 51333"/>
                  <a:gd name="connsiteY2" fmla="*/ 23176 h 59635"/>
                  <a:gd name="connsiteX3" fmla="*/ 42026 w 51333"/>
                  <a:gd name="connsiteY3" fmla="*/ 23176 h 59635"/>
                  <a:gd name="connsiteX4" fmla="*/ 38077 w 51333"/>
                  <a:gd name="connsiteY4" fmla="*/ 12153 h 59635"/>
                  <a:gd name="connsiteX5" fmla="*/ 26513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9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513" y="7914"/>
                    </a:moveTo>
                    <a:cubicBezTo>
                      <a:pt x="22000" y="7914"/>
                      <a:pt x="18333" y="9327"/>
                      <a:pt x="15513" y="12153"/>
                    </a:cubicBezTo>
                    <a:cubicBezTo>
                      <a:pt x="12410" y="14980"/>
                      <a:pt x="10718" y="18654"/>
                      <a:pt x="9872" y="23176"/>
                    </a:cubicBezTo>
                    <a:lnTo>
                      <a:pt x="42026" y="23176"/>
                    </a:lnTo>
                    <a:cubicBezTo>
                      <a:pt x="41744" y="18654"/>
                      <a:pt x="40333" y="14980"/>
                      <a:pt x="38077" y="12153"/>
                    </a:cubicBezTo>
                    <a:cubicBezTo>
                      <a:pt x="35256" y="9327"/>
                      <a:pt x="31590" y="7914"/>
                      <a:pt x="26513"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9"/>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grpSp>
        <p:sp>
          <p:nvSpPr>
            <p:cNvPr id="42" name="Freeform 41">
              <a:extLst>
                <a:ext uri="{FF2B5EF4-FFF2-40B4-BE49-F238E27FC236}">
                  <a16:creationId xmlns:a16="http://schemas.microsoft.com/office/drawing/2014/main" id="{EE55384D-3B34-9946-8EF3-4606A317DEE6}"/>
                </a:ext>
              </a:extLst>
            </p:cNvPr>
            <p:cNvSpPr/>
            <p:nvPr/>
          </p:nvSpPr>
          <p:spPr>
            <a:xfrm>
              <a:off x="482137" y="6058612"/>
              <a:ext cx="75307" cy="57374"/>
            </a:xfrm>
            <a:custGeom>
              <a:avLst/>
              <a:gdLst>
                <a:gd name="connsiteX0" fmla="*/ 75308 w 75307"/>
                <a:gd name="connsiteY0" fmla="*/ 0 h 57374"/>
                <a:gd name="connsiteX1" fmla="*/ 75308 w 75307"/>
                <a:gd name="connsiteY1" fmla="*/ 57375 h 57374"/>
                <a:gd name="connsiteX2" fmla="*/ 0 w 75307"/>
                <a:gd name="connsiteY2" fmla="*/ 57375 h 57374"/>
                <a:gd name="connsiteX3" fmla="*/ 0 w 75307"/>
                <a:gd name="connsiteY3" fmla="*/ 0 h 57374"/>
                <a:gd name="connsiteX4" fmla="*/ 9308 w 75307"/>
                <a:gd name="connsiteY4" fmla="*/ 0 h 57374"/>
                <a:gd name="connsiteX5" fmla="*/ 9308 w 75307"/>
                <a:gd name="connsiteY5" fmla="*/ 48613 h 57374"/>
                <a:gd name="connsiteX6" fmla="*/ 32718 w 75307"/>
                <a:gd name="connsiteY6" fmla="*/ 48613 h 57374"/>
                <a:gd name="connsiteX7" fmla="*/ 32718 w 75307"/>
                <a:gd name="connsiteY7" fmla="*/ 0 h 57374"/>
                <a:gd name="connsiteX8" fmla="*/ 42308 w 75307"/>
                <a:gd name="connsiteY8" fmla="*/ 0 h 57374"/>
                <a:gd name="connsiteX9" fmla="*/ 42308 w 75307"/>
                <a:gd name="connsiteY9" fmla="*/ 48613 h 57374"/>
                <a:gd name="connsiteX10" fmla="*/ 65718 w 75307"/>
                <a:gd name="connsiteY10" fmla="*/ 48613 h 57374"/>
                <a:gd name="connsiteX11" fmla="*/ 65718 w 75307"/>
                <a:gd name="connsiteY11" fmla="*/ 0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307" h="57374">
                  <a:moveTo>
                    <a:pt x="75308" y="0"/>
                  </a:moveTo>
                  <a:lnTo>
                    <a:pt x="75308" y="57375"/>
                  </a:lnTo>
                  <a:lnTo>
                    <a:pt x="0" y="57375"/>
                  </a:lnTo>
                  <a:lnTo>
                    <a:pt x="0" y="0"/>
                  </a:lnTo>
                  <a:lnTo>
                    <a:pt x="9308" y="0"/>
                  </a:lnTo>
                  <a:lnTo>
                    <a:pt x="9308" y="48613"/>
                  </a:lnTo>
                  <a:lnTo>
                    <a:pt x="32718" y="48613"/>
                  </a:lnTo>
                  <a:lnTo>
                    <a:pt x="32718" y="0"/>
                  </a:lnTo>
                  <a:lnTo>
                    <a:pt x="42308" y="0"/>
                  </a:lnTo>
                  <a:lnTo>
                    <a:pt x="42308" y="48613"/>
                  </a:lnTo>
                  <a:lnTo>
                    <a:pt x="65718" y="48613"/>
                  </a:lnTo>
                  <a:lnTo>
                    <a:pt x="65718" y="0"/>
                  </a:lnTo>
                  <a:close/>
                </a:path>
              </a:pathLst>
            </a:custGeom>
            <a:solidFill>
              <a:srgbClr val="7F8183"/>
            </a:solidFill>
            <a:ln w="2790" cap="flat">
              <a:noFill/>
              <a:prstDash val="solid"/>
              <a:miter/>
            </a:ln>
          </p:spPr>
          <p:txBody>
            <a:bodyPr rtlCol="0" anchor="ctr"/>
            <a:lstStyle/>
            <a:p>
              <a:endParaRPr lang="x-none" sz="1905"/>
            </a:p>
          </p:txBody>
        </p:sp>
        <p:sp>
          <p:nvSpPr>
            <p:cNvPr id="43" name="Freeform 42">
              <a:extLst>
                <a:ext uri="{FF2B5EF4-FFF2-40B4-BE49-F238E27FC236}">
                  <a16:creationId xmlns:a16="http://schemas.microsoft.com/office/drawing/2014/main" id="{FFB921AC-9713-554E-8CF1-4B3D02CE14F8}"/>
                </a:ext>
              </a:extLst>
            </p:cNvPr>
            <p:cNvSpPr/>
            <p:nvPr/>
          </p:nvSpPr>
          <p:spPr>
            <a:xfrm>
              <a:off x="571547" y="6057764"/>
              <a:ext cx="51333" cy="59635"/>
            </a:xfrm>
            <a:custGeom>
              <a:avLst/>
              <a:gdLst>
                <a:gd name="connsiteX0" fmla="*/ 26513 w 51333"/>
                <a:gd name="connsiteY0" fmla="*/ 7914 h 59635"/>
                <a:gd name="connsiteX1" fmla="*/ 15513 w 51333"/>
                <a:gd name="connsiteY1" fmla="*/ 12153 h 59635"/>
                <a:gd name="connsiteX2" fmla="*/ 9872 w 51333"/>
                <a:gd name="connsiteY2" fmla="*/ 23176 h 59635"/>
                <a:gd name="connsiteX3" fmla="*/ 41744 w 51333"/>
                <a:gd name="connsiteY3" fmla="*/ 23176 h 59635"/>
                <a:gd name="connsiteX4" fmla="*/ 37795 w 51333"/>
                <a:gd name="connsiteY4" fmla="*/ 12153 h 59635"/>
                <a:gd name="connsiteX5" fmla="*/ 26513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9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513" y="7914"/>
                  </a:moveTo>
                  <a:cubicBezTo>
                    <a:pt x="22000" y="7914"/>
                    <a:pt x="18333" y="9327"/>
                    <a:pt x="15513" y="12153"/>
                  </a:cubicBezTo>
                  <a:cubicBezTo>
                    <a:pt x="12410" y="14980"/>
                    <a:pt x="10718" y="18654"/>
                    <a:pt x="9872" y="23176"/>
                  </a:cubicBezTo>
                  <a:lnTo>
                    <a:pt x="41744" y="23176"/>
                  </a:lnTo>
                  <a:cubicBezTo>
                    <a:pt x="41462" y="18654"/>
                    <a:pt x="40051" y="14980"/>
                    <a:pt x="37795" y="12153"/>
                  </a:cubicBezTo>
                  <a:cubicBezTo>
                    <a:pt x="35256" y="9327"/>
                    <a:pt x="31590" y="7914"/>
                    <a:pt x="26513"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9"/>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44" name="Freeform 43">
              <a:extLst>
                <a:ext uri="{FF2B5EF4-FFF2-40B4-BE49-F238E27FC236}">
                  <a16:creationId xmlns:a16="http://schemas.microsoft.com/office/drawing/2014/main" id="{6EE2926A-3DFB-D54D-AD92-032FA5608BFB}"/>
                </a:ext>
              </a:extLst>
            </p:cNvPr>
            <p:cNvSpPr/>
            <p:nvPr/>
          </p:nvSpPr>
          <p:spPr>
            <a:xfrm>
              <a:off x="636983" y="6058612"/>
              <a:ext cx="49076" cy="57374"/>
            </a:xfrm>
            <a:custGeom>
              <a:avLst/>
              <a:gdLst>
                <a:gd name="connsiteX0" fmla="*/ 0 w 49076"/>
                <a:gd name="connsiteY0" fmla="*/ 57375 h 57374"/>
                <a:gd name="connsiteX1" fmla="*/ 0 w 49076"/>
                <a:gd name="connsiteY1" fmla="*/ 0 h 57374"/>
                <a:gd name="connsiteX2" fmla="*/ 9308 w 49076"/>
                <a:gd name="connsiteY2" fmla="*/ 0 h 57374"/>
                <a:gd name="connsiteX3" fmla="*/ 9308 w 49076"/>
                <a:gd name="connsiteY3" fmla="*/ 23459 h 57374"/>
                <a:gd name="connsiteX4" fmla="*/ 39769 w 49076"/>
                <a:gd name="connsiteY4" fmla="*/ 23459 h 57374"/>
                <a:gd name="connsiteX5" fmla="*/ 39769 w 49076"/>
                <a:gd name="connsiteY5" fmla="*/ 0 h 57374"/>
                <a:gd name="connsiteX6" fmla="*/ 49077 w 49076"/>
                <a:gd name="connsiteY6" fmla="*/ 0 h 57374"/>
                <a:gd name="connsiteX7" fmla="*/ 49077 w 49076"/>
                <a:gd name="connsiteY7" fmla="*/ 57375 h 57374"/>
                <a:gd name="connsiteX8" fmla="*/ 39769 w 49076"/>
                <a:gd name="connsiteY8" fmla="*/ 57375 h 57374"/>
                <a:gd name="connsiteX9" fmla="*/ 39769 w 49076"/>
                <a:gd name="connsiteY9" fmla="*/ 32503 h 57374"/>
                <a:gd name="connsiteX10" fmla="*/ 9308 w 49076"/>
                <a:gd name="connsiteY10" fmla="*/ 32503 h 57374"/>
                <a:gd name="connsiteX11" fmla="*/ 9308 w 49076"/>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076" h="57374">
                  <a:moveTo>
                    <a:pt x="0" y="57375"/>
                  </a:moveTo>
                  <a:lnTo>
                    <a:pt x="0" y="0"/>
                  </a:lnTo>
                  <a:lnTo>
                    <a:pt x="9308" y="0"/>
                  </a:lnTo>
                  <a:lnTo>
                    <a:pt x="9308" y="23459"/>
                  </a:lnTo>
                  <a:lnTo>
                    <a:pt x="39769" y="23459"/>
                  </a:lnTo>
                  <a:lnTo>
                    <a:pt x="39769" y="0"/>
                  </a:lnTo>
                  <a:lnTo>
                    <a:pt x="49077" y="0"/>
                  </a:lnTo>
                  <a:lnTo>
                    <a:pt x="49077" y="57375"/>
                  </a:lnTo>
                  <a:lnTo>
                    <a:pt x="39769" y="57375"/>
                  </a:lnTo>
                  <a:lnTo>
                    <a:pt x="39769" y="32503"/>
                  </a:lnTo>
                  <a:lnTo>
                    <a:pt x="9308" y="32503"/>
                  </a:lnTo>
                  <a:lnTo>
                    <a:pt x="9308" y="57375"/>
                  </a:lnTo>
                  <a:close/>
                </a:path>
              </a:pathLst>
            </a:custGeom>
            <a:solidFill>
              <a:srgbClr val="7F8183"/>
            </a:solidFill>
            <a:ln w="2790" cap="flat">
              <a:noFill/>
              <a:prstDash val="solid"/>
              <a:miter/>
            </a:ln>
          </p:spPr>
          <p:txBody>
            <a:bodyPr rtlCol="0" anchor="ctr"/>
            <a:lstStyle/>
            <a:p>
              <a:endParaRPr lang="x-none" sz="1905"/>
            </a:p>
          </p:txBody>
        </p:sp>
        <p:sp>
          <p:nvSpPr>
            <p:cNvPr id="45" name="Freeform 44">
              <a:extLst>
                <a:ext uri="{FF2B5EF4-FFF2-40B4-BE49-F238E27FC236}">
                  <a16:creationId xmlns:a16="http://schemas.microsoft.com/office/drawing/2014/main" id="{D4A249C8-809F-A44B-A673-3F0FCD684A54}"/>
                </a:ext>
              </a:extLst>
            </p:cNvPr>
            <p:cNvSpPr/>
            <p:nvPr/>
          </p:nvSpPr>
          <p:spPr>
            <a:xfrm>
              <a:off x="704111" y="6058612"/>
              <a:ext cx="47948" cy="57374"/>
            </a:xfrm>
            <a:custGeom>
              <a:avLst/>
              <a:gdLst>
                <a:gd name="connsiteX0" fmla="*/ 10154 w 47948"/>
                <a:gd name="connsiteY0" fmla="*/ 57375 h 57374"/>
                <a:gd name="connsiteX1" fmla="*/ 0 w 47948"/>
                <a:gd name="connsiteY1" fmla="*/ 57375 h 57374"/>
                <a:gd name="connsiteX2" fmla="*/ 0 w 47948"/>
                <a:gd name="connsiteY2" fmla="*/ 0 h 57374"/>
                <a:gd name="connsiteX3" fmla="*/ 9026 w 47948"/>
                <a:gd name="connsiteY3" fmla="*/ 0 h 57374"/>
                <a:gd name="connsiteX4" fmla="*/ 9026 w 47948"/>
                <a:gd name="connsiteY4" fmla="*/ 44939 h 57374"/>
                <a:gd name="connsiteX5" fmla="*/ 37513 w 47948"/>
                <a:gd name="connsiteY5" fmla="*/ 0 h 57374"/>
                <a:gd name="connsiteX6" fmla="*/ 47949 w 47948"/>
                <a:gd name="connsiteY6" fmla="*/ 0 h 57374"/>
                <a:gd name="connsiteX7" fmla="*/ 47949 w 47948"/>
                <a:gd name="connsiteY7" fmla="*/ 57375 h 57374"/>
                <a:gd name="connsiteX8" fmla="*/ 38923 w 47948"/>
                <a:gd name="connsiteY8" fmla="*/ 57375 h 57374"/>
                <a:gd name="connsiteX9" fmla="*/ 38923 w 47948"/>
                <a:gd name="connsiteY9" fmla="*/ 12153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48" h="57374">
                  <a:moveTo>
                    <a:pt x="10154" y="57375"/>
                  </a:moveTo>
                  <a:lnTo>
                    <a:pt x="0" y="57375"/>
                  </a:lnTo>
                  <a:lnTo>
                    <a:pt x="0" y="0"/>
                  </a:lnTo>
                  <a:lnTo>
                    <a:pt x="9026" y="0"/>
                  </a:lnTo>
                  <a:lnTo>
                    <a:pt x="9026" y="44939"/>
                  </a:lnTo>
                  <a:lnTo>
                    <a:pt x="37513" y="0"/>
                  </a:lnTo>
                  <a:lnTo>
                    <a:pt x="47949" y="0"/>
                  </a:lnTo>
                  <a:lnTo>
                    <a:pt x="47949" y="57375"/>
                  </a:lnTo>
                  <a:lnTo>
                    <a:pt x="38923" y="57375"/>
                  </a:lnTo>
                  <a:lnTo>
                    <a:pt x="38923" y="12153"/>
                  </a:lnTo>
                  <a:close/>
                </a:path>
              </a:pathLst>
            </a:custGeom>
            <a:solidFill>
              <a:srgbClr val="7F8183"/>
            </a:solidFill>
            <a:ln w="2790" cap="flat">
              <a:noFill/>
              <a:prstDash val="solid"/>
              <a:miter/>
            </a:ln>
          </p:spPr>
          <p:txBody>
            <a:bodyPr rtlCol="0" anchor="ctr"/>
            <a:lstStyle/>
            <a:p>
              <a:endParaRPr lang="x-none" sz="1905"/>
            </a:p>
          </p:txBody>
        </p:sp>
        <p:sp>
          <p:nvSpPr>
            <p:cNvPr id="46" name="Freeform 45">
              <a:extLst>
                <a:ext uri="{FF2B5EF4-FFF2-40B4-BE49-F238E27FC236}">
                  <a16:creationId xmlns:a16="http://schemas.microsoft.com/office/drawing/2014/main" id="{D745E468-FFD0-CF42-B9A0-224DF613E7E0}"/>
                </a:ext>
              </a:extLst>
            </p:cNvPr>
            <p:cNvSpPr/>
            <p:nvPr/>
          </p:nvSpPr>
          <p:spPr>
            <a:xfrm>
              <a:off x="770111" y="6036849"/>
              <a:ext cx="48230" cy="79137"/>
            </a:xfrm>
            <a:custGeom>
              <a:avLst/>
              <a:gdLst>
                <a:gd name="connsiteX0" fmla="*/ 24256 w 48230"/>
                <a:gd name="connsiteY0" fmla="*/ 15545 h 79137"/>
                <a:gd name="connsiteX1" fmla="*/ 11282 w 48230"/>
                <a:gd name="connsiteY1" fmla="*/ 11305 h 79137"/>
                <a:gd name="connsiteX2" fmla="*/ 7051 w 48230"/>
                <a:gd name="connsiteY2" fmla="*/ 0 h 79137"/>
                <a:gd name="connsiteX3" fmla="*/ 14949 w 48230"/>
                <a:gd name="connsiteY3" fmla="*/ 0 h 79137"/>
                <a:gd name="connsiteX4" fmla="*/ 17487 w 48230"/>
                <a:gd name="connsiteY4" fmla="*/ 6218 h 79137"/>
                <a:gd name="connsiteX5" fmla="*/ 23974 w 48230"/>
                <a:gd name="connsiteY5" fmla="*/ 8479 h 79137"/>
                <a:gd name="connsiteX6" fmla="*/ 30462 w 48230"/>
                <a:gd name="connsiteY6" fmla="*/ 6218 h 79137"/>
                <a:gd name="connsiteX7" fmla="*/ 33000 w 48230"/>
                <a:gd name="connsiteY7" fmla="*/ 0 h 79137"/>
                <a:gd name="connsiteX8" fmla="*/ 40897 w 48230"/>
                <a:gd name="connsiteY8" fmla="*/ 0 h 79137"/>
                <a:gd name="connsiteX9" fmla="*/ 36667 w 48230"/>
                <a:gd name="connsiteY9" fmla="*/ 11305 h 79137"/>
                <a:gd name="connsiteX10" fmla="*/ 24256 w 48230"/>
                <a:gd name="connsiteY10" fmla="*/ 15545 h 79137"/>
                <a:gd name="connsiteX11" fmla="*/ 10154 w 48230"/>
                <a:gd name="connsiteY11" fmla="*/ 79138 h 79137"/>
                <a:gd name="connsiteX12" fmla="*/ 0 w 48230"/>
                <a:gd name="connsiteY12" fmla="*/ 79138 h 79137"/>
                <a:gd name="connsiteX13" fmla="*/ 0 w 48230"/>
                <a:gd name="connsiteY13" fmla="*/ 21763 h 79137"/>
                <a:gd name="connsiteX14" fmla="*/ 9308 w 48230"/>
                <a:gd name="connsiteY14" fmla="*/ 21763 h 79137"/>
                <a:gd name="connsiteX15" fmla="*/ 9308 w 48230"/>
                <a:gd name="connsiteY15" fmla="*/ 66702 h 79137"/>
                <a:gd name="connsiteX16" fmla="*/ 37795 w 48230"/>
                <a:gd name="connsiteY16" fmla="*/ 21763 h 79137"/>
                <a:gd name="connsiteX17" fmla="*/ 48231 w 48230"/>
                <a:gd name="connsiteY17" fmla="*/ 21763 h 79137"/>
                <a:gd name="connsiteX18" fmla="*/ 48231 w 48230"/>
                <a:gd name="connsiteY18" fmla="*/ 79138 h 79137"/>
                <a:gd name="connsiteX19" fmla="*/ 38923 w 48230"/>
                <a:gd name="connsiteY19" fmla="*/ 79138 h 79137"/>
                <a:gd name="connsiteX20" fmla="*/ 38923 w 48230"/>
                <a:gd name="connsiteY20" fmla="*/ 33916 h 79137"/>
                <a:gd name="connsiteX21" fmla="*/ 10154 w 48230"/>
                <a:gd name="connsiteY21" fmla="*/ 79138 h 7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230" h="79137">
                  <a:moveTo>
                    <a:pt x="24256" y="15545"/>
                  </a:moveTo>
                  <a:cubicBezTo>
                    <a:pt x="18333" y="15545"/>
                    <a:pt x="14103" y="14132"/>
                    <a:pt x="11282" y="11305"/>
                  </a:cubicBezTo>
                  <a:cubicBezTo>
                    <a:pt x="8462" y="8479"/>
                    <a:pt x="7051" y="4805"/>
                    <a:pt x="7051" y="0"/>
                  </a:cubicBezTo>
                  <a:lnTo>
                    <a:pt x="14949" y="0"/>
                  </a:lnTo>
                  <a:cubicBezTo>
                    <a:pt x="15231" y="2544"/>
                    <a:pt x="16077" y="4805"/>
                    <a:pt x="17487" y="6218"/>
                  </a:cubicBezTo>
                  <a:cubicBezTo>
                    <a:pt x="18897" y="7631"/>
                    <a:pt x="21154" y="8479"/>
                    <a:pt x="23974" y="8479"/>
                  </a:cubicBezTo>
                  <a:cubicBezTo>
                    <a:pt x="26795" y="8479"/>
                    <a:pt x="29051" y="7631"/>
                    <a:pt x="30462" y="6218"/>
                  </a:cubicBezTo>
                  <a:cubicBezTo>
                    <a:pt x="31872" y="4805"/>
                    <a:pt x="32718" y="2544"/>
                    <a:pt x="33000" y="0"/>
                  </a:cubicBezTo>
                  <a:lnTo>
                    <a:pt x="40897" y="0"/>
                  </a:lnTo>
                  <a:cubicBezTo>
                    <a:pt x="40615" y="4522"/>
                    <a:pt x="39205" y="8196"/>
                    <a:pt x="36667" y="11305"/>
                  </a:cubicBezTo>
                  <a:cubicBezTo>
                    <a:pt x="34128" y="14132"/>
                    <a:pt x="29897" y="15545"/>
                    <a:pt x="24256" y="15545"/>
                  </a:cubicBezTo>
                  <a:moveTo>
                    <a:pt x="10154" y="79138"/>
                  </a:moveTo>
                  <a:lnTo>
                    <a:pt x="0" y="79138"/>
                  </a:lnTo>
                  <a:lnTo>
                    <a:pt x="0" y="21763"/>
                  </a:lnTo>
                  <a:lnTo>
                    <a:pt x="9308" y="21763"/>
                  </a:lnTo>
                  <a:lnTo>
                    <a:pt x="9308" y="66702"/>
                  </a:lnTo>
                  <a:lnTo>
                    <a:pt x="37795" y="21763"/>
                  </a:lnTo>
                  <a:lnTo>
                    <a:pt x="48231" y="21763"/>
                  </a:lnTo>
                  <a:lnTo>
                    <a:pt x="48231" y="79138"/>
                  </a:lnTo>
                  <a:lnTo>
                    <a:pt x="38923" y="79138"/>
                  </a:lnTo>
                  <a:lnTo>
                    <a:pt x="38923" y="33916"/>
                  </a:lnTo>
                  <a:lnTo>
                    <a:pt x="10154" y="79138"/>
                  </a:lnTo>
                  <a:close/>
                </a:path>
              </a:pathLst>
            </a:custGeom>
            <a:solidFill>
              <a:srgbClr val="7F8183"/>
            </a:solidFill>
            <a:ln w="2790" cap="flat">
              <a:noFill/>
              <a:prstDash val="solid"/>
              <a:miter/>
            </a:ln>
          </p:spPr>
          <p:txBody>
            <a:bodyPr rtlCol="0" anchor="ctr"/>
            <a:lstStyle/>
            <a:p>
              <a:endParaRPr lang="x-none" sz="1905"/>
            </a:p>
          </p:txBody>
        </p:sp>
        <p:sp>
          <p:nvSpPr>
            <p:cNvPr id="47" name="Freeform 46">
              <a:extLst>
                <a:ext uri="{FF2B5EF4-FFF2-40B4-BE49-F238E27FC236}">
                  <a16:creationId xmlns:a16="http://schemas.microsoft.com/office/drawing/2014/main" id="{1FC246AC-160C-4340-9035-2C36C4A6F42B}"/>
                </a:ext>
              </a:extLst>
            </p:cNvPr>
            <p:cNvSpPr/>
            <p:nvPr/>
          </p:nvSpPr>
          <p:spPr>
            <a:xfrm>
              <a:off x="346188" y="5466493"/>
              <a:ext cx="483718" cy="255784"/>
            </a:xfrm>
            <a:custGeom>
              <a:avLst/>
              <a:gdLst>
                <a:gd name="connsiteX0" fmla="*/ 483718 w 483718"/>
                <a:gd name="connsiteY0" fmla="*/ 0 h 255784"/>
                <a:gd name="connsiteX1" fmla="*/ 0 w 483718"/>
                <a:gd name="connsiteY1" fmla="*/ 212541 h 255784"/>
                <a:gd name="connsiteX2" fmla="*/ 0 w 483718"/>
                <a:gd name="connsiteY2" fmla="*/ 255784 h 255784"/>
                <a:gd name="connsiteX3" fmla="*/ 483718 w 483718"/>
                <a:gd name="connsiteY3" fmla="*/ 43243 h 255784"/>
              </a:gdLst>
              <a:ahLst/>
              <a:cxnLst>
                <a:cxn ang="0">
                  <a:pos x="connsiteX0" y="connsiteY0"/>
                </a:cxn>
                <a:cxn ang="0">
                  <a:pos x="connsiteX1" y="connsiteY1"/>
                </a:cxn>
                <a:cxn ang="0">
                  <a:pos x="connsiteX2" y="connsiteY2"/>
                </a:cxn>
                <a:cxn ang="0">
                  <a:pos x="connsiteX3" y="connsiteY3"/>
                </a:cxn>
              </a:cxnLst>
              <a:rect l="l" t="t" r="r" b="b"/>
              <a:pathLst>
                <a:path w="483718" h="255784">
                  <a:moveTo>
                    <a:pt x="483718" y="0"/>
                  </a:moveTo>
                  <a:lnTo>
                    <a:pt x="0" y="212541"/>
                  </a:lnTo>
                  <a:lnTo>
                    <a:pt x="0" y="255784"/>
                  </a:lnTo>
                  <a:lnTo>
                    <a:pt x="483718" y="43243"/>
                  </a:lnTo>
                  <a:close/>
                </a:path>
              </a:pathLst>
            </a:custGeom>
            <a:solidFill>
              <a:srgbClr val="E22B26"/>
            </a:solidFill>
            <a:ln w="2790" cap="flat">
              <a:noFill/>
              <a:prstDash val="solid"/>
              <a:miter/>
            </a:ln>
          </p:spPr>
          <p:txBody>
            <a:bodyPr rtlCol="0" anchor="ctr"/>
            <a:lstStyle/>
            <a:p>
              <a:endParaRPr lang="x-none" sz="1905"/>
            </a:p>
          </p:txBody>
        </p:sp>
      </p:grpSp>
    </p:spTree>
    <p:extLst>
      <p:ext uri="{BB962C8B-B14F-4D97-AF65-F5344CB8AC3E}">
        <p14:creationId xmlns:p14="http://schemas.microsoft.com/office/powerpoint/2010/main" val="1245368960"/>
      </p:ext>
    </p:extLst>
  </p:cSld>
  <p:clrMapOvr>
    <a:masterClrMapping/>
  </p:clrMapOvr>
  <p:transition>
    <p:fade/>
  </p:transition>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p:bg>
      <p:bgPr>
        <a:solidFill>
          <a:srgbClr val="FFFFFF"/>
        </a:solidFill>
        <a:effectLst/>
      </p:bgPr>
    </p:bg>
    <p:spTree>
      <p:nvGrpSpPr>
        <p:cNvPr id="1" name=""/>
        <p:cNvGrpSpPr/>
        <p:nvPr/>
      </p:nvGrpSpPr>
      <p:grpSpPr>
        <a:xfrm>
          <a:off x="0" y="0"/>
          <a:ext cx="0" cy="0"/>
          <a:chOff x="0" y="0"/>
          <a:chExt cx="0" cy="0"/>
        </a:xfrm>
      </p:grpSpPr>
      <p:sp>
        <p:nvSpPr>
          <p:cNvPr id="13" name="Slide Number Placeholder 1"/>
          <p:cNvSpPr txBox="1">
            <a:spLocks/>
          </p:cNvSpPr>
          <p:nvPr userDrawn="1"/>
        </p:nvSpPr>
        <p:spPr>
          <a:xfrm>
            <a:off x="11108818" y="395812"/>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cxnSp>
        <p:nvCxnSpPr>
          <p:cNvPr id="5" name="Straight Connector 4">
            <a:extLst>
              <a:ext uri="{FF2B5EF4-FFF2-40B4-BE49-F238E27FC236}">
                <a16:creationId xmlns:a16="http://schemas.microsoft.com/office/drawing/2014/main" id="{0CF2470D-FE3A-D142-BD29-D6DCE3FC6B06}"/>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9B9D7150-06E9-6947-AA7E-D44BB26EF6FE}"/>
              </a:ext>
            </a:extLst>
          </p:cNvPr>
          <p:cNvSpPr>
            <a:spLocks noGrp="1"/>
          </p:cNvSpPr>
          <p:nvPr>
            <p:ph type="body" sz="quarter" idx="10" hasCustomPrompt="1"/>
          </p:nvPr>
        </p:nvSpPr>
        <p:spPr>
          <a:xfrm>
            <a:off x="302759" y="2071523"/>
            <a:ext cx="1869227" cy="1588328"/>
          </a:xfrm>
          <a:prstGeom prst="rect">
            <a:avLst/>
          </a:prstGeom>
        </p:spPr>
        <p:txBody>
          <a:bodyPr lIns="36000" rIns="36000" anchor="b"/>
          <a:lstStyle>
            <a:lvl1pPr marL="0" indent="0">
              <a:buFontTx/>
              <a:buNone/>
              <a:defRPr sz="9415" b="0" i="0">
                <a:solidFill>
                  <a:srgbClr val="E41910"/>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1.</a:t>
            </a:r>
            <a:endParaRPr lang="x-none" dirty="0"/>
          </a:p>
        </p:txBody>
      </p:sp>
      <p:sp>
        <p:nvSpPr>
          <p:cNvPr id="9" name="Text Placeholder 8">
            <a:extLst>
              <a:ext uri="{FF2B5EF4-FFF2-40B4-BE49-F238E27FC236}">
                <a16:creationId xmlns:a16="http://schemas.microsoft.com/office/drawing/2014/main" id="{AB144694-7FC2-824B-ACAA-93D4B0E2FE77}"/>
              </a:ext>
            </a:extLst>
          </p:cNvPr>
          <p:cNvSpPr>
            <a:spLocks noGrp="1"/>
          </p:cNvSpPr>
          <p:nvPr>
            <p:ph type="body" sz="quarter" idx="11" hasCustomPrompt="1"/>
          </p:nvPr>
        </p:nvSpPr>
        <p:spPr>
          <a:xfrm>
            <a:off x="2193808" y="2569379"/>
            <a:ext cx="8692399" cy="2765376"/>
          </a:xfrm>
          <a:prstGeom prst="rect">
            <a:avLst/>
          </a:prstGeom>
        </p:spPr>
        <p:txBody>
          <a:bodyPr anchor="t"/>
          <a:lstStyle>
            <a:lvl1pPr marL="0" indent="0">
              <a:buFontTx/>
              <a:buNone/>
              <a:defRPr sz="581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orem ipsum dolor sit </a:t>
            </a:r>
            <a:r>
              <a:rPr lang="en-US" dirty="0" err="1"/>
              <a:t>amet</a:t>
            </a:r>
            <a:r>
              <a:rPr lang="en-US" dirty="0"/>
              <a:t>, </a:t>
            </a:r>
            <a:r>
              <a:rPr lang="en-US" dirty="0" err="1"/>
              <a:t>consectetuer</a:t>
            </a:r>
            <a:endParaRPr lang="x-none" dirty="0"/>
          </a:p>
        </p:txBody>
      </p:sp>
      <p:sp>
        <p:nvSpPr>
          <p:cNvPr id="8" name="Text Placeholder 13">
            <a:extLst>
              <a:ext uri="{FF2B5EF4-FFF2-40B4-BE49-F238E27FC236}">
                <a16:creationId xmlns:a16="http://schemas.microsoft.com/office/drawing/2014/main" id="{D354AB68-1687-054E-852E-E8222B1E3C60}"/>
              </a:ext>
            </a:extLst>
          </p:cNvPr>
          <p:cNvSpPr>
            <a:spLocks noGrp="1"/>
          </p:cNvSpPr>
          <p:nvPr>
            <p:ph type="body" sz="quarter" idx="14" hasCustomPrompt="1"/>
          </p:nvPr>
        </p:nvSpPr>
        <p:spPr>
          <a:xfrm>
            <a:off x="295484"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10" name="Text Placeholder 13">
            <a:extLst>
              <a:ext uri="{FF2B5EF4-FFF2-40B4-BE49-F238E27FC236}">
                <a16:creationId xmlns:a16="http://schemas.microsoft.com/office/drawing/2014/main" id="{121886E4-4545-DE4F-B871-DC9883391B7A}"/>
              </a:ext>
            </a:extLst>
          </p:cNvPr>
          <p:cNvSpPr>
            <a:spLocks noGrp="1"/>
          </p:cNvSpPr>
          <p:nvPr>
            <p:ph type="body" sz="quarter" idx="25" hasCustomPrompt="1"/>
          </p:nvPr>
        </p:nvSpPr>
        <p:spPr>
          <a:xfrm>
            <a:off x="10020017" y="6319801"/>
            <a:ext cx="1790667" cy="374160"/>
          </a:xfrm>
          <a:prstGeom prst="rect">
            <a:avLst/>
          </a:prstGeom>
        </p:spPr>
        <p:txBody>
          <a:bodyPr/>
          <a:lstStyle>
            <a:lvl1pPr marL="0" indent="0" algn="r">
              <a:buFontTx/>
              <a:buNone/>
              <a:defRPr sz="845"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spTree>
    <p:extLst>
      <p:ext uri="{BB962C8B-B14F-4D97-AF65-F5344CB8AC3E}">
        <p14:creationId xmlns:p14="http://schemas.microsoft.com/office/powerpoint/2010/main" val="2605010630"/>
      </p:ext>
    </p:extLst>
  </p:cSld>
  <p:clrMapOvr>
    <a:masterClrMapping/>
  </p:clrMapOvr>
  <p:transition>
    <p:fade/>
  </p:transition>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4_Content">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B144694-7FC2-824B-ACAA-93D4B0E2FE77}"/>
              </a:ext>
            </a:extLst>
          </p:cNvPr>
          <p:cNvSpPr>
            <a:spLocks noGrp="1"/>
          </p:cNvSpPr>
          <p:nvPr>
            <p:ph type="body" sz="quarter" idx="11" hasCustomPrompt="1"/>
          </p:nvPr>
        </p:nvSpPr>
        <p:spPr>
          <a:xfrm>
            <a:off x="228455" y="1409574"/>
            <a:ext cx="6744404" cy="4038860"/>
          </a:xfrm>
          <a:prstGeom prst="rect">
            <a:avLst/>
          </a:prstGeom>
        </p:spPr>
        <p:txBody>
          <a:bodyPr anchor="ctr"/>
          <a:lstStyle>
            <a:lvl1pPr marL="0" indent="0">
              <a:buFontTx/>
              <a:buNone/>
              <a:defRPr sz="581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orem ipsum dolor sit </a:t>
            </a:r>
            <a:r>
              <a:rPr lang="en-US" dirty="0" err="1"/>
              <a:t>amet</a:t>
            </a:r>
            <a:r>
              <a:rPr lang="en-US" dirty="0"/>
              <a:t>, </a:t>
            </a:r>
            <a:r>
              <a:rPr lang="en-US" dirty="0" err="1"/>
              <a:t>consectetuer</a:t>
            </a:r>
            <a:endParaRPr lang="x-none" dirty="0"/>
          </a:p>
        </p:txBody>
      </p:sp>
      <p:sp>
        <p:nvSpPr>
          <p:cNvPr id="6" name="Picture Placeholder 5">
            <a:extLst>
              <a:ext uri="{FF2B5EF4-FFF2-40B4-BE49-F238E27FC236}">
                <a16:creationId xmlns:a16="http://schemas.microsoft.com/office/drawing/2014/main" id="{888A7F86-BC36-3241-91E5-D03882836D21}"/>
              </a:ext>
            </a:extLst>
          </p:cNvPr>
          <p:cNvSpPr>
            <a:spLocks noGrp="1"/>
          </p:cNvSpPr>
          <p:nvPr>
            <p:ph type="pic" sz="quarter" idx="16"/>
          </p:nvPr>
        </p:nvSpPr>
        <p:spPr>
          <a:xfrm>
            <a:off x="7124039" y="1409572"/>
            <a:ext cx="4686645" cy="4038859"/>
          </a:xfrm>
          <a:prstGeom prst="rect">
            <a:avLst/>
          </a:prstGeom>
        </p:spPr>
        <p:txBody>
          <a:bodyPr anchor="ctr"/>
          <a:lstStyle>
            <a:lvl1pPr algn="ctr">
              <a:buFontTx/>
              <a:buNone/>
              <a:defRPr sz="2963"/>
            </a:lvl1pPr>
          </a:lstStyle>
          <a:p>
            <a:endParaRPr lang="x-none"/>
          </a:p>
        </p:txBody>
      </p:sp>
      <p:cxnSp>
        <p:nvCxnSpPr>
          <p:cNvPr id="11" name="Straight Connector 10">
            <a:extLst>
              <a:ext uri="{FF2B5EF4-FFF2-40B4-BE49-F238E27FC236}">
                <a16:creationId xmlns:a16="http://schemas.microsoft.com/office/drawing/2014/main" id="{69D176CE-8965-5349-9FBA-5A96377315FB}"/>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12" name="Text Placeholder 13">
            <a:extLst>
              <a:ext uri="{FF2B5EF4-FFF2-40B4-BE49-F238E27FC236}">
                <a16:creationId xmlns:a16="http://schemas.microsoft.com/office/drawing/2014/main" id="{301B00CD-A1FA-E242-8C42-584DF7EACB1C}"/>
              </a:ext>
            </a:extLst>
          </p:cNvPr>
          <p:cNvSpPr>
            <a:spLocks noGrp="1"/>
          </p:cNvSpPr>
          <p:nvPr>
            <p:ph type="body" sz="quarter" idx="14" hasCustomPrompt="1"/>
          </p:nvPr>
        </p:nvSpPr>
        <p:spPr>
          <a:xfrm>
            <a:off x="295484"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14" name="Slide Number Placeholder 1">
            <a:extLst>
              <a:ext uri="{FF2B5EF4-FFF2-40B4-BE49-F238E27FC236}">
                <a16:creationId xmlns:a16="http://schemas.microsoft.com/office/drawing/2014/main" id="{45546C9A-5E11-424E-858D-8C2913D9A7B7}"/>
              </a:ext>
            </a:extLst>
          </p:cNvPr>
          <p:cNvSpPr txBox="1">
            <a:spLocks/>
          </p:cNvSpPr>
          <p:nvPr userDrawn="1"/>
        </p:nvSpPr>
        <p:spPr>
          <a:xfrm>
            <a:off x="11108818" y="395812"/>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Text Placeholder 13">
            <a:extLst>
              <a:ext uri="{FF2B5EF4-FFF2-40B4-BE49-F238E27FC236}">
                <a16:creationId xmlns:a16="http://schemas.microsoft.com/office/drawing/2014/main" id="{24CD8EB8-EB60-2F4E-88CC-EAA88C251C92}"/>
              </a:ext>
            </a:extLst>
          </p:cNvPr>
          <p:cNvSpPr>
            <a:spLocks noGrp="1"/>
          </p:cNvSpPr>
          <p:nvPr>
            <p:ph type="body" sz="quarter" idx="25" hasCustomPrompt="1"/>
          </p:nvPr>
        </p:nvSpPr>
        <p:spPr>
          <a:xfrm>
            <a:off x="10020017" y="6319801"/>
            <a:ext cx="1790667" cy="374160"/>
          </a:xfrm>
          <a:prstGeom prst="rect">
            <a:avLst/>
          </a:prstGeom>
        </p:spPr>
        <p:txBody>
          <a:bodyPr/>
          <a:lstStyle>
            <a:lvl1pPr marL="0" indent="0" algn="r">
              <a:buFontTx/>
              <a:buNone/>
              <a:defRPr sz="845"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spTree>
    <p:extLst>
      <p:ext uri="{BB962C8B-B14F-4D97-AF65-F5344CB8AC3E}">
        <p14:creationId xmlns:p14="http://schemas.microsoft.com/office/powerpoint/2010/main" val="1373921444"/>
      </p:ext>
    </p:extLst>
  </p:cSld>
  <p:clrMapOvr>
    <a:masterClrMapping/>
  </p:clrMapOvr>
  <p:transition>
    <p:fade/>
  </p:transition>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Content">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B144694-7FC2-824B-ACAA-93D4B0E2FE77}"/>
              </a:ext>
            </a:extLst>
          </p:cNvPr>
          <p:cNvSpPr>
            <a:spLocks noGrp="1"/>
          </p:cNvSpPr>
          <p:nvPr>
            <p:ph type="body" sz="quarter" idx="11" hasCustomPrompt="1"/>
          </p:nvPr>
        </p:nvSpPr>
        <p:spPr>
          <a:xfrm>
            <a:off x="1356474" y="2483682"/>
            <a:ext cx="2720406" cy="1897892"/>
          </a:xfrm>
          <a:prstGeom prst="rect">
            <a:avLst/>
          </a:prstGeom>
        </p:spPr>
        <p:txBody>
          <a:bodyPr/>
          <a:lstStyle>
            <a:lvl1pPr marL="0" indent="0">
              <a:buFontTx/>
              <a:buNone/>
              <a:defRPr sz="359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ist text slide</a:t>
            </a:r>
            <a:endParaRPr lang="x-none" dirty="0"/>
          </a:p>
        </p:txBody>
      </p:sp>
      <p:sp>
        <p:nvSpPr>
          <p:cNvPr id="12" name="Text Placeholder 6">
            <a:extLst>
              <a:ext uri="{FF2B5EF4-FFF2-40B4-BE49-F238E27FC236}">
                <a16:creationId xmlns:a16="http://schemas.microsoft.com/office/drawing/2014/main" id="{9E234472-3A79-734B-9127-2E39BF170448}"/>
              </a:ext>
            </a:extLst>
          </p:cNvPr>
          <p:cNvSpPr>
            <a:spLocks noGrp="1"/>
          </p:cNvSpPr>
          <p:nvPr>
            <p:ph type="body" sz="quarter" idx="10" hasCustomPrompt="1"/>
          </p:nvPr>
        </p:nvSpPr>
        <p:spPr>
          <a:xfrm>
            <a:off x="1333762" y="1416846"/>
            <a:ext cx="1180572" cy="906676"/>
          </a:xfrm>
          <a:prstGeom prst="rect">
            <a:avLst/>
          </a:prstGeom>
        </p:spPr>
        <p:txBody>
          <a:bodyPr lIns="36000" rIns="36000"/>
          <a:lstStyle>
            <a:lvl1pPr marL="0" indent="0">
              <a:buFontTx/>
              <a:buNone/>
              <a:defRPr sz="5820" b="0" i="0">
                <a:solidFill>
                  <a:srgbClr val="E41910"/>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01</a:t>
            </a:r>
            <a:endParaRPr lang="x-none" dirty="0"/>
          </a:p>
        </p:txBody>
      </p:sp>
      <p:sp>
        <p:nvSpPr>
          <p:cNvPr id="19" name="Text Placeholder 6">
            <a:extLst>
              <a:ext uri="{FF2B5EF4-FFF2-40B4-BE49-F238E27FC236}">
                <a16:creationId xmlns:a16="http://schemas.microsoft.com/office/drawing/2014/main" id="{9E84E3E2-55B9-A64C-9522-E34E7A416878}"/>
              </a:ext>
            </a:extLst>
          </p:cNvPr>
          <p:cNvSpPr>
            <a:spLocks noGrp="1"/>
          </p:cNvSpPr>
          <p:nvPr>
            <p:ph type="body" sz="quarter" idx="18" hasCustomPrompt="1"/>
          </p:nvPr>
        </p:nvSpPr>
        <p:spPr>
          <a:xfrm>
            <a:off x="9067569" y="1400311"/>
            <a:ext cx="1180572" cy="923211"/>
          </a:xfrm>
          <a:prstGeom prst="rect">
            <a:avLst/>
          </a:prstGeom>
        </p:spPr>
        <p:txBody>
          <a:bodyPr lIns="36000" rIns="36000"/>
          <a:lstStyle>
            <a:lvl1pPr marL="0" indent="0">
              <a:buFontTx/>
              <a:buNone/>
              <a:defRPr sz="5820" b="0" i="0">
                <a:solidFill>
                  <a:srgbClr val="E41910"/>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03</a:t>
            </a:r>
            <a:endParaRPr lang="x-none" dirty="0"/>
          </a:p>
        </p:txBody>
      </p:sp>
      <p:sp>
        <p:nvSpPr>
          <p:cNvPr id="15" name="Text Placeholder 8">
            <a:extLst>
              <a:ext uri="{FF2B5EF4-FFF2-40B4-BE49-F238E27FC236}">
                <a16:creationId xmlns:a16="http://schemas.microsoft.com/office/drawing/2014/main" id="{D22A95B7-1960-3C46-A3E2-A69CF73DA5FA}"/>
              </a:ext>
            </a:extLst>
          </p:cNvPr>
          <p:cNvSpPr>
            <a:spLocks noGrp="1"/>
          </p:cNvSpPr>
          <p:nvPr>
            <p:ph type="body" sz="quarter" idx="19" hasCustomPrompt="1"/>
          </p:nvPr>
        </p:nvSpPr>
        <p:spPr>
          <a:xfrm>
            <a:off x="5226419" y="2483682"/>
            <a:ext cx="2735841" cy="1897908"/>
          </a:xfrm>
          <a:prstGeom prst="rect">
            <a:avLst/>
          </a:prstGeom>
        </p:spPr>
        <p:txBody>
          <a:bodyPr/>
          <a:lstStyle>
            <a:lvl1pPr marL="0" indent="0">
              <a:buFontTx/>
              <a:buNone/>
              <a:defRPr sz="359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ist text slide</a:t>
            </a:r>
            <a:endParaRPr lang="x-none" dirty="0"/>
          </a:p>
        </p:txBody>
      </p:sp>
      <p:sp>
        <p:nvSpPr>
          <p:cNvPr id="20" name="Text Placeholder 8">
            <a:extLst>
              <a:ext uri="{FF2B5EF4-FFF2-40B4-BE49-F238E27FC236}">
                <a16:creationId xmlns:a16="http://schemas.microsoft.com/office/drawing/2014/main" id="{CF245511-1FDC-9D4A-843B-BA998A6CF721}"/>
              </a:ext>
            </a:extLst>
          </p:cNvPr>
          <p:cNvSpPr>
            <a:spLocks noGrp="1"/>
          </p:cNvSpPr>
          <p:nvPr>
            <p:ph type="body" sz="quarter" idx="20" hasCustomPrompt="1"/>
          </p:nvPr>
        </p:nvSpPr>
        <p:spPr>
          <a:xfrm>
            <a:off x="9082119" y="2486666"/>
            <a:ext cx="2728566" cy="1894911"/>
          </a:xfrm>
          <a:prstGeom prst="rect">
            <a:avLst/>
          </a:prstGeom>
        </p:spPr>
        <p:txBody>
          <a:bodyPr/>
          <a:lstStyle>
            <a:lvl1pPr marL="0" indent="0">
              <a:buFontTx/>
              <a:buNone/>
              <a:defRPr sz="359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ist text slide</a:t>
            </a:r>
            <a:endParaRPr lang="x-none" dirty="0"/>
          </a:p>
        </p:txBody>
      </p:sp>
      <p:cxnSp>
        <p:nvCxnSpPr>
          <p:cNvPr id="13" name="Straight Connector 12">
            <a:extLst>
              <a:ext uri="{FF2B5EF4-FFF2-40B4-BE49-F238E27FC236}">
                <a16:creationId xmlns:a16="http://schemas.microsoft.com/office/drawing/2014/main" id="{FBA1A4C7-71E6-764B-9C70-8194D70344F3}"/>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16" name="Text Placeholder 13">
            <a:extLst>
              <a:ext uri="{FF2B5EF4-FFF2-40B4-BE49-F238E27FC236}">
                <a16:creationId xmlns:a16="http://schemas.microsoft.com/office/drawing/2014/main" id="{C07EC68B-0BD4-B342-A3B0-C0D70F603216}"/>
              </a:ext>
            </a:extLst>
          </p:cNvPr>
          <p:cNvSpPr>
            <a:spLocks noGrp="1"/>
          </p:cNvSpPr>
          <p:nvPr>
            <p:ph type="body" sz="quarter" idx="14" hasCustomPrompt="1"/>
          </p:nvPr>
        </p:nvSpPr>
        <p:spPr>
          <a:xfrm>
            <a:off x="295483"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18" name="Slide Number Placeholder 1">
            <a:extLst>
              <a:ext uri="{FF2B5EF4-FFF2-40B4-BE49-F238E27FC236}">
                <a16:creationId xmlns:a16="http://schemas.microsoft.com/office/drawing/2014/main" id="{134CABE2-6F52-6348-8C28-44587CA34A59}"/>
              </a:ext>
            </a:extLst>
          </p:cNvPr>
          <p:cNvSpPr txBox="1">
            <a:spLocks/>
          </p:cNvSpPr>
          <p:nvPr userDrawn="1"/>
        </p:nvSpPr>
        <p:spPr>
          <a:xfrm>
            <a:off x="11108818" y="395811"/>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21" name="Text Placeholder 6">
            <a:extLst>
              <a:ext uri="{FF2B5EF4-FFF2-40B4-BE49-F238E27FC236}">
                <a16:creationId xmlns:a16="http://schemas.microsoft.com/office/drawing/2014/main" id="{8D7DD4C2-07BC-9A4D-8A70-75B70037A34E}"/>
              </a:ext>
            </a:extLst>
          </p:cNvPr>
          <p:cNvSpPr>
            <a:spLocks noGrp="1"/>
          </p:cNvSpPr>
          <p:nvPr>
            <p:ph type="body" sz="quarter" idx="26" hasCustomPrompt="1"/>
          </p:nvPr>
        </p:nvSpPr>
        <p:spPr>
          <a:xfrm>
            <a:off x="5219144" y="1422140"/>
            <a:ext cx="1180572" cy="901382"/>
          </a:xfrm>
          <a:prstGeom prst="rect">
            <a:avLst/>
          </a:prstGeom>
        </p:spPr>
        <p:txBody>
          <a:bodyPr lIns="36000" rIns="36000"/>
          <a:lstStyle>
            <a:lvl1pPr marL="0" indent="0">
              <a:buFontTx/>
              <a:buNone/>
              <a:defRPr sz="5820" b="0" i="0">
                <a:solidFill>
                  <a:srgbClr val="E9272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02</a:t>
            </a:r>
            <a:endParaRPr lang="x-none" dirty="0"/>
          </a:p>
        </p:txBody>
      </p:sp>
      <p:sp>
        <p:nvSpPr>
          <p:cNvPr id="28" name="Text Placeholder 13">
            <a:extLst>
              <a:ext uri="{FF2B5EF4-FFF2-40B4-BE49-F238E27FC236}">
                <a16:creationId xmlns:a16="http://schemas.microsoft.com/office/drawing/2014/main" id="{AD213586-4C43-3D44-8BBC-537D779ACB75}"/>
              </a:ext>
            </a:extLst>
          </p:cNvPr>
          <p:cNvSpPr>
            <a:spLocks noGrp="1"/>
          </p:cNvSpPr>
          <p:nvPr>
            <p:ph type="body" sz="quarter" idx="25" hasCustomPrompt="1"/>
          </p:nvPr>
        </p:nvSpPr>
        <p:spPr>
          <a:xfrm>
            <a:off x="10020017" y="6319800"/>
            <a:ext cx="1790667" cy="374160"/>
          </a:xfrm>
          <a:prstGeom prst="rect">
            <a:avLst/>
          </a:prstGeom>
        </p:spPr>
        <p:txBody>
          <a:bodyPr/>
          <a:lstStyle>
            <a:lvl1pPr marL="0" indent="0" algn="r">
              <a:buFontTx/>
              <a:buNone/>
              <a:defRPr sz="846"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sp>
        <p:nvSpPr>
          <p:cNvPr id="17" name="Text Placeholder 8">
            <a:extLst>
              <a:ext uri="{FF2B5EF4-FFF2-40B4-BE49-F238E27FC236}">
                <a16:creationId xmlns:a16="http://schemas.microsoft.com/office/drawing/2014/main" id="{159AE10C-77F0-FC45-B9CD-F1DC292A74E3}"/>
              </a:ext>
            </a:extLst>
          </p:cNvPr>
          <p:cNvSpPr>
            <a:spLocks noGrp="1"/>
          </p:cNvSpPr>
          <p:nvPr>
            <p:ph type="body" sz="quarter" idx="27" hasCustomPrompt="1"/>
          </p:nvPr>
        </p:nvSpPr>
        <p:spPr>
          <a:xfrm>
            <a:off x="1347718" y="4541749"/>
            <a:ext cx="2729162" cy="906682"/>
          </a:xfrm>
          <a:prstGeom prst="rect">
            <a:avLst/>
          </a:prstGeom>
        </p:spPr>
        <p:txBody>
          <a:bodyPr/>
          <a:lstStyle>
            <a:lvl1pPr marL="0" indent="0">
              <a:buFontTx/>
              <a:buNone/>
              <a:defRPr lang="x-none" sz="846" kern="1200" dirty="0">
                <a:solidFill>
                  <a:srgbClr val="7F8183"/>
                </a:solidFill>
                <a:latin typeface="+mn-lt"/>
                <a:ea typeface="+mn-ea"/>
                <a:cs typeface="+mn-cs"/>
              </a:defRPr>
            </a:lvl1pPr>
          </a:lstStyle>
          <a:p>
            <a:pPr lvl="0"/>
            <a:r>
              <a:rPr lang="en-US" dirty="0"/>
              <a:t>LIST TEXT SLIDE</a:t>
            </a:r>
            <a:endParaRPr lang="x-none" dirty="0"/>
          </a:p>
        </p:txBody>
      </p:sp>
      <p:sp>
        <p:nvSpPr>
          <p:cNvPr id="22" name="Text Placeholder 8">
            <a:extLst>
              <a:ext uri="{FF2B5EF4-FFF2-40B4-BE49-F238E27FC236}">
                <a16:creationId xmlns:a16="http://schemas.microsoft.com/office/drawing/2014/main" id="{8800D21D-4820-DD46-BE4F-22711F8F51FC}"/>
              </a:ext>
            </a:extLst>
          </p:cNvPr>
          <p:cNvSpPr>
            <a:spLocks noGrp="1"/>
          </p:cNvSpPr>
          <p:nvPr>
            <p:ph type="body" sz="quarter" idx="28" hasCustomPrompt="1"/>
          </p:nvPr>
        </p:nvSpPr>
        <p:spPr>
          <a:xfrm>
            <a:off x="5217981" y="4541749"/>
            <a:ext cx="2729162" cy="906682"/>
          </a:xfrm>
          <a:prstGeom prst="rect">
            <a:avLst/>
          </a:prstGeom>
        </p:spPr>
        <p:txBody>
          <a:bodyPr/>
          <a:lstStyle>
            <a:lvl1pPr marL="0" indent="0">
              <a:buFontTx/>
              <a:buNone/>
              <a:defRPr lang="x-none" sz="846" kern="1200" dirty="0">
                <a:solidFill>
                  <a:srgbClr val="7F8183"/>
                </a:solidFill>
                <a:latin typeface="+mn-lt"/>
                <a:ea typeface="+mn-ea"/>
                <a:cs typeface="+mn-cs"/>
              </a:defRPr>
            </a:lvl1pPr>
          </a:lstStyle>
          <a:p>
            <a:pPr lvl="0"/>
            <a:r>
              <a:rPr lang="en-US" dirty="0"/>
              <a:t>LIST TEXT SLIDE</a:t>
            </a:r>
            <a:endParaRPr lang="x-none" dirty="0"/>
          </a:p>
        </p:txBody>
      </p:sp>
      <p:sp>
        <p:nvSpPr>
          <p:cNvPr id="23" name="Text Placeholder 8">
            <a:extLst>
              <a:ext uri="{FF2B5EF4-FFF2-40B4-BE49-F238E27FC236}">
                <a16:creationId xmlns:a16="http://schemas.microsoft.com/office/drawing/2014/main" id="{9EFFDA42-F94E-534A-842B-A47C3F5FE472}"/>
              </a:ext>
            </a:extLst>
          </p:cNvPr>
          <p:cNvSpPr>
            <a:spLocks noGrp="1"/>
          </p:cNvSpPr>
          <p:nvPr>
            <p:ph type="body" sz="quarter" idx="29" hasCustomPrompt="1"/>
          </p:nvPr>
        </p:nvSpPr>
        <p:spPr>
          <a:xfrm>
            <a:off x="9066001" y="4541749"/>
            <a:ext cx="2729162" cy="906682"/>
          </a:xfrm>
          <a:prstGeom prst="rect">
            <a:avLst/>
          </a:prstGeom>
        </p:spPr>
        <p:txBody>
          <a:bodyPr/>
          <a:lstStyle>
            <a:lvl1pPr marL="0" indent="0">
              <a:buFontTx/>
              <a:buNone/>
              <a:defRPr lang="x-none" sz="846" kern="1200" dirty="0">
                <a:solidFill>
                  <a:srgbClr val="7F8183"/>
                </a:solidFill>
                <a:latin typeface="+mn-lt"/>
                <a:ea typeface="+mn-ea"/>
                <a:cs typeface="+mn-cs"/>
              </a:defRPr>
            </a:lvl1pPr>
          </a:lstStyle>
          <a:p>
            <a:pPr lvl="0"/>
            <a:r>
              <a:rPr lang="en-US" dirty="0"/>
              <a:t>LIST TEXT SLIDE</a:t>
            </a:r>
            <a:endParaRPr lang="x-none" dirty="0"/>
          </a:p>
        </p:txBody>
      </p:sp>
    </p:spTree>
    <p:extLst>
      <p:ext uri="{BB962C8B-B14F-4D97-AF65-F5344CB8AC3E}">
        <p14:creationId xmlns:p14="http://schemas.microsoft.com/office/powerpoint/2010/main" val="2578959493"/>
      </p:ext>
    </p:extLst>
  </p:cSld>
  <p:clrMapOvr>
    <a:masterClrMapping/>
  </p:clrMapOvr>
  <p:transition>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_Content">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B144694-7FC2-824B-ACAA-93D4B0E2FE77}"/>
              </a:ext>
            </a:extLst>
          </p:cNvPr>
          <p:cNvSpPr>
            <a:spLocks noGrp="1"/>
          </p:cNvSpPr>
          <p:nvPr>
            <p:ph type="body" sz="quarter" idx="11" hasCustomPrompt="1"/>
          </p:nvPr>
        </p:nvSpPr>
        <p:spPr>
          <a:xfrm>
            <a:off x="2339395" y="1416840"/>
            <a:ext cx="7527760" cy="906682"/>
          </a:xfrm>
          <a:prstGeom prst="rect">
            <a:avLst/>
          </a:prstGeom>
        </p:spPr>
        <p:txBody>
          <a:bodyPr/>
          <a:lstStyle>
            <a:lvl1pPr marL="0" indent="0">
              <a:buFontTx/>
              <a:buNone/>
              <a:defRPr sz="359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ist text slide</a:t>
            </a:r>
            <a:endParaRPr lang="x-none" dirty="0"/>
          </a:p>
        </p:txBody>
      </p:sp>
      <p:sp>
        <p:nvSpPr>
          <p:cNvPr id="12" name="Text Placeholder 6">
            <a:extLst>
              <a:ext uri="{FF2B5EF4-FFF2-40B4-BE49-F238E27FC236}">
                <a16:creationId xmlns:a16="http://schemas.microsoft.com/office/drawing/2014/main" id="{9E234472-3A79-734B-9127-2E39BF170448}"/>
              </a:ext>
            </a:extLst>
          </p:cNvPr>
          <p:cNvSpPr>
            <a:spLocks noGrp="1"/>
          </p:cNvSpPr>
          <p:nvPr>
            <p:ph type="body" sz="quarter" idx="10" hasCustomPrompt="1"/>
          </p:nvPr>
        </p:nvSpPr>
        <p:spPr>
          <a:xfrm>
            <a:off x="1347645" y="1421474"/>
            <a:ext cx="827561" cy="902049"/>
          </a:xfrm>
          <a:prstGeom prst="rect">
            <a:avLst/>
          </a:prstGeom>
        </p:spPr>
        <p:txBody>
          <a:bodyPr lIns="36000" rIns="36000"/>
          <a:lstStyle>
            <a:lvl1pPr marL="0" indent="0">
              <a:buFontTx/>
              <a:buNone/>
              <a:defRPr sz="3808" b="0" i="0">
                <a:solidFill>
                  <a:srgbClr val="FF0000"/>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01</a:t>
            </a:r>
            <a:endParaRPr lang="x-none" dirty="0"/>
          </a:p>
        </p:txBody>
      </p:sp>
      <p:cxnSp>
        <p:nvCxnSpPr>
          <p:cNvPr id="14" name="Straight Connector 13">
            <a:extLst>
              <a:ext uri="{FF2B5EF4-FFF2-40B4-BE49-F238E27FC236}">
                <a16:creationId xmlns:a16="http://schemas.microsoft.com/office/drawing/2014/main" id="{0F8A3B24-DB1D-D348-9CC0-41A5E0834DF9}"/>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15" name="Text Placeholder 13">
            <a:extLst>
              <a:ext uri="{FF2B5EF4-FFF2-40B4-BE49-F238E27FC236}">
                <a16:creationId xmlns:a16="http://schemas.microsoft.com/office/drawing/2014/main" id="{E4CB1BE9-50A2-7C4D-9CF7-3464B2DF4FFE}"/>
              </a:ext>
            </a:extLst>
          </p:cNvPr>
          <p:cNvSpPr>
            <a:spLocks noGrp="1"/>
          </p:cNvSpPr>
          <p:nvPr>
            <p:ph type="body" sz="quarter" idx="14" hasCustomPrompt="1"/>
          </p:nvPr>
        </p:nvSpPr>
        <p:spPr>
          <a:xfrm>
            <a:off x="295484"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22" name="Slide Number Placeholder 1">
            <a:extLst>
              <a:ext uri="{FF2B5EF4-FFF2-40B4-BE49-F238E27FC236}">
                <a16:creationId xmlns:a16="http://schemas.microsoft.com/office/drawing/2014/main" id="{5FAF87A9-D7BE-BB43-9797-C43BB67B41B6}"/>
              </a:ext>
            </a:extLst>
          </p:cNvPr>
          <p:cNvSpPr txBox="1">
            <a:spLocks/>
          </p:cNvSpPr>
          <p:nvPr userDrawn="1"/>
        </p:nvSpPr>
        <p:spPr>
          <a:xfrm>
            <a:off x="11108818" y="395812"/>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23" name="Text Placeholder 8">
            <a:extLst>
              <a:ext uri="{FF2B5EF4-FFF2-40B4-BE49-F238E27FC236}">
                <a16:creationId xmlns:a16="http://schemas.microsoft.com/office/drawing/2014/main" id="{92BE3C1B-5529-D447-AB7F-DAD05252039F}"/>
              </a:ext>
            </a:extLst>
          </p:cNvPr>
          <p:cNvSpPr>
            <a:spLocks noGrp="1"/>
          </p:cNvSpPr>
          <p:nvPr>
            <p:ph type="body" sz="quarter" idx="15" hasCustomPrompt="1"/>
          </p:nvPr>
        </p:nvSpPr>
        <p:spPr>
          <a:xfrm>
            <a:off x="2339395" y="2479143"/>
            <a:ext cx="7527760" cy="906682"/>
          </a:xfrm>
          <a:prstGeom prst="rect">
            <a:avLst/>
          </a:prstGeom>
        </p:spPr>
        <p:txBody>
          <a:bodyPr/>
          <a:lstStyle>
            <a:lvl1pPr marL="0" indent="0">
              <a:buFontTx/>
              <a:buNone/>
              <a:defRPr sz="359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ist text slide</a:t>
            </a:r>
            <a:endParaRPr lang="x-none" dirty="0"/>
          </a:p>
        </p:txBody>
      </p:sp>
      <p:sp>
        <p:nvSpPr>
          <p:cNvPr id="24" name="Text Placeholder 6">
            <a:extLst>
              <a:ext uri="{FF2B5EF4-FFF2-40B4-BE49-F238E27FC236}">
                <a16:creationId xmlns:a16="http://schemas.microsoft.com/office/drawing/2014/main" id="{C5D355C5-5EF1-264B-BB84-8EE513EF865E}"/>
              </a:ext>
            </a:extLst>
          </p:cNvPr>
          <p:cNvSpPr>
            <a:spLocks noGrp="1"/>
          </p:cNvSpPr>
          <p:nvPr>
            <p:ph type="body" sz="quarter" idx="16" hasCustomPrompt="1"/>
          </p:nvPr>
        </p:nvSpPr>
        <p:spPr>
          <a:xfrm>
            <a:off x="1347645" y="2483777"/>
            <a:ext cx="827561" cy="902049"/>
          </a:xfrm>
          <a:prstGeom prst="rect">
            <a:avLst/>
          </a:prstGeom>
        </p:spPr>
        <p:txBody>
          <a:bodyPr lIns="36000" rIns="36000"/>
          <a:lstStyle>
            <a:lvl1pPr marL="0" indent="0">
              <a:buFontTx/>
              <a:buNone/>
              <a:defRPr sz="3808" b="0" i="0">
                <a:solidFill>
                  <a:srgbClr val="FF0000"/>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02</a:t>
            </a:r>
            <a:endParaRPr lang="x-none" dirty="0"/>
          </a:p>
        </p:txBody>
      </p:sp>
      <p:sp>
        <p:nvSpPr>
          <p:cNvPr id="25" name="Text Placeholder 8">
            <a:extLst>
              <a:ext uri="{FF2B5EF4-FFF2-40B4-BE49-F238E27FC236}">
                <a16:creationId xmlns:a16="http://schemas.microsoft.com/office/drawing/2014/main" id="{3E908FB7-7107-9144-9347-A345944ECA48}"/>
              </a:ext>
            </a:extLst>
          </p:cNvPr>
          <p:cNvSpPr>
            <a:spLocks noGrp="1"/>
          </p:cNvSpPr>
          <p:nvPr>
            <p:ph type="body" sz="quarter" idx="17" hasCustomPrompt="1"/>
          </p:nvPr>
        </p:nvSpPr>
        <p:spPr>
          <a:xfrm>
            <a:off x="2339395" y="3512343"/>
            <a:ext cx="7527760" cy="906682"/>
          </a:xfrm>
          <a:prstGeom prst="rect">
            <a:avLst/>
          </a:prstGeom>
        </p:spPr>
        <p:txBody>
          <a:bodyPr/>
          <a:lstStyle>
            <a:lvl1pPr marL="0" indent="0">
              <a:buFontTx/>
              <a:buNone/>
              <a:defRPr sz="359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ist text slide</a:t>
            </a:r>
            <a:endParaRPr lang="x-none" dirty="0"/>
          </a:p>
        </p:txBody>
      </p:sp>
      <p:sp>
        <p:nvSpPr>
          <p:cNvPr id="26" name="Text Placeholder 6">
            <a:extLst>
              <a:ext uri="{FF2B5EF4-FFF2-40B4-BE49-F238E27FC236}">
                <a16:creationId xmlns:a16="http://schemas.microsoft.com/office/drawing/2014/main" id="{C22DB187-9EE2-FA49-9AB7-1C9430B1C1E5}"/>
              </a:ext>
            </a:extLst>
          </p:cNvPr>
          <p:cNvSpPr>
            <a:spLocks noGrp="1"/>
          </p:cNvSpPr>
          <p:nvPr>
            <p:ph type="body" sz="quarter" idx="18" hasCustomPrompt="1"/>
          </p:nvPr>
        </p:nvSpPr>
        <p:spPr>
          <a:xfrm>
            <a:off x="1347645" y="3516976"/>
            <a:ext cx="827561" cy="902049"/>
          </a:xfrm>
          <a:prstGeom prst="rect">
            <a:avLst/>
          </a:prstGeom>
        </p:spPr>
        <p:txBody>
          <a:bodyPr lIns="36000" rIns="36000"/>
          <a:lstStyle>
            <a:lvl1pPr marL="0" indent="0">
              <a:buFontTx/>
              <a:buNone/>
              <a:defRPr sz="3808" b="0" i="0">
                <a:solidFill>
                  <a:srgbClr val="FF0000"/>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03</a:t>
            </a:r>
            <a:endParaRPr lang="x-none" dirty="0"/>
          </a:p>
        </p:txBody>
      </p:sp>
      <p:sp>
        <p:nvSpPr>
          <p:cNvPr id="27" name="Text Placeholder 8">
            <a:extLst>
              <a:ext uri="{FF2B5EF4-FFF2-40B4-BE49-F238E27FC236}">
                <a16:creationId xmlns:a16="http://schemas.microsoft.com/office/drawing/2014/main" id="{668AFE12-336C-8147-938D-A97B4AFA6992}"/>
              </a:ext>
            </a:extLst>
          </p:cNvPr>
          <p:cNvSpPr>
            <a:spLocks noGrp="1"/>
          </p:cNvSpPr>
          <p:nvPr>
            <p:ph type="body" sz="quarter" idx="19" hasCustomPrompt="1"/>
          </p:nvPr>
        </p:nvSpPr>
        <p:spPr>
          <a:xfrm>
            <a:off x="2339395" y="4538263"/>
            <a:ext cx="7527760" cy="906682"/>
          </a:xfrm>
          <a:prstGeom prst="rect">
            <a:avLst/>
          </a:prstGeom>
        </p:spPr>
        <p:txBody>
          <a:bodyPr/>
          <a:lstStyle>
            <a:lvl1pPr marL="0" indent="0">
              <a:buFontTx/>
              <a:buNone/>
              <a:defRPr sz="359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ist text slide</a:t>
            </a:r>
            <a:endParaRPr lang="x-none" dirty="0"/>
          </a:p>
        </p:txBody>
      </p:sp>
      <p:sp>
        <p:nvSpPr>
          <p:cNvPr id="28" name="Text Placeholder 6">
            <a:extLst>
              <a:ext uri="{FF2B5EF4-FFF2-40B4-BE49-F238E27FC236}">
                <a16:creationId xmlns:a16="http://schemas.microsoft.com/office/drawing/2014/main" id="{780448E5-AEF3-5C44-9DA9-9E7E00671044}"/>
              </a:ext>
            </a:extLst>
          </p:cNvPr>
          <p:cNvSpPr>
            <a:spLocks noGrp="1"/>
          </p:cNvSpPr>
          <p:nvPr>
            <p:ph type="body" sz="quarter" idx="20" hasCustomPrompt="1"/>
          </p:nvPr>
        </p:nvSpPr>
        <p:spPr>
          <a:xfrm>
            <a:off x="1347645" y="4542898"/>
            <a:ext cx="827561" cy="902049"/>
          </a:xfrm>
          <a:prstGeom prst="rect">
            <a:avLst/>
          </a:prstGeom>
        </p:spPr>
        <p:txBody>
          <a:bodyPr lIns="36000" rIns="36000"/>
          <a:lstStyle>
            <a:lvl1pPr marL="0" indent="0">
              <a:buFontTx/>
              <a:buNone/>
              <a:defRPr sz="3808" b="0" i="0">
                <a:solidFill>
                  <a:srgbClr val="FF0000"/>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04</a:t>
            </a:r>
            <a:endParaRPr lang="x-none" dirty="0"/>
          </a:p>
        </p:txBody>
      </p:sp>
      <p:sp>
        <p:nvSpPr>
          <p:cNvPr id="30" name="Text Placeholder 13">
            <a:extLst>
              <a:ext uri="{FF2B5EF4-FFF2-40B4-BE49-F238E27FC236}">
                <a16:creationId xmlns:a16="http://schemas.microsoft.com/office/drawing/2014/main" id="{05E0B9DD-EF5B-2140-9D97-C7B87DE0EE63}"/>
              </a:ext>
            </a:extLst>
          </p:cNvPr>
          <p:cNvSpPr>
            <a:spLocks noGrp="1"/>
          </p:cNvSpPr>
          <p:nvPr>
            <p:ph type="body" sz="quarter" idx="25" hasCustomPrompt="1"/>
          </p:nvPr>
        </p:nvSpPr>
        <p:spPr>
          <a:xfrm>
            <a:off x="10020017" y="6319801"/>
            <a:ext cx="1790667" cy="374160"/>
          </a:xfrm>
          <a:prstGeom prst="rect">
            <a:avLst/>
          </a:prstGeom>
        </p:spPr>
        <p:txBody>
          <a:bodyPr/>
          <a:lstStyle>
            <a:lvl1pPr marL="0" indent="0" algn="r">
              <a:buFontTx/>
              <a:buNone/>
              <a:defRPr sz="845"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spTree>
    <p:extLst>
      <p:ext uri="{BB962C8B-B14F-4D97-AF65-F5344CB8AC3E}">
        <p14:creationId xmlns:p14="http://schemas.microsoft.com/office/powerpoint/2010/main" val="1664264022"/>
      </p:ext>
    </p:extLst>
  </p:cSld>
  <p:clrMapOvr>
    <a:masterClrMapping/>
  </p:clrMapOvr>
  <p:transition>
    <p:fade/>
  </p:transition>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_Content">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B144694-7FC2-824B-ACAA-93D4B0E2FE77}"/>
              </a:ext>
            </a:extLst>
          </p:cNvPr>
          <p:cNvSpPr>
            <a:spLocks noGrp="1"/>
          </p:cNvSpPr>
          <p:nvPr>
            <p:ph type="body" sz="quarter" idx="11" hasCustomPrompt="1"/>
          </p:nvPr>
        </p:nvSpPr>
        <p:spPr>
          <a:xfrm>
            <a:off x="1356475" y="2483682"/>
            <a:ext cx="2720406" cy="1897892"/>
          </a:xfrm>
          <a:prstGeom prst="rect">
            <a:avLst/>
          </a:prstGeom>
        </p:spPr>
        <p:txBody>
          <a:bodyPr/>
          <a:lstStyle>
            <a:lvl1pPr marL="0" indent="0">
              <a:buFontTx/>
              <a:buNone/>
              <a:defRPr sz="359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ist text slide</a:t>
            </a:r>
            <a:endParaRPr lang="x-none" dirty="0"/>
          </a:p>
        </p:txBody>
      </p:sp>
      <p:sp>
        <p:nvSpPr>
          <p:cNvPr id="12" name="Text Placeholder 6">
            <a:extLst>
              <a:ext uri="{FF2B5EF4-FFF2-40B4-BE49-F238E27FC236}">
                <a16:creationId xmlns:a16="http://schemas.microsoft.com/office/drawing/2014/main" id="{9E234472-3A79-734B-9127-2E39BF170448}"/>
              </a:ext>
            </a:extLst>
          </p:cNvPr>
          <p:cNvSpPr>
            <a:spLocks noGrp="1"/>
          </p:cNvSpPr>
          <p:nvPr>
            <p:ph type="body" sz="quarter" idx="10" hasCustomPrompt="1"/>
          </p:nvPr>
        </p:nvSpPr>
        <p:spPr>
          <a:xfrm>
            <a:off x="1333762" y="1416846"/>
            <a:ext cx="1180572" cy="906676"/>
          </a:xfrm>
          <a:prstGeom prst="rect">
            <a:avLst/>
          </a:prstGeom>
        </p:spPr>
        <p:txBody>
          <a:bodyPr lIns="36000" rIns="36000"/>
          <a:lstStyle>
            <a:lvl1pPr marL="0" indent="0">
              <a:buFontTx/>
              <a:buNone/>
              <a:defRPr sz="5818" b="0" i="0">
                <a:solidFill>
                  <a:srgbClr val="E41910"/>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01</a:t>
            </a:r>
            <a:endParaRPr lang="x-none" dirty="0"/>
          </a:p>
        </p:txBody>
      </p:sp>
      <p:sp>
        <p:nvSpPr>
          <p:cNvPr id="19" name="Text Placeholder 6">
            <a:extLst>
              <a:ext uri="{FF2B5EF4-FFF2-40B4-BE49-F238E27FC236}">
                <a16:creationId xmlns:a16="http://schemas.microsoft.com/office/drawing/2014/main" id="{9E84E3E2-55B9-A64C-9522-E34E7A416878}"/>
              </a:ext>
            </a:extLst>
          </p:cNvPr>
          <p:cNvSpPr>
            <a:spLocks noGrp="1"/>
          </p:cNvSpPr>
          <p:nvPr>
            <p:ph type="body" sz="quarter" idx="18" hasCustomPrompt="1"/>
          </p:nvPr>
        </p:nvSpPr>
        <p:spPr>
          <a:xfrm>
            <a:off x="9067569" y="1400312"/>
            <a:ext cx="1180572" cy="923211"/>
          </a:xfrm>
          <a:prstGeom prst="rect">
            <a:avLst/>
          </a:prstGeom>
        </p:spPr>
        <p:txBody>
          <a:bodyPr lIns="36000" rIns="36000"/>
          <a:lstStyle>
            <a:lvl1pPr marL="0" indent="0">
              <a:buFontTx/>
              <a:buNone/>
              <a:defRPr sz="5818" b="0" i="0">
                <a:solidFill>
                  <a:srgbClr val="E41910"/>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03</a:t>
            </a:r>
            <a:endParaRPr lang="x-none" dirty="0"/>
          </a:p>
        </p:txBody>
      </p:sp>
      <p:sp>
        <p:nvSpPr>
          <p:cNvPr id="15" name="Text Placeholder 8">
            <a:extLst>
              <a:ext uri="{FF2B5EF4-FFF2-40B4-BE49-F238E27FC236}">
                <a16:creationId xmlns:a16="http://schemas.microsoft.com/office/drawing/2014/main" id="{D22A95B7-1960-3C46-A3E2-A69CF73DA5FA}"/>
              </a:ext>
            </a:extLst>
          </p:cNvPr>
          <p:cNvSpPr>
            <a:spLocks noGrp="1"/>
          </p:cNvSpPr>
          <p:nvPr>
            <p:ph type="body" sz="quarter" idx="19" hasCustomPrompt="1"/>
          </p:nvPr>
        </p:nvSpPr>
        <p:spPr>
          <a:xfrm>
            <a:off x="5226420" y="2483683"/>
            <a:ext cx="2735841" cy="1897908"/>
          </a:xfrm>
          <a:prstGeom prst="rect">
            <a:avLst/>
          </a:prstGeom>
        </p:spPr>
        <p:txBody>
          <a:bodyPr/>
          <a:lstStyle>
            <a:lvl1pPr marL="0" indent="0">
              <a:buFontTx/>
              <a:buNone/>
              <a:defRPr sz="359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ist text slide</a:t>
            </a:r>
            <a:endParaRPr lang="x-none" dirty="0"/>
          </a:p>
        </p:txBody>
      </p:sp>
      <p:sp>
        <p:nvSpPr>
          <p:cNvPr id="20" name="Text Placeholder 8">
            <a:extLst>
              <a:ext uri="{FF2B5EF4-FFF2-40B4-BE49-F238E27FC236}">
                <a16:creationId xmlns:a16="http://schemas.microsoft.com/office/drawing/2014/main" id="{CF245511-1FDC-9D4A-843B-BA998A6CF721}"/>
              </a:ext>
            </a:extLst>
          </p:cNvPr>
          <p:cNvSpPr>
            <a:spLocks noGrp="1"/>
          </p:cNvSpPr>
          <p:nvPr>
            <p:ph type="body" sz="quarter" idx="20" hasCustomPrompt="1"/>
          </p:nvPr>
        </p:nvSpPr>
        <p:spPr>
          <a:xfrm>
            <a:off x="9082119" y="2486667"/>
            <a:ext cx="2728566" cy="1894911"/>
          </a:xfrm>
          <a:prstGeom prst="rect">
            <a:avLst/>
          </a:prstGeom>
        </p:spPr>
        <p:txBody>
          <a:bodyPr/>
          <a:lstStyle>
            <a:lvl1pPr marL="0" indent="0">
              <a:buFontTx/>
              <a:buNone/>
              <a:defRPr sz="359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ist text slide</a:t>
            </a:r>
            <a:endParaRPr lang="x-none" dirty="0"/>
          </a:p>
        </p:txBody>
      </p:sp>
      <p:cxnSp>
        <p:nvCxnSpPr>
          <p:cNvPr id="13" name="Straight Connector 12">
            <a:extLst>
              <a:ext uri="{FF2B5EF4-FFF2-40B4-BE49-F238E27FC236}">
                <a16:creationId xmlns:a16="http://schemas.microsoft.com/office/drawing/2014/main" id="{FBA1A4C7-71E6-764B-9C70-8194D70344F3}"/>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16" name="Text Placeholder 13">
            <a:extLst>
              <a:ext uri="{FF2B5EF4-FFF2-40B4-BE49-F238E27FC236}">
                <a16:creationId xmlns:a16="http://schemas.microsoft.com/office/drawing/2014/main" id="{C07EC68B-0BD4-B342-A3B0-C0D70F603216}"/>
              </a:ext>
            </a:extLst>
          </p:cNvPr>
          <p:cNvSpPr>
            <a:spLocks noGrp="1"/>
          </p:cNvSpPr>
          <p:nvPr>
            <p:ph type="body" sz="quarter" idx="14" hasCustomPrompt="1"/>
          </p:nvPr>
        </p:nvSpPr>
        <p:spPr>
          <a:xfrm>
            <a:off x="295484"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18" name="Slide Number Placeholder 1">
            <a:extLst>
              <a:ext uri="{FF2B5EF4-FFF2-40B4-BE49-F238E27FC236}">
                <a16:creationId xmlns:a16="http://schemas.microsoft.com/office/drawing/2014/main" id="{134CABE2-6F52-6348-8C28-44587CA34A59}"/>
              </a:ext>
            </a:extLst>
          </p:cNvPr>
          <p:cNvSpPr txBox="1">
            <a:spLocks/>
          </p:cNvSpPr>
          <p:nvPr userDrawn="1"/>
        </p:nvSpPr>
        <p:spPr>
          <a:xfrm>
            <a:off x="11108818" y="395812"/>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21" name="Text Placeholder 6">
            <a:extLst>
              <a:ext uri="{FF2B5EF4-FFF2-40B4-BE49-F238E27FC236}">
                <a16:creationId xmlns:a16="http://schemas.microsoft.com/office/drawing/2014/main" id="{8D7DD4C2-07BC-9A4D-8A70-75B70037A34E}"/>
              </a:ext>
            </a:extLst>
          </p:cNvPr>
          <p:cNvSpPr>
            <a:spLocks noGrp="1"/>
          </p:cNvSpPr>
          <p:nvPr>
            <p:ph type="body" sz="quarter" idx="26" hasCustomPrompt="1"/>
          </p:nvPr>
        </p:nvSpPr>
        <p:spPr>
          <a:xfrm>
            <a:off x="5219144" y="1422140"/>
            <a:ext cx="1180572" cy="901382"/>
          </a:xfrm>
          <a:prstGeom prst="rect">
            <a:avLst/>
          </a:prstGeom>
        </p:spPr>
        <p:txBody>
          <a:bodyPr lIns="36000" rIns="36000"/>
          <a:lstStyle>
            <a:lvl1pPr marL="0" indent="0">
              <a:buFontTx/>
              <a:buNone/>
              <a:defRPr sz="5818" b="0" i="0">
                <a:solidFill>
                  <a:srgbClr val="E9272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02</a:t>
            </a:r>
            <a:endParaRPr lang="x-none" dirty="0"/>
          </a:p>
        </p:txBody>
      </p:sp>
      <p:sp>
        <p:nvSpPr>
          <p:cNvPr id="28" name="Text Placeholder 13">
            <a:extLst>
              <a:ext uri="{FF2B5EF4-FFF2-40B4-BE49-F238E27FC236}">
                <a16:creationId xmlns:a16="http://schemas.microsoft.com/office/drawing/2014/main" id="{AD213586-4C43-3D44-8BBC-537D779ACB75}"/>
              </a:ext>
            </a:extLst>
          </p:cNvPr>
          <p:cNvSpPr>
            <a:spLocks noGrp="1"/>
          </p:cNvSpPr>
          <p:nvPr>
            <p:ph type="body" sz="quarter" idx="25" hasCustomPrompt="1"/>
          </p:nvPr>
        </p:nvSpPr>
        <p:spPr>
          <a:xfrm>
            <a:off x="10020017" y="6319801"/>
            <a:ext cx="1790667" cy="374160"/>
          </a:xfrm>
          <a:prstGeom prst="rect">
            <a:avLst/>
          </a:prstGeom>
        </p:spPr>
        <p:txBody>
          <a:bodyPr/>
          <a:lstStyle>
            <a:lvl1pPr marL="0" indent="0" algn="r">
              <a:buFontTx/>
              <a:buNone/>
              <a:defRPr sz="845"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sp>
        <p:nvSpPr>
          <p:cNvPr id="17" name="Text Placeholder 8">
            <a:extLst>
              <a:ext uri="{FF2B5EF4-FFF2-40B4-BE49-F238E27FC236}">
                <a16:creationId xmlns:a16="http://schemas.microsoft.com/office/drawing/2014/main" id="{159AE10C-77F0-FC45-B9CD-F1DC292A74E3}"/>
              </a:ext>
            </a:extLst>
          </p:cNvPr>
          <p:cNvSpPr>
            <a:spLocks noGrp="1"/>
          </p:cNvSpPr>
          <p:nvPr>
            <p:ph type="body" sz="quarter" idx="27" hasCustomPrompt="1"/>
          </p:nvPr>
        </p:nvSpPr>
        <p:spPr>
          <a:xfrm>
            <a:off x="1347718" y="4541749"/>
            <a:ext cx="2729162" cy="906682"/>
          </a:xfrm>
          <a:prstGeom prst="rect">
            <a:avLst/>
          </a:prstGeom>
        </p:spPr>
        <p:txBody>
          <a:bodyPr/>
          <a:lstStyle>
            <a:lvl1pPr marL="0" indent="0">
              <a:buFontTx/>
              <a:buNone/>
              <a:defRPr lang="x-none" sz="845" kern="1200" dirty="0">
                <a:solidFill>
                  <a:srgbClr val="7F8183"/>
                </a:solidFill>
                <a:latin typeface="+mn-lt"/>
                <a:ea typeface="+mn-ea"/>
                <a:cs typeface="+mn-cs"/>
              </a:defRPr>
            </a:lvl1pPr>
          </a:lstStyle>
          <a:p>
            <a:pPr lvl="0"/>
            <a:r>
              <a:rPr lang="en-US" dirty="0"/>
              <a:t>LIST TEXT SLIDE</a:t>
            </a:r>
            <a:endParaRPr lang="x-none" dirty="0"/>
          </a:p>
        </p:txBody>
      </p:sp>
      <p:sp>
        <p:nvSpPr>
          <p:cNvPr id="22" name="Text Placeholder 8">
            <a:extLst>
              <a:ext uri="{FF2B5EF4-FFF2-40B4-BE49-F238E27FC236}">
                <a16:creationId xmlns:a16="http://schemas.microsoft.com/office/drawing/2014/main" id="{8800D21D-4820-DD46-BE4F-22711F8F51FC}"/>
              </a:ext>
            </a:extLst>
          </p:cNvPr>
          <p:cNvSpPr>
            <a:spLocks noGrp="1"/>
          </p:cNvSpPr>
          <p:nvPr>
            <p:ph type="body" sz="quarter" idx="28" hasCustomPrompt="1"/>
          </p:nvPr>
        </p:nvSpPr>
        <p:spPr>
          <a:xfrm>
            <a:off x="5217981" y="4541749"/>
            <a:ext cx="2729162" cy="906682"/>
          </a:xfrm>
          <a:prstGeom prst="rect">
            <a:avLst/>
          </a:prstGeom>
        </p:spPr>
        <p:txBody>
          <a:bodyPr/>
          <a:lstStyle>
            <a:lvl1pPr marL="0" indent="0">
              <a:buFontTx/>
              <a:buNone/>
              <a:defRPr lang="x-none" sz="845" kern="1200" dirty="0">
                <a:solidFill>
                  <a:srgbClr val="7F8183"/>
                </a:solidFill>
                <a:latin typeface="+mn-lt"/>
                <a:ea typeface="+mn-ea"/>
                <a:cs typeface="+mn-cs"/>
              </a:defRPr>
            </a:lvl1pPr>
          </a:lstStyle>
          <a:p>
            <a:pPr lvl="0"/>
            <a:r>
              <a:rPr lang="en-US" dirty="0"/>
              <a:t>LIST TEXT SLIDE</a:t>
            </a:r>
            <a:endParaRPr lang="x-none" dirty="0"/>
          </a:p>
        </p:txBody>
      </p:sp>
      <p:sp>
        <p:nvSpPr>
          <p:cNvPr id="23" name="Text Placeholder 8">
            <a:extLst>
              <a:ext uri="{FF2B5EF4-FFF2-40B4-BE49-F238E27FC236}">
                <a16:creationId xmlns:a16="http://schemas.microsoft.com/office/drawing/2014/main" id="{9EFFDA42-F94E-534A-842B-A47C3F5FE472}"/>
              </a:ext>
            </a:extLst>
          </p:cNvPr>
          <p:cNvSpPr>
            <a:spLocks noGrp="1"/>
          </p:cNvSpPr>
          <p:nvPr>
            <p:ph type="body" sz="quarter" idx="29" hasCustomPrompt="1"/>
          </p:nvPr>
        </p:nvSpPr>
        <p:spPr>
          <a:xfrm>
            <a:off x="9066001" y="4541749"/>
            <a:ext cx="2729162" cy="906682"/>
          </a:xfrm>
          <a:prstGeom prst="rect">
            <a:avLst/>
          </a:prstGeom>
        </p:spPr>
        <p:txBody>
          <a:bodyPr/>
          <a:lstStyle>
            <a:lvl1pPr marL="0" indent="0">
              <a:buFontTx/>
              <a:buNone/>
              <a:defRPr lang="x-none" sz="845" kern="1200" dirty="0">
                <a:solidFill>
                  <a:srgbClr val="7F8183"/>
                </a:solidFill>
                <a:latin typeface="+mn-lt"/>
                <a:ea typeface="+mn-ea"/>
                <a:cs typeface="+mn-cs"/>
              </a:defRPr>
            </a:lvl1pPr>
          </a:lstStyle>
          <a:p>
            <a:pPr lvl="0"/>
            <a:r>
              <a:rPr lang="en-US" dirty="0"/>
              <a:t>LIST TEXT SLIDE</a:t>
            </a:r>
            <a:endParaRPr lang="x-none" dirty="0"/>
          </a:p>
        </p:txBody>
      </p:sp>
    </p:spTree>
    <p:extLst>
      <p:ext uri="{BB962C8B-B14F-4D97-AF65-F5344CB8AC3E}">
        <p14:creationId xmlns:p14="http://schemas.microsoft.com/office/powerpoint/2010/main" val="1239678109"/>
      </p:ext>
    </p:extLst>
  </p:cSld>
  <p:clrMapOvr>
    <a:masterClrMapping/>
  </p:clrMapOvr>
  <p:transition>
    <p:fade/>
  </p:transition>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Content">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B144694-7FC2-824B-ACAA-93D4B0E2FE77}"/>
              </a:ext>
            </a:extLst>
          </p:cNvPr>
          <p:cNvSpPr>
            <a:spLocks noGrp="1"/>
          </p:cNvSpPr>
          <p:nvPr>
            <p:ph type="body" sz="quarter" idx="11" hasCustomPrompt="1"/>
          </p:nvPr>
        </p:nvSpPr>
        <p:spPr>
          <a:xfrm>
            <a:off x="2324848" y="887070"/>
            <a:ext cx="9485839" cy="902832"/>
          </a:xfrm>
          <a:prstGeom prst="rect">
            <a:avLst/>
          </a:prstGeom>
        </p:spPr>
        <p:txBody>
          <a:bodyPr/>
          <a:lstStyle>
            <a:lvl1pPr marL="0" marR="0" indent="0" algn="l" defTabSz="967332" rtl="0" eaLnBrk="1" fontAlgn="auto" latinLnBrk="0" hangingPunct="1">
              <a:lnSpc>
                <a:spcPct val="100000"/>
              </a:lnSpc>
              <a:spcBef>
                <a:spcPct val="20000"/>
              </a:spcBef>
              <a:spcAft>
                <a:spcPts val="0"/>
              </a:spcAft>
              <a:buClrTx/>
              <a:buSzTx/>
              <a:buFontTx/>
              <a:buNone/>
              <a:tabLst/>
              <a:defRPr sz="253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Text slide</a:t>
            </a:r>
          </a:p>
          <a:p>
            <a:pPr marL="0" marR="0" lvl="0" indent="0" algn="l" defTabSz="967332" rtl="0" eaLnBrk="1" fontAlgn="auto" latinLnBrk="0" hangingPunct="1">
              <a:lnSpc>
                <a:spcPct val="100000"/>
              </a:lnSpc>
              <a:spcBef>
                <a:spcPct val="20000"/>
              </a:spcBef>
              <a:spcAft>
                <a:spcPts val="0"/>
              </a:spcAft>
              <a:buClrTx/>
              <a:buSzTx/>
              <a:buFontTx/>
              <a:buNone/>
              <a:tabLst/>
              <a:defRPr/>
            </a:pPr>
            <a:r>
              <a:rPr lang="en-US" dirty="0"/>
              <a:t>Text slide</a:t>
            </a:r>
            <a:endParaRPr lang="x-none"/>
          </a:p>
        </p:txBody>
      </p:sp>
      <p:sp>
        <p:nvSpPr>
          <p:cNvPr id="12" name="Text Placeholder 13">
            <a:extLst>
              <a:ext uri="{FF2B5EF4-FFF2-40B4-BE49-F238E27FC236}">
                <a16:creationId xmlns:a16="http://schemas.microsoft.com/office/drawing/2014/main" id="{49E34B46-60CE-4E4E-83A8-E47657DF8646}"/>
              </a:ext>
            </a:extLst>
          </p:cNvPr>
          <p:cNvSpPr>
            <a:spLocks noGrp="1"/>
          </p:cNvSpPr>
          <p:nvPr>
            <p:ph type="body" sz="quarter" idx="25" hasCustomPrompt="1"/>
          </p:nvPr>
        </p:nvSpPr>
        <p:spPr>
          <a:xfrm>
            <a:off x="10020017" y="6319801"/>
            <a:ext cx="1790667" cy="374160"/>
          </a:xfrm>
          <a:prstGeom prst="rect">
            <a:avLst/>
          </a:prstGeom>
        </p:spPr>
        <p:txBody>
          <a:bodyPr/>
          <a:lstStyle>
            <a:lvl1pPr marL="0" indent="0" algn="r">
              <a:buFontTx/>
              <a:buNone/>
              <a:defRPr sz="845"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cxnSp>
        <p:nvCxnSpPr>
          <p:cNvPr id="7" name="Straight Connector 6">
            <a:extLst>
              <a:ext uri="{FF2B5EF4-FFF2-40B4-BE49-F238E27FC236}">
                <a16:creationId xmlns:a16="http://schemas.microsoft.com/office/drawing/2014/main" id="{033B75BF-1C22-0043-80DE-27C41E8F0B09}"/>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8" name="Text Placeholder 13">
            <a:extLst>
              <a:ext uri="{FF2B5EF4-FFF2-40B4-BE49-F238E27FC236}">
                <a16:creationId xmlns:a16="http://schemas.microsoft.com/office/drawing/2014/main" id="{BB229FDE-5838-2549-8A7F-C7DC26582F42}"/>
              </a:ext>
            </a:extLst>
          </p:cNvPr>
          <p:cNvSpPr>
            <a:spLocks noGrp="1"/>
          </p:cNvSpPr>
          <p:nvPr>
            <p:ph type="body" sz="quarter" idx="14" hasCustomPrompt="1"/>
          </p:nvPr>
        </p:nvSpPr>
        <p:spPr>
          <a:xfrm>
            <a:off x="295484"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10" name="Slide Number Placeholder 1">
            <a:extLst>
              <a:ext uri="{FF2B5EF4-FFF2-40B4-BE49-F238E27FC236}">
                <a16:creationId xmlns:a16="http://schemas.microsoft.com/office/drawing/2014/main" id="{16EFFABE-3A94-D544-889A-12AED59BDE29}"/>
              </a:ext>
            </a:extLst>
          </p:cNvPr>
          <p:cNvSpPr txBox="1">
            <a:spLocks/>
          </p:cNvSpPr>
          <p:nvPr userDrawn="1"/>
        </p:nvSpPr>
        <p:spPr>
          <a:xfrm>
            <a:off x="11108818" y="395812"/>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Text Placeholder 8">
            <a:extLst>
              <a:ext uri="{FF2B5EF4-FFF2-40B4-BE49-F238E27FC236}">
                <a16:creationId xmlns:a16="http://schemas.microsoft.com/office/drawing/2014/main" id="{C482FBEA-12A2-144F-AE69-EF53820D4D5F}"/>
              </a:ext>
            </a:extLst>
          </p:cNvPr>
          <p:cNvSpPr>
            <a:spLocks noGrp="1"/>
          </p:cNvSpPr>
          <p:nvPr>
            <p:ph type="body" sz="quarter" idx="15" hasCustomPrompt="1"/>
          </p:nvPr>
        </p:nvSpPr>
        <p:spPr>
          <a:xfrm>
            <a:off x="2332122" y="2483682"/>
            <a:ext cx="1752033" cy="664646"/>
          </a:xfrm>
          <a:prstGeom prst="rect">
            <a:avLst/>
          </a:prstGeom>
        </p:spPr>
        <p:txBody>
          <a:bodyPr/>
          <a:lstStyle>
            <a:lvl1pPr marL="0" indent="0">
              <a:buFontTx/>
              <a:buNone/>
              <a:defRPr sz="1905"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endParaRPr lang="en-US" dirty="0"/>
          </a:p>
        </p:txBody>
      </p:sp>
      <p:sp>
        <p:nvSpPr>
          <p:cNvPr id="14" name="Picture Placeholder 5">
            <a:extLst>
              <a:ext uri="{FF2B5EF4-FFF2-40B4-BE49-F238E27FC236}">
                <a16:creationId xmlns:a16="http://schemas.microsoft.com/office/drawing/2014/main" id="{F344EFF9-3336-EC46-A692-2A234BA5E976}"/>
              </a:ext>
            </a:extLst>
          </p:cNvPr>
          <p:cNvSpPr>
            <a:spLocks noGrp="1"/>
          </p:cNvSpPr>
          <p:nvPr>
            <p:ph type="pic" sz="quarter" idx="16"/>
          </p:nvPr>
        </p:nvSpPr>
        <p:spPr>
          <a:xfrm>
            <a:off x="381317" y="2481702"/>
            <a:ext cx="1790669" cy="1899893"/>
          </a:xfrm>
          <a:prstGeom prst="rect">
            <a:avLst/>
          </a:prstGeom>
        </p:spPr>
        <p:txBody>
          <a:bodyPr anchor="ctr"/>
          <a:lstStyle>
            <a:lvl1pPr algn="ctr">
              <a:buFontTx/>
              <a:buNone/>
              <a:defRPr sz="2963"/>
            </a:lvl1pPr>
          </a:lstStyle>
          <a:p>
            <a:endParaRPr lang="x-none"/>
          </a:p>
        </p:txBody>
      </p:sp>
      <p:sp>
        <p:nvSpPr>
          <p:cNvPr id="16" name="Picture Placeholder 5">
            <a:extLst>
              <a:ext uri="{FF2B5EF4-FFF2-40B4-BE49-F238E27FC236}">
                <a16:creationId xmlns:a16="http://schemas.microsoft.com/office/drawing/2014/main" id="{C9696876-5A37-BD4F-8C96-BD1111D4CEC0}"/>
              </a:ext>
            </a:extLst>
          </p:cNvPr>
          <p:cNvSpPr>
            <a:spLocks noGrp="1"/>
          </p:cNvSpPr>
          <p:nvPr>
            <p:ph type="pic" sz="quarter" idx="26"/>
          </p:nvPr>
        </p:nvSpPr>
        <p:spPr>
          <a:xfrm>
            <a:off x="6171592" y="2481702"/>
            <a:ext cx="1790669" cy="1899893"/>
          </a:xfrm>
          <a:prstGeom prst="rect">
            <a:avLst/>
          </a:prstGeom>
        </p:spPr>
        <p:txBody>
          <a:bodyPr anchor="ctr"/>
          <a:lstStyle>
            <a:lvl1pPr algn="ctr">
              <a:buFontTx/>
              <a:buNone/>
              <a:defRPr sz="2963"/>
            </a:lvl1pPr>
          </a:lstStyle>
          <a:p>
            <a:endParaRPr lang="x-none"/>
          </a:p>
        </p:txBody>
      </p:sp>
      <p:sp>
        <p:nvSpPr>
          <p:cNvPr id="21" name="Picture Placeholder 5">
            <a:extLst>
              <a:ext uri="{FF2B5EF4-FFF2-40B4-BE49-F238E27FC236}">
                <a16:creationId xmlns:a16="http://schemas.microsoft.com/office/drawing/2014/main" id="{735024CD-15EF-224E-BF88-02F411F77D76}"/>
              </a:ext>
            </a:extLst>
          </p:cNvPr>
          <p:cNvSpPr>
            <a:spLocks noGrp="1"/>
          </p:cNvSpPr>
          <p:nvPr>
            <p:ph type="pic" sz="quarter" idx="28"/>
          </p:nvPr>
        </p:nvSpPr>
        <p:spPr>
          <a:xfrm>
            <a:off x="381317" y="4534481"/>
            <a:ext cx="1790669" cy="1899893"/>
          </a:xfrm>
          <a:prstGeom prst="rect">
            <a:avLst/>
          </a:prstGeom>
        </p:spPr>
        <p:txBody>
          <a:bodyPr anchor="ctr"/>
          <a:lstStyle>
            <a:lvl1pPr algn="ctr">
              <a:buFontTx/>
              <a:buNone/>
              <a:defRPr sz="2963"/>
            </a:lvl1pPr>
          </a:lstStyle>
          <a:p>
            <a:endParaRPr lang="x-none"/>
          </a:p>
        </p:txBody>
      </p:sp>
      <p:sp>
        <p:nvSpPr>
          <p:cNvPr id="28" name="Picture Placeholder 5">
            <a:extLst>
              <a:ext uri="{FF2B5EF4-FFF2-40B4-BE49-F238E27FC236}">
                <a16:creationId xmlns:a16="http://schemas.microsoft.com/office/drawing/2014/main" id="{E868AB3A-F096-2540-AF41-F164BA186710}"/>
              </a:ext>
            </a:extLst>
          </p:cNvPr>
          <p:cNvSpPr>
            <a:spLocks noGrp="1"/>
          </p:cNvSpPr>
          <p:nvPr>
            <p:ph type="pic" sz="quarter" idx="30"/>
          </p:nvPr>
        </p:nvSpPr>
        <p:spPr>
          <a:xfrm>
            <a:off x="6171592" y="4534481"/>
            <a:ext cx="1790669" cy="1899893"/>
          </a:xfrm>
          <a:prstGeom prst="rect">
            <a:avLst/>
          </a:prstGeom>
        </p:spPr>
        <p:txBody>
          <a:bodyPr anchor="ctr"/>
          <a:lstStyle>
            <a:lvl1pPr algn="ctr">
              <a:buFontTx/>
              <a:buNone/>
              <a:defRPr sz="2963"/>
            </a:lvl1pPr>
          </a:lstStyle>
          <a:p>
            <a:endParaRPr lang="x-none"/>
          </a:p>
        </p:txBody>
      </p:sp>
      <p:sp>
        <p:nvSpPr>
          <p:cNvPr id="5" name="Text Placeholder 4">
            <a:extLst>
              <a:ext uri="{FF2B5EF4-FFF2-40B4-BE49-F238E27FC236}">
                <a16:creationId xmlns:a16="http://schemas.microsoft.com/office/drawing/2014/main" id="{12C0F291-A0E6-7544-9EA2-4DFD4003C634}"/>
              </a:ext>
            </a:extLst>
          </p:cNvPr>
          <p:cNvSpPr>
            <a:spLocks noGrp="1"/>
          </p:cNvSpPr>
          <p:nvPr>
            <p:ph type="body" sz="quarter" idx="33" hasCustomPrompt="1"/>
          </p:nvPr>
        </p:nvSpPr>
        <p:spPr>
          <a:xfrm>
            <a:off x="2324847" y="3177872"/>
            <a:ext cx="1773160" cy="531800"/>
          </a:xfrm>
          <a:prstGeom prst="rect">
            <a:avLst/>
          </a:prstGeom>
        </p:spPr>
        <p:txBody>
          <a:bodyPr/>
          <a:lstStyle>
            <a:lvl1pPr>
              <a:buFontTx/>
              <a:buNone/>
              <a:defRPr lang="x-none" sz="2538" kern="1200" dirty="0">
                <a:solidFill>
                  <a:srgbClr val="E41910"/>
                </a:solidFill>
                <a:latin typeface="+mn-lt"/>
                <a:ea typeface="+mn-ea"/>
                <a:cs typeface="+mn-cs"/>
              </a:defRPr>
            </a:lvl1pPr>
          </a:lstStyle>
          <a:p>
            <a:pPr lvl="0"/>
            <a:r>
              <a:rPr lang="ru-RU" dirty="0"/>
              <a:t>10 000</a:t>
            </a:r>
            <a:endParaRPr lang="x-none" dirty="0"/>
          </a:p>
        </p:txBody>
      </p:sp>
      <p:sp>
        <p:nvSpPr>
          <p:cNvPr id="32" name="Text Placeholder 8">
            <a:extLst>
              <a:ext uri="{FF2B5EF4-FFF2-40B4-BE49-F238E27FC236}">
                <a16:creationId xmlns:a16="http://schemas.microsoft.com/office/drawing/2014/main" id="{8F6BBC3D-8D0B-C243-BF20-BC4FF5CAAB83}"/>
              </a:ext>
            </a:extLst>
          </p:cNvPr>
          <p:cNvSpPr>
            <a:spLocks noGrp="1"/>
          </p:cNvSpPr>
          <p:nvPr>
            <p:ph type="body" sz="quarter" idx="34" hasCustomPrompt="1"/>
          </p:nvPr>
        </p:nvSpPr>
        <p:spPr>
          <a:xfrm>
            <a:off x="8119119" y="2483682"/>
            <a:ext cx="1752033" cy="664646"/>
          </a:xfrm>
          <a:prstGeom prst="rect">
            <a:avLst/>
          </a:prstGeom>
        </p:spPr>
        <p:txBody>
          <a:bodyPr/>
          <a:lstStyle>
            <a:lvl1pPr marL="0" indent="0">
              <a:buFontTx/>
              <a:buNone/>
              <a:defRPr sz="1905"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endParaRPr lang="en-US" dirty="0"/>
          </a:p>
        </p:txBody>
      </p:sp>
      <p:sp>
        <p:nvSpPr>
          <p:cNvPr id="34" name="Text Placeholder 4">
            <a:extLst>
              <a:ext uri="{FF2B5EF4-FFF2-40B4-BE49-F238E27FC236}">
                <a16:creationId xmlns:a16="http://schemas.microsoft.com/office/drawing/2014/main" id="{D05AC4CC-BCEB-4846-8465-147A1EB1FD84}"/>
              </a:ext>
            </a:extLst>
          </p:cNvPr>
          <p:cNvSpPr>
            <a:spLocks noGrp="1"/>
          </p:cNvSpPr>
          <p:nvPr>
            <p:ph type="body" sz="quarter" idx="36" hasCustomPrompt="1"/>
          </p:nvPr>
        </p:nvSpPr>
        <p:spPr>
          <a:xfrm>
            <a:off x="8119120" y="3177872"/>
            <a:ext cx="1748034" cy="531800"/>
          </a:xfrm>
          <a:prstGeom prst="rect">
            <a:avLst/>
          </a:prstGeom>
        </p:spPr>
        <p:txBody>
          <a:bodyPr/>
          <a:lstStyle>
            <a:lvl1pPr>
              <a:buFontTx/>
              <a:buNone/>
              <a:defRPr lang="x-none" sz="2538" kern="1200" dirty="0">
                <a:solidFill>
                  <a:srgbClr val="E41910"/>
                </a:solidFill>
                <a:latin typeface="+mn-lt"/>
                <a:ea typeface="+mn-ea"/>
                <a:cs typeface="+mn-cs"/>
              </a:defRPr>
            </a:lvl1pPr>
          </a:lstStyle>
          <a:p>
            <a:pPr lvl="0"/>
            <a:r>
              <a:rPr lang="ru-RU" dirty="0"/>
              <a:t>10 000</a:t>
            </a:r>
            <a:endParaRPr lang="x-none" dirty="0"/>
          </a:p>
        </p:txBody>
      </p:sp>
      <p:sp>
        <p:nvSpPr>
          <p:cNvPr id="35" name="Text Placeholder 8">
            <a:extLst>
              <a:ext uri="{FF2B5EF4-FFF2-40B4-BE49-F238E27FC236}">
                <a16:creationId xmlns:a16="http://schemas.microsoft.com/office/drawing/2014/main" id="{9952AC09-3CFC-F148-A8F4-E73A5FE3969E}"/>
              </a:ext>
            </a:extLst>
          </p:cNvPr>
          <p:cNvSpPr>
            <a:spLocks noGrp="1"/>
          </p:cNvSpPr>
          <p:nvPr>
            <p:ph type="body" sz="quarter" idx="37" hasCustomPrompt="1"/>
          </p:nvPr>
        </p:nvSpPr>
        <p:spPr>
          <a:xfrm>
            <a:off x="2332122" y="4541466"/>
            <a:ext cx="1752033" cy="664646"/>
          </a:xfrm>
          <a:prstGeom prst="rect">
            <a:avLst/>
          </a:prstGeom>
        </p:spPr>
        <p:txBody>
          <a:bodyPr/>
          <a:lstStyle>
            <a:lvl1pPr marL="0" indent="0">
              <a:buFontTx/>
              <a:buNone/>
              <a:defRPr sz="1905"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endParaRPr lang="en-US" dirty="0"/>
          </a:p>
        </p:txBody>
      </p:sp>
      <p:sp>
        <p:nvSpPr>
          <p:cNvPr id="37" name="Text Placeholder 4">
            <a:extLst>
              <a:ext uri="{FF2B5EF4-FFF2-40B4-BE49-F238E27FC236}">
                <a16:creationId xmlns:a16="http://schemas.microsoft.com/office/drawing/2014/main" id="{C0161F4A-50C3-264C-A222-B046510BB7EB}"/>
              </a:ext>
            </a:extLst>
          </p:cNvPr>
          <p:cNvSpPr>
            <a:spLocks noGrp="1"/>
          </p:cNvSpPr>
          <p:nvPr>
            <p:ph type="body" sz="quarter" idx="39" hasCustomPrompt="1"/>
          </p:nvPr>
        </p:nvSpPr>
        <p:spPr>
          <a:xfrm>
            <a:off x="2324847" y="5235655"/>
            <a:ext cx="1773160" cy="531800"/>
          </a:xfrm>
          <a:prstGeom prst="rect">
            <a:avLst/>
          </a:prstGeom>
        </p:spPr>
        <p:txBody>
          <a:bodyPr/>
          <a:lstStyle>
            <a:lvl1pPr>
              <a:buFontTx/>
              <a:buNone/>
              <a:defRPr lang="x-none" sz="2538" kern="1200" dirty="0">
                <a:solidFill>
                  <a:srgbClr val="E41910"/>
                </a:solidFill>
                <a:latin typeface="+mn-lt"/>
                <a:ea typeface="+mn-ea"/>
                <a:cs typeface="+mn-cs"/>
              </a:defRPr>
            </a:lvl1pPr>
          </a:lstStyle>
          <a:p>
            <a:pPr lvl="0"/>
            <a:r>
              <a:rPr lang="ru-RU" dirty="0"/>
              <a:t>10 000</a:t>
            </a:r>
            <a:endParaRPr lang="x-none" dirty="0"/>
          </a:p>
        </p:txBody>
      </p:sp>
      <p:sp>
        <p:nvSpPr>
          <p:cNvPr id="38" name="Text Placeholder 8">
            <a:extLst>
              <a:ext uri="{FF2B5EF4-FFF2-40B4-BE49-F238E27FC236}">
                <a16:creationId xmlns:a16="http://schemas.microsoft.com/office/drawing/2014/main" id="{27BA8302-402C-704C-A719-FDF6F840017A}"/>
              </a:ext>
            </a:extLst>
          </p:cNvPr>
          <p:cNvSpPr>
            <a:spLocks noGrp="1"/>
          </p:cNvSpPr>
          <p:nvPr>
            <p:ph type="body" sz="quarter" idx="40" hasCustomPrompt="1"/>
          </p:nvPr>
        </p:nvSpPr>
        <p:spPr>
          <a:xfrm>
            <a:off x="8119119" y="4541466"/>
            <a:ext cx="1752033" cy="664646"/>
          </a:xfrm>
          <a:prstGeom prst="rect">
            <a:avLst/>
          </a:prstGeom>
        </p:spPr>
        <p:txBody>
          <a:bodyPr/>
          <a:lstStyle>
            <a:lvl1pPr marL="0" indent="0">
              <a:buFontTx/>
              <a:buNone/>
              <a:defRPr sz="1905"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endParaRPr lang="en-US" dirty="0"/>
          </a:p>
        </p:txBody>
      </p:sp>
      <p:sp>
        <p:nvSpPr>
          <p:cNvPr id="40" name="Text Placeholder 4">
            <a:extLst>
              <a:ext uri="{FF2B5EF4-FFF2-40B4-BE49-F238E27FC236}">
                <a16:creationId xmlns:a16="http://schemas.microsoft.com/office/drawing/2014/main" id="{7E3FBDBA-8D47-A149-A13B-07DAA55A6919}"/>
              </a:ext>
            </a:extLst>
          </p:cNvPr>
          <p:cNvSpPr>
            <a:spLocks noGrp="1"/>
          </p:cNvSpPr>
          <p:nvPr>
            <p:ph type="body" sz="quarter" idx="42" hasCustomPrompt="1"/>
          </p:nvPr>
        </p:nvSpPr>
        <p:spPr>
          <a:xfrm>
            <a:off x="8119120" y="5235655"/>
            <a:ext cx="1773160" cy="531800"/>
          </a:xfrm>
          <a:prstGeom prst="rect">
            <a:avLst/>
          </a:prstGeom>
        </p:spPr>
        <p:txBody>
          <a:bodyPr/>
          <a:lstStyle>
            <a:lvl1pPr>
              <a:buFontTx/>
              <a:buNone/>
              <a:defRPr lang="x-none" sz="2538" kern="1200" dirty="0">
                <a:solidFill>
                  <a:srgbClr val="E41910"/>
                </a:solidFill>
                <a:latin typeface="+mn-lt"/>
                <a:ea typeface="+mn-ea"/>
                <a:cs typeface="+mn-cs"/>
              </a:defRPr>
            </a:lvl1pPr>
          </a:lstStyle>
          <a:p>
            <a:pPr lvl="0"/>
            <a:r>
              <a:rPr lang="ru-RU" dirty="0"/>
              <a:t>10 000</a:t>
            </a:r>
            <a:endParaRPr lang="x-none" dirty="0"/>
          </a:p>
        </p:txBody>
      </p:sp>
      <p:sp>
        <p:nvSpPr>
          <p:cNvPr id="44" name="Text Placeholder 13">
            <a:extLst>
              <a:ext uri="{FF2B5EF4-FFF2-40B4-BE49-F238E27FC236}">
                <a16:creationId xmlns:a16="http://schemas.microsoft.com/office/drawing/2014/main" id="{04F35FED-5463-7446-B94B-5C6AB0FDEAD4}"/>
              </a:ext>
            </a:extLst>
          </p:cNvPr>
          <p:cNvSpPr>
            <a:spLocks noGrp="1"/>
          </p:cNvSpPr>
          <p:nvPr>
            <p:ph type="body" sz="quarter" idx="43" hasCustomPrompt="1"/>
          </p:nvPr>
        </p:nvSpPr>
        <p:spPr>
          <a:xfrm>
            <a:off x="2324848" y="3754867"/>
            <a:ext cx="1790669" cy="664645"/>
          </a:xfrm>
          <a:prstGeom prst="rect">
            <a:avLst/>
          </a:prstGeom>
        </p:spPr>
        <p:txBody>
          <a:bodyPr/>
          <a:lstStyle>
            <a:lvl1pPr marL="0" marR="0" indent="0" algn="l" defTabSz="967332" rtl="0" eaLnBrk="1" fontAlgn="auto" latinLnBrk="0" hangingPunct="1">
              <a:lnSpc>
                <a:spcPct val="100000"/>
              </a:lnSpc>
              <a:spcBef>
                <a:spcPts val="0"/>
              </a:spcBef>
              <a:spcAft>
                <a:spcPts val="0"/>
              </a:spcAft>
              <a:buClrTx/>
              <a:buSzTx/>
              <a:buFontTx/>
              <a:buNone/>
              <a:tabLst/>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LIST TEXT SLIDE</a:t>
            </a:r>
          </a:p>
          <a:p>
            <a:pPr lvl="0"/>
            <a:r>
              <a:rPr lang="en-GB" dirty="0"/>
              <a:t>LIST TEXT SLIDE</a:t>
            </a:r>
          </a:p>
          <a:p>
            <a:pPr lvl="0"/>
            <a:r>
              <a:rPr lang="en-GB" dirty="0"/>
              <a:t>LIST TEXT SLIDE</a:t>
            </a:r>
          </a:p>
        </p:txBody>
      </p:sp>
      <p:sp>
        <p:nvSpPr>
          <p:cNvPr id="45" name="Text Placeholder 13">
            <a:extLst>
              <a:ext uri="{FF2B5EF4-FFF2-40B4-BE49-F238E27FC236}">
                <a16:creationId xmlns:a16="http://schemas.microsoft.com/office/drawing/2014/main" id="{1CD1BB7F-5F50-EA43-B9AC-61FA6101C76E}"/>
              </a:ext>
            </a:extLst>
          </p:cNvPr>
          <p:cNvSpPr>
            <a:spLocks noGrp="1"/>
          </p:cNvSpPr>
          <p:nvPr>
            <p:ph type="body" sz="quarter" idx="44" hasCustomPrompt="1"/>
          </p:nvPr>
        </p:nvSpPr>
        <p:spPr>
          <a:xfrm>
            <a:off x="2324848" y="5796139"/>
            <a:ext cx="1790669" cy="664645"/>
          </a:xfrm>
          <a:prstGeom prst="rect">
            <a:avLst/>
          </a:prstGeom>
        </p:spPr>
        <p:txBody>
          <a:bodyPr/>
          <a:lstStyle>
            <a:lvl1pPr marL="0" marR="0" indent="0" algn="l" defTabSz="967332" rtl="0" eaLnBrk="1" fontAlgn="auto" latinLnBrk="0" hangingPunct="1">
              <a:lnSpc>
                <a:spcPct val="100000"/>
              </a:lnSpc>
              <a:spcBef>
                <a:spcPts val="0"/>
              </a:spcBef>
              <a:spcAft>
                <a:spcPts val="0"/>
              </a:spcAft>
              <a:buClrTx/>
              <a:buSzTx/>
              <a:buFontTx/>
              <a:buNone/>
              <a:tabLst/>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LIST TEXT SLIDE</a:t>
            </a:r>
          </a:p>
          <a:p>
            <a:pPr lvl="0"/>
            <a:r>
              <a:rPr lang="en-GB" dirty="0"/>
              <a:t>LIST TEXT SLIDE</a:t>
            </a:r>
          </a:p>
          <a:p>
            <a:pPr lvl="0"/>
            <a:r>
              <a:rPr lang="en-GB" dirty="0"/>
              <a:t>LIST TEXT SLIDE</a:t>
            </a:r>
          </a:p>
        </p:txBody>
      </p:sp>
      <p:sp>
        <p:nvSpPr>
          <p:cNvPr id="46" name="Text Placeholder 13">
            <a:extLst>
              <a:ext uri="{FF2B5EF4-FFF2-40B4-BE49-F238E27FC236}">
                <a16:creationId xmlns:a16="http://schemas.microsoft.com/office/drawing/2014/main" id="{359F3C84-0FE3-3243-8295-FAACAC9CF383}"/>
              </a:ext>
            </a:extLst>
          </p:cNvPr>
          <p:cNvSpPr>
            <a:spLocks noGrp="1"/>
          </p:cNvSpPr>
          <p:nvPr>
            <p:ph type="body" sz="quarter" idx="45" hasCustomPrompt="1"/>
          </p:nvPr>
        </p:nvSpPr>
        <p:spPr>
          <a:xfrm>
            <a:off x="8115124" y="3754867"/>
            <a:ext cx="1790669" cy="664645"/>
          </a:xfrm>
          <a:prstGeom prst="rect">
            <a:avLst/>
          </a:prstGeom>
        </p:spPr>
        <p:txBody>
          <a:bodyPr/>
          <a:lstStyle>
            <a:lvl1pPr marL="0" marR="0" indent="0" algn="l" defTabSz="967332" rtl="0" eaLnBrk="1" fontAlgn="auto" latinLnBrk="0" hangingPunct="1">
              <a:lnSpc>
                <a:spcPct val="100000"/>
              </a:lnSpc>
              <a:spcBef>
                <a:spcPts val="0"/>
              </a:spcBef>
              <a:spcAft>
                <a:spcPts val="0"/>
              </a:spcAft>
              <a:buClrTx/>
              <a:buSzTx/>
              <a:buFontTx/>
              <a:buNone/>
              <a:tabLst/>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LIST TEXT SLIDE</a:t>
            </a:r>
          </a:p>
          <a:p>
            <a:pPr lvl="0"/>
            <a:r>
              <a:rPr lang="en-GB" dirty="0"/>
              <a:t>LIST TEXT SLIDE</a:t>
            </a:r>
          </a:p>
          <a:p>
            <a:pPr lvl="0"/>
            <a:r>
              <a:rPr lang="en-GB" dirty="0"/>
              <a:t>LIST TEXT SLIDE</a:t>
            </a:r>
          </a:p>
        </p:txBody>
      </p:sp>
      <p:sp>
        <p:nvSpPr>
          <p:cNvPr id="47" name="Text Placeholder 13">
            <a:extLst>
              <a:ext uri="{FF2B5EF4-FFF2-40B4-BE49-F238E27FC236}">
                <a16:creationId xmlns:a16="http://schemas.microsoft.com/office/drawing/2014/main" id="{27591116-0285-B04A-85C5-54F43CE8EB68}"/>
              </a:ext>
            </a:extLst>
          </p:cNvPr>
          <p:cNvSpPr>
            <a:spLocks noGrp="1"/>
          </p:cNvSpPr>
          <p:nvPr>
            <p:ph type="body" sz="quarter" idx="46" hasCustomPrompt="1"/>
          </p:nvPr>
        </p:nvSpPr>
        <p:spPr>
          <a:xfrm>
            <a:off x="8115124" y="5796139"/>
            <a:ext cx="1790669" cy="664645"/>
          </a:xfrm>
          <a:prstGeom prst="rect">
            <a:avLst/>
          </a:prstGeom>
        </p:spPr>
        <p:txBody>
          <a:bodyPr/>
          <a:lstStyle>
            <a:lvl1pPr marL="0" marR="0" indent="0" algn="l" defTabSz="967332" rtl="0" eaLnBrk="1" fontAlgn="auto" latinLnBrk="0" hangingPunct="1">
              <a:lnSpc>
                <a:spcPct val="100000"/>
              </a:lnSpc>
              <a:spcBef>
                <a:spcPts val="0"/>
              </a:spcBef>
              <a:spcAft>
                <a:spcPts val="0"/>
              </a:spcAft>
              <a:buClrTx/>
              <a:buSzTx/>
              <a:buFontTx/>
              <a:buNone/>
              <a:tabLst/>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LIST TEXT SLIDE</a:t>
            </a:r>
          </a:p>
          <a:p>
            <a:pPr lvl="0"/>
            <a:r>
              <a:rPr lang="en-GB" dirty="0"/>
              <a:t>LIST TEXT SLIDE</a:t>
            </a:r>
          </a:p>
          <a:p>
            <a:pPr lvl="0"/>
            <a:r>
              <a:rPr lang="en-GB" dirty="0"/>
              <a:t>LIST TEXT SLIDE</a:t>
            </a:r>
          </a:p>
        </p:txBody>
      </p:sp>
    </p:spTree>
    <p:extLst>
      <p:ext uri="{BB962C8B-B14F-4D97-AF65-F5344CB8AC3E}">
        <p14:creationId xmlns:p14="http://schemas.microsoft.com/office/powerpoint/2010/main" val="812174395"/>
      </p:ext>
    </p:extLst>
  </p:cSld>
  <p:clrMapOvr>
    <a:masterClrMapping/>
  </p:clrMapOvr>
  <p:transition>
    <p:fade/>
  </p:transition>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Content">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B144694-7FC2-824B-ACAA-93D4B0E2FE77}"/>
              </a:ext>
            </a:extLst>
          </p:cNvPr>
          <p:cNvSpPr>
            <a:spLocks noGrp="1"/>
          </p:cNvSpPr>
          <p:nvPr>
            <p:ph type="body" sz="quarter" idx="11" hasCustomPrompt="1"/>
          </p:nvPr>
        </p:nvSpPr>
        <p:spPr>
          <a:xfrm>
            <a:off x="381317" y="1424123"/>
            <a:ext cx="5639093" cy="913952"/>
          </a:xfrm>
          <a:prstGeom prst="rect">
            <a:avLst/>
          </a:prstGeom>
        </p:spPr>
        <p:txBody>
          <a:bodyPr/>
          <a:lstStyle>
            <a:lvl1pPr marL="0" indent="0">
              <a:buFontTx/>
              <a:buNone/>
              <a:defRPr sz="359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ead text slide</a:t>
            </a:r>
            <a:endParaRPr lang="x-none" dirty="0"/>
          </a:p>
        </p:txBody>
      </p:sp>
      <p:sp>
        <p:nvSpPr>
          <p:cNvPr id="11" name="Text Placeholder 8">
            <a:extLst>
              <a:ext uri="{FF2B5EF4-FFF2-40B4-BE49-F238E27FC236}">
                <a16:creationId xmlns:a16="http://schemas.microsoft.com/office/drawing/2014/main" id="{498AB53B-2108-4743-AC4F-B1874EB3FB72}"/>
              </a:ext>
            </a:extLst>
          </p:cNvPr>
          <p:cNvSpPr>
            <a:spLocks noGrp="1"/>
          </p:cNvSpPr>
          <p:nvPr>
            <p:ph type="body" sz="quarter" idx="15" hasCustomPrompt="1"/>
          </p:nvPr>
        </p:nvSpPr>
        <p:spPr>
          <a:xfrm>
            <a:off x="381315" y="2476408"/>
            <a:ext cx="4686646" cy="426735"/>
          </a:xfrm>
          <a:prstGeom prst="rect">
            <a:avLst/>
          </a:prstGeom>
        </p:spPr>
        <p:txBody>
          <a:bodyPr/>
          <a:lstStyle>
            <a:lvl1pPr marL="0" indent="0">
              <a:buFontTx/>
              <a:buNone/>
              <a:defRPr sz="1905"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p>
        </p:txBody>
      </p:sp>
      <p:cxnSp>
        <p:nvCxnSpPr>
          <p:cNvPr id="8" name="Straight Connector 7">
            <a:extLst>
              <a:ext uri="{FF2B5EF4-FFF2-40B4-BE49-F238E27FC236}">
                <a16:creationId xmlns:a16="http://schemas.microsoft.com/office/drawing/2014/main" id="{F8DE9EE9-182D-4E45-8D06-E69B6D119999}"/>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10" name="Text Placeholder 13">
            <a:extLst>
              <a:ext uri="{FF2B5EF4-FFF2-40B4-BE49-F238E27FC236}">
                <a16:creationId xmlns:a16="http://schemas.microsoft.com/office/drawing/2014/main" id="{E9F005A9-80EA-F448-B480-B42CA8E154DA}"/>
              </a:ext>
            </a:extLst>
          </p:cNvPr>
          <p:cNvSpPr>
            <a:spLocks noGrp="1"/>
          </p:cNvSpPr>
          <p:nvPr>
            <p:ph type="body" sz="quarter" idx="14" hasCustomPrompt="1"/>
          </p:nvPr>
        </p:nvSpPr>
        <p:spPr>
          <a:xfrm>
            <a:off x="295484"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12" name="Slide Number Placeholder 1">
            <a:extLst>
              <a:ext uri="{FF2B5EF4-FFF2-40B4-BE49-F238E27FC236}">
                <a16:creationId xmlns:a16="http://schemas.microsoft.com/office/drawing/2014/main" id="{E54E0486-F9F5-7A4B-8D77-90BF9D5CC619}"/>
              </a:ext>
            </a:extLst>
          </p:cNvPr>
          <p:cNvSpPr txBox="1">
            <a:spLocks/>
          </p:cNvSpPr>
          <p:nvPr userDrawn="1"/>
        </p:nvSpPr>
        <p:spPr>
          <a:xfrm>
            <a:off x="11108818" y="395812"/>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8">
            <a:extLst>
              <a:ext uri="{FF2B5EF4-FFF2-40B4-BE49-F238E27FC236}">
                <a16:creationId xmlns:a16="http://schemas.microsoft.com/office/drawing/2014/main" id="{C5522A4A-85D5-7D4F-B104-DC1E4CB76B5B}"/>
              </a:ext>
            </a:extLst>
          </p:cNvPr>
          <p:cNvSpPr>
            <a:spLocks noGrp="1"/>
          </p:cNvSpPr>
          <p:nvPr>
            <p:ph type="body" sz="quarter" idx="26" hasCustomPrompt="1"/>
          </p:nvPr>
        </p:nvSpPr>
        <p:spPr>
          <a:xfrm>
            <a:off x="381316" y="5163795"/>
            <a:ext cx="4686646" cy="426735"/>
          </a:xfrm>
          <a:prstGeom prst="rect">
            <a:avLst/>
          </a:prstGeom>
        </p:spPr>
        <p:txBody>
          <a:bodyPr/>
          <a:lstStyle>
            <a:lvl1pPr marL="0" indent="0">
              <a:buFontTx/>
              <a:buNone/>
              <a:defRPr sz="1905" b="0" i="0">
                <a:solidFill>
                  <a:srgbClr val="E41910"/>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p>
        </p:txBody>
      </p:sp>
      <p:sp>
        <p:nvSpPr>
          <p:cNvPr id="17" name="Picture Placeholder 5">
            <a:extLst>
              <a:ext uri="{FF2B5EF4-FFF2-40B4-BE49-F238E27FC236}">
                <a16:creationId xmlns:a16="http://schemas.microsoft.com/office/drawing/2014/main" id="{20D27B0A-492E-FE46-BD33-E5439E44145F}"/>
              </a:ext>
            </a:extLst>
          </p:cNvPr>
          <p:cNvSpPr>
            <a:spLocks noGrp="1"/>
          </p:cNvSpPr>
          <p:nvPr>
            <p:ph type="pic" sz="quarter" idx="16"/>
          </p:nvPr>
        </p:nvSpPr>
        <p:spPr>
          <a:xfrm>
            <a:off x="9067571" y="1424123"/>
            <a:ext cx="2732623" cy="1929274"/>
          </a:xfrm>
          <a:prstGeom prst="rect">
            <a:avLst/>
          </a:prstGeom>
        </p:spPr>
        <p:txBody>
          <a:bodyPr anchor="ctr"/>
          <a:lstStyle>
            <a:lvl1pPr algn="ctr">
              <a:buFontTx/>
              <a:buNone/>
              <a:defRPr sz="2963"/>
            </a:lvl1pPr>
          </a:lstStyle>
          <a:p>
            <a:endParaRPr lang="x-none"/>
          </a:p>
        </p:txBody>
      </p:sp>
      <p:sp>
        <p:nvSpPr>
          <p:cNvPr id="18" name="Picture Placeholder 5">
            <a:extLst>
              <a:ext uri="{FF2B5EF4-FFF2-40B4-BE49-F238E27FC236}">
                <a16:creationId xmlns:a16="http://schemas.microsoft.com/office/drawing/2014/main" id="{62E12031-D7D1-794A-833C-26A9FD16281B}"/>
              </a:ext>
            </a:extLst>
          </p:cNvPr>
          <p:cNvSpPr>
            <a:spLocks noGrp="1"/>
          </p:cNvSpPr>
          <p:nvPr>
            <p:ph type="pic" sz="quarter" idx="27"/>
          </p:nvPr>
        </p:nvSpPr>
        <p:spPr>
          <a:xfrm>
            <a:off x="9082120" y="3519622"/>
            <a:ext cx="2732623" cy="1929274"/>
          </a:xfrm>
          <a:prstGeom prst="rect">
            <a:avLst/>
          </a:prstGeom>
        </p:spPr>
        <p:txBody>
          <a:bodyPr anchor="ctr"/>
          <a:lstStyle>
            <a:lvl1pPr algn="ctr">
              <a:buFontTx/>
              <a:buNone/>
              <a:defRPr sz="2963"/>
            </a:lvl1pPr>
          </a:lstStyle>
          <a:p>
            <a:endParaRPr lang="x-none"/>
          </a:p>
        </p:txBody>
      </p:sp>
      <p:cxnSp>
        <p:nvCxnSpPr>
          <p:cNvPr id="20" name="Straight Connector 19">
            <a:extLst>
              <a:ext uri="{FF2B5EF4-FFF2-40B4-BE49-F238E27FC236}">
                <a16:creationId xmlns:a16="http://schemas.microsoft.com/office/drawing/2014/main" id="{0474057F-E124-9547-ABAD-B42AA5B7B37B}"/>
              </a:ext>
            </a:extLst>
          </p:cNvPr>
          <p:cNvCxnSpPr>
            <a:cxnSpLocks/>
          </p:cNvCxnSpPr>
          <p:nvPr userDrawn="1"/>
        </p:nvCxnSpPr>
        <p:spPr>
          <a:xfrm>
            <a:off x="6171592" y="1401956"/>
            <a:ext cx="2743117" cy="0"/>
          </a:xfrm>
          <a:prstGeom prst="line">
            <a:avLst/>
          </a:prstGeom>
          <a:ln w="9525">
            <a:solidFill>
              <a:srgbClr val="D1D5DA"/>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B2AB1DB-971D-8747-BFAE-5CE0B3C7F392}"/>
              </a:ext>
            </a:extLst>
          </p:cNvPr>
          <p:cNvCxnSpPr>
            <a:cxnSpLocks/>
          </p:cNvCxnSpPr>
          <p:nvPr userDrawn="1"/>
        </p:nvCxnSpPr>
        <p:spPr>
          <a:xfrm>
            <a:off x="6171592" y="3512009"/>
            <a:ext cx="2743117" cy="0"/>
          </a:xfrm>
          <a:prstGeom prst="line">
            <a:avLst/>
          </a:prstGeom>
          <a:ln w="9525">
            <a:solidFill>
              <a:srgbClr val="D1D5DA"/>
            </a:solidFill>
          </a:ln>
        </p:spPr>
        <p:style>
          <a:lnRef idx="1">
            <a:schemeClr val="accent1"/>
          </a:lnRef>
          <a:fillRef idx="0">
            <a:schemeClr val="accent1"/>
          </a:fillRef>
          <a:effectRef idx="0">
            <a:schemeClr val="accent1"/>
          </a:effectRef>
          <a:fontRef idx="minor">
            <a:schemeClr val="tx1"/>
          </a:fontRef>
        </p:style>
      </p:cxnSp>
      <p:sp>
        <p:nvSpPr>
          <p:cNvPr id="26" name="Text Placeholder 8">
            <a:extLst>
              <a:ext uri="{FF2B5EF4-FFF2-40B4-BE49-F238E27FC236}">
                <a16:creationId xmlns:a16="http://schemas.microsoft.com/office/drawing/2014/main" id="{D7878CDD-7378-184E-8786-ED51770EBB33}"/>
              </a:ext>
            </a:extLst>
          </p:cNvPr>
          <p:cNvSpPr>
            <a:spLocks noGrp="1"/>
          </p:cNvSpPr>
          <p:nvPr>
            <p:ph type="body" sz="quarter" idx="28" hasCustomPrompt="1"/>
          </p:nvPr>
        </p:nvSpPr>
        <p:spPr>
          <a:xfrm>
            <a:off x="388591" y="3531888"/>
            <a:ext cx="4679372" cy="1474030"/>
          </a:xfrm>
          <a:prstGeom prst="rect">
            <a:avLst/>
          </a:prstGeom>
        </p:spPr>
        <p:txBody>
          <a:bodyPr/>
          <a:lstStyle>
            <a:lvl1pPr marL="0" indent="0">
              <a:buFontTx/>
              <a:buNone/>
              <a:defRPr sz="1376"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a:t>text</a:t>
            </a:r>
            <a:endParaRPr lang="x-none" dirty="0"/>
          </a:p>
        </p:txBody>
      </p:sp>
      <p:sp>
        <p:nvSpPr>
          <p:cNvPr id="27" name="Text Placeholder 13">
            <a:extLst>
              <a:ext uri="{FF2B5EF4-FFF2-40B4-BE49-F238E27FC236}">
                <a16:creationId xmlns:a16="http://schemas.microsoft.com/office/drawing/2014/main" id="{B1C9016C-BCCA-B845-8CCF-7A68B5C3D4AF}"/>
              </a:ext>
            </a:extLst>
          </p:cNvPr>
          <p:cNvSpPr>
            <a:spLocks noGrp="1"/>
          </p:cNvSpPr>
          <p:nvPr>
            <p:ph type="body" sz="quarter" idx="25" hasCustomPrompt="1"/>
          </p:nvPr>
        </p:nvSpPr>
        <p:spPr>
          <a:xfrm>
            <a:off x="10020017" y="6319801"/>
            <a:ext cx="1790667" cy="374160"/>
          </a:xfrm>
          <a:prstGeom prst="rect">
            <a:avLst/>
          </a:prstGeom>
        </p:spPr>
        <p:txBody>
          <a:bodyPr/>
          <a:lstStyle>
            <a:lvl1pPr marL="0" indent="0" algn="r">
              <a:buFontTx/>
              <a:buNone/>
              <a:defRPr sz="845"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sp>
        <p:nvSpPr>
          <p:cNvPr id="16" name="Text Placeholder 8">
            <a:extLst>
              <a:ext uri="{FF2B5EF4-FFF2-40B4-BE49-F238E27FC236}">
                <a16:creationId xmlns:a16="http://schemas.microsoft.com/office/drawing/2014/main" id="{9A93F06D-AAA5-0840-883D-A275989DDA82}"/>
              </a:ext>
            </a:extLst>
          </p:cNvPr>
          <p:cNvSpPr>
            <a:spLocks noGrp="1"/>
          </p:cNvSpPr>
          <p:nvPr>
            <p:ph type="body" sz="quarter" idx="29" hasCustomPrompt="1"/>
          </p:nvPr>
        </p:nvSpPr>
        <p:spPr>
          <a:xfrm>
            <a:off x="6171592" y="3577577"/>
            <a:ext cx="2732623" cy="804017"/>
          </a:xfrm>
          <a:prstGeom prst="rect">
            <a:avLst/>
          </a:prstGeom>
        </p:spPr>
        <p:txBody>
          <a:bodyPr/>
          <a:lstStyle>
            <a:lvl1pPr marL="0" indent="0">
              <a:buFontTx/>
              <a:buNone/>
              <a:defRPr lang="x-none" sz="1058" kern="1200" dirty="0">
                <a:solidFill>
                  <a:srgbClr val="7F8183"/>
                </a:solidFill>
                <a:latin typeface="+mn-lt"/>
                <a:ea typeface="+mn-ea"/>
                <a:cs typeface="+mn-cs"/>
              </a:defRPr>
            </a:lvl1pPr>
          </a:lstStyle>
          <a:p>
            <a:pPr lvl="0"/>
            <a:r>
              <a:rPr lang="en-US" dirty="0"/>
              <a:t>LIST TEXT SLIDE</a:t>
            </a:r>
            <a:endParaRPr lang="x-none" dirty="0"/>
          </a:p>
        </p:txBody>
      </p:sp>
      <p:sp>
        <p:nvSpPr>
          <p:cNvPr id="19" name="Text Placeholder 8">
            <a:extLst>
              <a:ext uri="{FF2B5EF4-FFF2-40B4-BE49-F238E27FC236}">
                <a16:creationId xmlns:a16="http://schemas.microsoft.com/office/drawing/2014/main" id="{7DFAF5D3-F8A2-0543-AD13-8CBE1B38E68E}"/>
              </a:ext>
            </a:extLst>
          </p:cNvPr>
          <p:cNvSpPr>
            <a:spLocks noGrp="1"/>
          </p:cNvSpPr>
          <p:nvPr>
            <p:ph type="body" sz="quarter" idx="30" hasCustomPrompt="1"/>
          </p:nvPr>
        </p:nvSpPr>
        <p:spPr>
          <a:xfrm>
            <a:off x="6171592" y="1519796"/>
            <a:ext cx="2732623" cy="804017"/>
          </a:xfrm>
          <a:prstGeom prst="rect">
            <a:avLst/>
          </a:prstGeom>
        </p:spPr>
        <p:txBody>
          <a:bodyPr/>
          <a:lstStyle>
            <a:lvl1pPr marL="0" indent="0">
              <a:buFontTx/>
              <a:buNone/>
              <a:defRPr lang="x-none" sz="1058" kern="1200" dirty="0">
                <a:solidFill>
                  <a:srgbClr val="7F8183"/>
                </a:solidFill>
                <a:latin typeface="+mn-lt"/>
                <a:ea typeface="+mn-ea"/>
                <a:cs typeface="+mn-cs"/>
              </a:defRPr>
            </a:lvl1pPr>
          </a:lstStyle>
          <a:p>
            <a:pPr lvl="0"/>
            <a:r>
              <a:rPr lang="en-US" dirty="0"/>
              <a:t>LIST TEXT SLIDE</a:t>
            </a:r>
            <a:endParaRPr lang="x-none" dirty="0"/>
          </a:p>
        </p:txBody>
      </p:sp>
    </p:spTree>
    <p:extLst>
      <p:ext uri="{BB962C8B-B14F-4D97-AF65-F5344CB8AC3E}">
        <p14:creationId xmlns:p14="http://schemas.microsoft.com/office/powerpoint/2010/main" val="3625215990"/>
      </p:ext>
    </p:extLst>
  </p:cSld>
  <p:clrMapOvr>
    <a:masterClrMapping/>
  </p:clrMapOvr>
  <p:transition>
    <p:fade/>
  </p:transition>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Content">
    <p:bg>
      <p:bgPr>
        <a:solidFill>
          <a:srgbClr val="FFFFFF"/>
        </a:soli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470952E2-095A-2E44-83CA-549CAE021D6A}"/>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12" name="Text Placeholder 13">
            <a:extLst>
              <a:ext uri="{FF2B5EF4-FFF2-40B4-BE49-F238E27FC236}">
                <a16:creationId xmlns:a16="http://schemas.microsoft.com/office/drawing/2014/main" id="{55B4424F-E9A4-B64A-A121-FAF1DC93A540}"/>
              </a:ext>
            </a:extLst>
          </p:cNvPr>
          <p:cNvSpPr>
            <a:spLocks noGrp="1"/>
          </p:cNvSpPr>
          <p:nvPr>
            <p:ph type="body" sz="quarter" idx="14" hasCustomPrompt="1"/>
          </p:nvPr>
        </p:nvSpPr>
        <p:spPr>
          <a:xfrm>
            <a:off x="295484"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14" name="Slide Number Placeholder 1">
            <a:extLst>
              <a:ext uri="{FF2B5EF4-FFF2-40B4-BE49-F238E27FC236}">
                <a16:creationId xmlns:a16="http://schemas.microsoft.com/office/drawing/2014/main" id="{D66A5C7E-634F-7E4E-A121-EAA66A298BFD}"/>
              </a:ext>
            </a:extLst>
          </p:cNvPr>
          <p:cNvSpPr txBox="1">
            <a:spLocks/>
          </p:cNvSpPr>
          <p:nvPr userDrawn="1"/>
        </p:nvSpPr>
        <p:spPr>
          <a:xfrm>
            <a:off x="11108818" y="395812"/>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17" name="Text Placeholder 8">
            <a:extLst>
              <a:ext uri="{FF2B5EF4-FFF2-40B4-BE49-F238E27FC236}">
                <a16:creationId xmlns:a16="http://schemas.microsoft.com/office/drawing/2014/main" id="{8DD911FC-486A-3949-80D0-AD9DA57ED579}"/>
              </a:ext>
            </a:extLst>
          </p:cNvPr>
          <p:cNvSpPr>
            <a:spLocks noGrp="1"/>
          </p:cNvSpPr>
          <p:nvPr>
            <p:ph type="body" sz="quarter" idx="11" hasCustomPrompt="1"/>
          </p:nvPr>
        </p:nvSpPr>
        <p:spPr>
          <a:xfrm>
            <a:off x="381317" y="888236"/>
            <a:ext cx="9485839" cy="777968"/>
          </a:xfrm>
          <a:prstGeom prst="rect">
            <a:avLst/>
          </a:prstGeom>
        </p:spPr>
        <p:txBody>
          <a:bodyPr/>
          <a:lstStyle>
            <a:lvl1pPr marL="0" indent="0">
              <a:buFontTx/>
              <a:buNone/>
              <a:defRPr sz="2538"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ist text slide</a:t>
            </a:r>
            <a:endParaRPr lang="x-none" dirty="0"/>
          </a:p>
        </p:txBody>
      </p:sp>
      <p:cxnSp>
        <p:nvCxnSpPr>
          <p:cNvPr id="21" name="Straight Connector 20">
            <a:extLst>
              <a:ext uri="{FF2B5EF4-FFF2-40B4-BE49-F238E27FC236}">
                <a16:creationId xmlns:a16="http://schemas.microsoft.com/office/drawing/2014/main" id="{50F420DA-FEA2-1346-9F42-53BB8EF03F1E}"/>
              </a:ext>
            </a:extLst>
          </p:cNvPr>
          <p:cNvCxnSpPr>
            <a:cxnSpLocks/>
          </p:cNvCxnSpPr>
          <p:nvPr userDrawn="1"/>
        </p:nvCxnSpPr>
        <p:spPr>
          <a:xfrm flipV="1">
            <a:off x="2171984" y="3353399"/>
            <a:ext cx="0" cy="3123230"/>
          </a:xfrm>
          <a:prstGeom prst="line">
            <a:avLst/>
          </a:prstGeom>
          <a:ln w="9525">
            <a:solidFill>
              <a:srgbClr val="D1D5DA"/>
            </a:solidFill>
          </a:ln>
        </p:spPr>
        <p:style>
          <a:lnRef idx="1">
            <a:schemeClr val="accent1"/>
          </a:lnRef>
          <a:fillRef idx="0">
            <a:schemeClr val="accent1"/>
          </a:fillRef>
          <a:effectRef idx="0">
            <a:schemeClr val="accent1"/>
          </a:effectRef>
          <a:fontRef idx="minor">
            <a:schemeClr val="tx1"/>
          </a:fontRef>
        </p:style>
      </p:cxnSp>
      <p:sp>
        <p:nvSpPr>
          <p:cNvPr id="26" name="Picture Placeholder 5">
            <a:extLst>
              <a:ext uri="{FF2B5EF4-FFF2-40B4-BE49-F238E27FC236}">
                <a16:creationId xmlns:a16="http://schemas.microsoft.com/office/drawing/2014/main" id="{51633BB1-389F-1144-8C7B-97796644B04D}"/>
              </a:ext>
            </a:extLst>
          </p:cNvPr>
          <p:cNvSpPr>
            <a:spLocks noGrp="1"/>
          </p:cNvSpPr>
          <p:nvPr>
            <p:ph type="pic" sz="quarter" idx="27"/>
          </p:nvPr>
        </p:nvSpPr>
        <p:spPr>
          <a:xfrm>
            <a:off x="381315" y="3514692"/>
            <a:ext cx="1641114" cy="1338431"/>
          </a:xfrm>
          <a:prstGeom prst="rect">
            <a:avLst/>
          </a:prstGeom>
        </p:spPr>
        <p:txBody>
          <a:bodyPr anchor="ctr"/>
          <a:lstStyle>
            <a:lvl1pPr algn="ctr">
              <a:buFontTx/>
              <a:buNone/>
              <a:defRPr sz="2963"/>
            </a:lvl1pPr>
          </a:lstStyle>
          <a:p>
            <a:endParaRPr lang="x-none"/>
          </a:p>
        </p:txBody>
      </p:sp>
      <p:cxnSp>
        <p:nvCxnSpPr>
          <p:cNvPr id="29" name="Straight Connector 28">
            <a:extLst>
              <a:ext uri="{FF2B5EF4-FFF2-40B4-BE49-F238E27FC236}">
                <a16:creationId xmlns:a16="http://schemas.microsoft.com/office/drawing/2014/main" id="{11C36B5D-585F-2A4A-BA6D-D2340411F9ED}"/>
              </a:ext>
            </a:extLst>
          </p:cNvPr>
          <p:cNvCxnSpPr>
            <a:cxnSpLocks/>
          </p:cNvCxnSpPr>
          <p:nvPr userDrawn="1"/>
        </p:nvCxnSpPr>
        <p:spPr>
          <a:xfrm flipV="1">
            <a:off x="4076879" y="3353399"/>
            <a:ext cx="0" cy="3133318"/>
          </a:xfrm>
          <a:prstGeom prst="line">
            <a:avLst/>
          </a:prstGeom>
          <a:ln w="9525">
            <a:solidFill>
              <a:srgbClr val="D1D5DA"/>
            </a:solidFill>
          </a:ln>
        </p:spPr>
        <p:style>
          <a:lnRef idx="1">
            <a:schemeClr val="accent1"/>
          </a:lnRef>
          <a:fillRef idx="0">
            <a:schemeClr val="accent1"/>
          </a:fillRef>
          <a:effectRef idx="0">
            <a:schemeClr val="accent1"/>
          </a:effectRef>
          <a:fontRef idx="minor">
            <a:schemeClr val="tx1"/>
          </a:fontRef>
        </p:style>
      </p:cxnSp>
      <p:sp>
        <p:nvSpPr>
          <p:cNvPr id="30" name="Picture Placeholder 5">
            <a:extLst>
              <a:ext uri="{FF2B5EF4-FFF2-40B4-BE49-F238E27FC236}">
                <a16:creationId xmlns:a16="http://schemas.microsoft.com/office/drawing/2014/main" id="{4C3700DC-A432-4B43-B826-E3A8F547B9E9}"/>
              </a:ext>
            </a:extLst>
          </p:cNvPr>
          <p:cNvSpPr>
            <a:spLocks noGrp="1"/>
          </p:cNvSpPr>
          <p:nvPr>
            <p:ph type="pic" sz="quarter" idx="28"/>
          </p:nvPr>
        </p:nvSpPr>
        <p:spPr>
          <a:xfrm>
            <a:off x="2338272" y="3514692"/>
            <a:ext cx="1641114" cy="1338431"/>
          </a:xfrm>
          <a:prstGeom prst="rect">
            <a:avLst/>
          </a:prstGeom>
        </p:spPr>
        <p:txBody>
          <a:bodyPr anchor="ctr"/>
          <a:lstStyle>
            <a:lvl1pPr algn="ctr">
              <a:buFontTx/>
              <a:buNone/>
              <a:defRPr sz="2963"/>
            </a:lvl1pPr>
          </a:lstStyle>
          <a:p>
            <a:endParaRPr lang="x-none"/>
          </a:p>
        </p:txBody>
      </p:sp>
      <p:cxnSp>
        <p:nvCxnSpPr>
          <p:cNvPr id="34" name="Straight Connector 33">
            <a:extLst>
              <a:ext uri="{FF2B5EF4-FFF2-40B4-BE49-F238E27FC236}">
                <a16:creationId xmlns:a16="http://schemas.microsoft.com/office/drawing/2014/main" id="{0F0ADDC1-EE47-1C4E-942C-58CC5BD7757A}"/>
              </a:ext>
            </a:extLst>
          </p:cNvPr>
          <p:cNvCxnSpPr>
            <a:cxnSpLocks/>
          </p:cNvCxnSpPr>
          <p:nvPr userDrawn="1"/>
        </p:nvCxnSpPr>
        <p:spPr>
          <a:xfrm flipV="1">
            <a:off x="6020423" y="3367949"/>
            <a:ext cx="0" cy="3123230"/>
          </a:xfrm>
          <a:prstGeom prst="line">
            <a:avLst/>
          </a:prstGeom>
          <a:ln w="9525">
            <a:solidFill>
              <a:srgbClr val="D1D5DA"/>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FECF624-364C-4340-8042-F2FE8E5EC0AD}"/>
              </a:ext>
            </a:extLst>
          </p:cNvPr>
          <p:cNvCxnSpPr>
            <a:cxnSpLocks/>
          </p:cNvCxnSpPr>
          <p:nvPr userDrawn="1"/>
        </p:nvCxnSpPr>
        <p:spPr>
          <a:xfrm flipV="1">
            <a:off x="7962260" y="3367949"/>
            <a:ext cx="0" cy="3133318"/>
          </a:xfrm>
          <a:prstGeom prst="line">
            <a:avLst/>
          </a:prstGeom>
          <a:ln w="9525">
            <a:solidFill>
              <a:srgbClr val="D1D5DA"/>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9A6A269A-8815-054F-85B6-22982CD32CF2}"/>
              </a:ext>
            </a:extLst>
          </p:cNvPr>
          <p:cNvCxnSpPr>
            <a:cxnSpLocks/>
          </p:cNvCxnSpPr>
          <p:nvPr userDrawn="1"/>
        </p:nvCxnSpPr>
        <p:spPr>
          <a:xfrm flipV="1">
            <a:off x="9868291" y="3382502"/>
            <a:ext cx="0" cy="3133318"/>
          </a:xfrm>
          <a:prstGeom prst="line">
            <a:avLst/>
          </a:prstGeom>
          <a:ln w="9525">
            <a:solidFill>
              <a:srgbClr val="D1D5DA"/>
            </a:solidFill>
          </a:ln>
        </p:spPr>
        <p:style>
          <a:lnRef idx="1">
            <a:schemeClr val="accent1"/>
          </a:lnRef>
          <a:fillRef idx="0">
            <a:schemeClr val="accent1"/>
          </a:fillRef>
          <a:effectRef idx="0">
            <a:schemeClr val="accent1"/>
          </a:effectRef>
          <a:fontRef idx="minor">
            <a:schemeClr val="tx1"/>
          </a:fontRef>
        </p:style>
      </p:cxnSp>
      <p:sp>
        <p:nvSpPr>
          <p:cNvPr id="37" name="Picture Placeholder 5">
            <a:extLst>
              <a:ext uri="{FF2B5EF4-FFF2-40B4-BE49-F238E27FC236}">
                <a16:creationId xmlns:a16="http://schemas.microsoft.com/office/drawing/2014/main" id="{764CD148-00F8-FE40-A2B3-8AB5A343BF30}"/>
              </a:ext>
            </a:extLst>
          </p:cNvPr>
          <p:cNvSpPr>
            <a:spLocks noGrp="1"/>
          </p:cNvSpPr>
          <p:nvPr>
            <p:ph type="pic" sz="quarter" idx="29"/>
          </p:nvPr>
        </p:nvSpPr>
        <p:spPr>
          <a:xfrm>
            <a:off x="4237029" y="3514692"/>
            <a:ext cx="1641114" cy="1338431"/>
          </a:xfrm>
          <a:prstGeom prst="rect">
            <a:avLst/>
          </a:prstGeom>
        </p:spPr>
        <p:txBody>
          <a:bodyPr anchor="ctr"/>
          <a:lstStyle>
            <a:lvl1pPr algn="ctr">
              <a:buFontTx/>
              <a:buNone/>
              <a:defRPr sz="2963"/>
            </a:lvl1pPr>
          </a:lstStyle>
          <a:p>
            <a:endParaRPr lang="x-none"/>
          </a:p>
        </p:txBody>
      </p:sp>
      <p:sp>
        <p:nvSpPr>
          <p:cNvPr id="38" name="Picture Placeholder 5">
            <a:extLst>
              <a:ext uri="{FF2B5EF4-FFF2-40B4-BE49-F238E27FC236}">
                <a16:creationId xmlns:a16="http://schemas.microsoft.com/office/drawing/2014/main" id="{5D40EB24-AD09-7F4C-969E-B3BE68A77155}"/>
              </a:ext>
            </a:extLst>
          </p:cNvPr>
          <p:cNvSpPr>
            <a:spLocks noGrp="1"/>
          </p:cNvSpPr>
          <p:nvPr>
            <p:ph type="pic" sz="quarter" idx="30"/>
          </p:nvPr>
        </p:nvSpPr>
        <p:spPr>
          <a:xfrm>
            <a:off x="6193985" y="3514692"/>
            <a:ext cx="1641114" cy="1338431"/>
          </a:xfrm>
          <a:prstGeom prst="rect">
            <a:avLst/>
          </a:prstGeom>
        </p:spPr>
        <p:txBody>
          <a:bodyPr anchor="ctr"/>
          <a:lstStyle>
            <a:lvl1pPr algn="ctr">
              <a:buFontTx/>
              <a:buNone/>
              <a:defRPr sz="2963"/>
            </a:lvl1pPr>
          </a:lstStyle>
          <a:p>
            <a:endParaRPr lang="x-none"/>
          </a:p>
        </p:txBody>
      </p:sp>
      <p:sp>
        <p:nvSpPr>
          <p:cNvPr id="39" name="Picture Placeholder 5">
            <a:extLst>
              <a:ext uri="{FF2B5EF4-FFF2-40B4-BE49-F238E27FC236}">
                <a16:creationId xmlns:a16="http://schemas.microsoft.com/office/drawing/2014/main" id="{FFF68ACD-A616-3844-9D66-B22C8BF8B734}"/>
              </a:ext>
            </a:extLst>
          </p:cNvPr>
          <p:cNvSpPr>
            <a:spLocks noGrp="1"/>
          </p:cNvSpPr>
          <p:nvPr>
            <p:ph type="pic" sz="quarter" idx="31"/>
          </p:nvPr>
        </p:nvSpPr>
        <p:spPr>
          <a:xfrm>
            <a:off x="8129117" y="3514692"/>
            <a:ext cx="1641114" cy="1338431"/>
          </a:xfrm>
          <a:prstGeom prst="rect">
            <a:avLst/>
          </a:prstGeom>
        </p:spPr>
        <p:txBody>
          <a:bodyPr anchor="ctr"/>
          <a:lstStyle>
            <a:lvl1pPr algn="ctr">
              <a:buFontTx/>
              <a:buNone/>
              <a:defRPr sz="2963"/>
            </a:lvl1pPr>
          </a:lstStyle>
          <a:p>
            <a:endParaRPr lang="x-none"/>
          </a:p>
        </p:txBody>
      </p:sp>
      <p:sp>
        <p:nvSpPr>
          <p:cNvPr id="40" name="Picture Placeholder 5">
            <a:extLst>
              <a:ext uri="{FF2B5EF4-FFF2-40B4-BE49-F238E27FC236}">
                <a16:creationId xmlns:a16="http://schemas.microsoft.com/office/drawing/2014/main" id="{5B0AA984-A5D6-B742-9BB7-E99EDDCB0F10}"/>
              </a:ext>
            </a:extLst>
          </p:cNvPr>
          <p:cNvSpPr>
            <a:spLocks noGrp="1"/>
          </p:cNvSpPr>
          <p:nvPr>
            <p:ph type="pic" sz="quarter" idx="32"/>
          </p:nvPr>
        </p:nvSpPr>
        <p:spPr>
          <a:xfrm>
            <a:off x="10035148" y="3514692"/>
            <a:ext cx="1641114" cy="1338431"/>
          </a:xfrm>
          <a:prstGeom prst="rect">
            <a:avLst/>
          </a:prstGeom>
        </p:spPr>
        <p:txBody>
          <a:bodyPr anchor="ctr"/>
          <a:lstStyle>
            <a:lvl1pPr algn="ctr">
              <a:buFontTx/>
              <a:buNone/>
              <a:defRPr sz="2963"/>
            </a:lvl1pPr>
          </a:lstStyle>
          <a:p>
            <a:endParaRPr lang="x-none"/>
          </a:p>
        </p:txBody>
      </p:sp>
      <p:sp>
        <p:nvSpPr>
          <p:cNvPr id="51" name="Text Placeholder 13">
            <a:extLst>
              <a:ext uri="{FF2B5EF4-FFF2-40B4-BE49-F238E27FC236}">
                <a16:creationId xmlns:a16="http://schemas.microsoft.com/office/drawing/2014/main" id="{14851BAA-B6AD-D245-823D-E08B4F2A8B53}"/>
              </a:ext>
            </a:extLst>
          </p:cNvPr>
          <p:cNvSpPr>
            <a:spLocks noGrp="1"/>
          </p:cNvSpPr>
          <p:nvPr>
            <p:ph type="body" sz="quarter" idx="25" hasCustomPrompt="1"/>
          </p:nvPr>
        </p:nvSpPr>
        <p:spPr>
          <a:xfrm>
            <a:off x="10020017" y="6319801"/>
            <a:ext cx="1790667" cy="374160"/>
          </a:xfrm>
          <a:prstGeom prst="rect">
            <a:avLst/>
          </a:prstGeom>
        </p:spPr>
        <p:txBody>
          <a:bodyPr/>
          <a:lstStyle>
            <a:lvl1pPr marL="0" indent="0" algn="r">
              <a:buFontTx/>
              <a:buNone/>
              <a:defRPr sz="845"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sp>
        <p:nvSpPr>
          <p:cNvPr id="3" name="Text Placeholder 2">
            <a:extLst>
              <a:ext uri="{FF2B5EF4-FFF2-40B4-BE49-F238E27FC236}">
                <a16:creationId xmlns:a16="http://schemas.microsoft.com/office/drawing/2014/main" id="{33BB5014-32B3-124F-9DB5-51C37BEAA849}"/>
              </a:ext>
            </a:extLst>
          </p:cNvPr>
          <p:cNvSpPr>
            <a:spLocks noGrp="1"/>
          </p:cNvSpPr>
          <p:nvPr>
            <p:ph type="body" sz="quarter" idx="44" hasCustomPrompt="1"/>
          </p:nvPr>
        </p:nvSpPr>
        <p:spPr>
          <a:xfrm>
            <a:off x="381317" y="5614291"/>
            <a:ext cx="1783949" cy="372973"/>
          </a:xfrm>
          <a:prstGeom prst="rect">
            <a:avLst/>
          </a:prstGeom>
        </p:spPr>
        <p:txBody>
          <a:bodyPr/>
          <a:lstStyle>
            <a:lvl1pPr>
              <a:buFontTx/>
              <a:buNone/>
              <a:defRPr sz="845">
                <a:solidFill>
                  <a:srgbClr val="7F8183"/>
                </a:solidFill>
              </a:defRPr>
            </a:lvl1pPr>
            <a:lvl2pPr>
              <a:buFontTx/>
              <a:buNone/>
              <a:defRPr/>
            </a:lvl2pPr>
            <a:lvl3pPr>
              <a:buFontTx/>
              <a:buNone/>
              <a:defRPr/>
            </a:lvl3pPr>
            <a:lvl4pPr>
              <a:buFontTx/>
              <a:buNone/>
              <a:defRPr/>
            </a:lvl4pPr>
            <a:lvl5pPr>
              <a:buFontTx/>
              <a:buNone/>
              <a:defRPr/>
            </a:lvl5pPr>
          </a:lstStyle>
          <a:p>
            <a:pPr lvl="0"/>
            <a:r>
              <a:rPr lang="en-US" sz="845" dirty="0"/>
              <a:t>LIST TEXT SLIDE</a:t>
            </a:r>
            <a:endParaRPr lang="x-none" dirty="0"/>
          </a:p>
        </p:txBody>
      </p:sp>
      <p:sp>
        <p:nvSpPr>
          <p:cNvPr id="55" name="Text Placeholder 2">
            <a:extLst>
              <a:ext uri="{FF2B5EF4-FFF2-40B4-BE49-F238E27FC236}">
                <a16:creationId xmlns:a16="http://schemas.microsoft.com/office/drawing/2014/main" id="{70E7893C-6B53-3B40-9CCB-4CD0797E0614}"/>
              </a:ext>
            </a:extLst>
          </p:cNvPr>
          <p:cNvSpPr>
            <a:spLocks noGrp="1"/>
          </p:cNvSpPr>
          <p:nvPr>
            <p:ph type="body" sz="quarter" idx="45" hasCustomPrompt="1"/>
          </p:nvPr>
        </p:nvSpPr>
        <p:spPr>
          <a:xfrm>
            <a:off x="2327570" y="5614291"/>
            <a:ext cx="1783949" cy="372973"/>
          </a:xfrm>
          <a:prstGeom prst="rect">
            <a:avLst/>
          </a:prstGeom>
        </p:spPr>
        <p:txBody>
          <a:bodyPr/>
          <a:lstStyle>
            <a:lvl1pPr>
              <a:buFontTx/>
              <a:buNone/>
              <a:defRPr sz="845">
                <a:solidFill>
                  <a:srgbClr val="7F8183"/>
                </a:solidFill>
              </a:defRPr>
            </a:lvl1pPr>
            <a:lvl2pPr>
              <a:buFontTx/>
              <a:buNone/>
              <a:defRPr/>
            </a:lvl2pPr>
            <a:lvl3pPr>
              <a:buFontTx/>
              <a:buNone/>
              <a:defRPr/>
            </a:lvl3pPr>
            <a:lvl4pPr>
              <a:buFontTx/>
              <a:buNone/>
              <a:defRPr/>
            </a:lvl4pPr>
            <a:lvl5pPr>
              <a:buFontTx/>
              <a:buNone/>
              <a:defRPr/>
            </a:lvl5pPr>
          </a:lstStyle>
          <a:p>
            <a:pPr lvl="0"/>
            <a:r>
              <a:rPr lang="en-US" sz="845" dirty="0"/>
              <a:t>LIST TEXT SLIDE</a:t>
            </a:r>
            <a:endParaRPr lang="x-none" dirty="0"/>
          </a:p>
        </p:txBody>
      </p:sp>
      <p:sp>
        <p:nvSpPr>
          <p:cNvPr id="56" name="Text Placeholder 2">
            <a:extLst>
              <a:ext uri="{FF2B5EF4-FFF2-40B4-BE49-F238E27FC236}">
                <a16:creationId xmlns:a16="http://schemas.microsoft.com/office/drawing/2014/main" id="{C353D03F-1C7E-CE4D-B6E1-C4A4483E7049}"/>
              </a:ext>
            </a:extLst>
          </p:cNvPr>
          <p:cNvSpPr>
            <a:spLocks noGrp="1"/>
          </p:cNvSpPr>
          <p:nvPr>
            <p:ph type="body" sz="quarter" idx="46" hasCustomPrompt="1"/>
          </p:nvPr>
        </p:nvSpPr>
        <p:spPr>
          <a:xfrm>
            <a:off x="4229337" y="5614291"/>
            <a:ext cx="1783949" cy="372973"/>
          </a:xfrm>
          <a:prstGeom prst="rect">
            <a:avLst/>
          </a:prstGeom>
        </p:spPr>
        <p:txBody>
          <a:bodyPr/>
          <a:lstStyle>
            <a:lvl1pPr>
              <a:buFontTx/>
              <a:buNone/>
              <a:defRPr sz="845">
                <a:solidFill>
                  <a:srgbClr val="7F8183"/>
                </a:solidFill>
              </a:defRPr>
            </a:lvl1pPr>
            <a:lvl2pPr>
              <a:buFontTx/>
              <a:buNone/>
              <a:defRPr/>
            </a:lvl2pPr>
            <a:lvl3pPr>
              <a:buFontTx/>
              <a:buNone/>
              <a:defRPr/>
            </a:lvl3pPr>
            <a:lvl4pPr>
              <a:buFontTx/>
              <a:buNone/>
              <a:defRPr/>
            </a:lvl4pPr>
            <a:lvl5pPr>
              <a:buFontTx/>
              <a:buNone/>
              <a:defRPr/>
            </a:lvl5pPr>
          </a:lstStyle>
          <a:p>
            <a:pPr lvl="0"/>
            <a:r>
              <a:rPr lang="en-US" sz="845" dirty="0"/>
              <a:t>LIST TEXT SLIDE</a:t>
            </a:r>
            <a:endParaRPr lang="x-none" dirty="0"/>
          </a:p>
        </p:txBody>
      </p:sp>
      <p:sp>
        <p:nvSpPr>
          <p:cNvPr id="57" name="Text Placeholder 2">
            <a:extLst>
              <a:ext uri="{FF2B5EF4-FFF2-40B4-BE49-F238E27FC236}">
                <a16:creationId xmlns:a16="http://schemas.microsoft.com/office/drawing/2014/main" id="{3337F8D4-84BD-FE42-A3A9-941C6CB1194E}"/>
              </a:ext>
            </a:extLst>
          </p:cNvPr>
          <p:cNvSpPr>
            <a:spLocks noGrp="1"/>
          </p:cNvSpPr>
          <p:nvPr>
            <p:ph type="body" sz="quarter" idx="47" hasCustomPrompt="1"/>
          </p:nvPr>
        </p:nvSpPr>
        <p:spPr>
          <a:xfrm>
            <a:off x="6175589" y="5614291"/>
            <a:ext cx="1783949" cy="372973"/>
          </a:xfrm>
          <a:prstGeom prst="rect">
            <a:avLst/>
          </a:prstGeom>
        </p:spPr>
        <p:txBody>
          <a:bodyPr/>
          <a:lstStyle>
            <a:lvl1pPr>
              <a:buFontTx/>
              <a:buNone/>
              <a:defRPr sz="845">
                <a:solidFill>
                  <a:srgbClr val="7F8183"/>
                </a:solidFill>
              </a:defRPr>
            </a:lvl1pPr>
            <a:lvl2pPr>
              <a:buFontTx/>
              <a:buNone/>
              <a:defRPr/>
            </a:lvl2pPr>
            <a:lvl3pPr>
              <a:buFontTx/>
              <a:buNone/>
              <a:defRPr/>
            </a:lvl3pPr>
            <a:lvl4pPr>
              <a:buFontTx/>
              <a:buNone/>
              <a:defRPr/>
            </a:lvl4pPr>
            <a:lvl5pPr>
              <a:buFontTx/>
              <a:buNone/>
              <a:defRPr/>
            </a:lvl5pPr>
          </a:lstStyle>
          <a:p>
            <a:pPr lvl="0"/>
            <a:r>
              <a:rPr lang="en-US" sz="845" dirty="0"/>
              <a:t>LIST TEXT SLIDE</a:t>
            </a:r>
            <a:endParaRPr lang="x-none" dirty="0"/>
          </a:p>
        </p:txBody>
      </p:sp>
      <p:sp>
        <p:nvSpPr>
          <p:cNvPr id="58" name="Text Placeholder 2">
            <a:extLst>
              <a:ext uri="{FF2B5EF4-FFF2-40B4-BE49-F238E27FC236}">
                <a16:creationId xmlns:a16="http://schemas.microsoft.com/office/drawing/2014/main" id="{D78732E4-A209-8549-BF80-46348B740FB2}"/>
              </a:ext>
            </a:extLst>
          </p:cNvPr>
          <p:cNvSpPr>
            <a:spLocks noGrp="1"/>
          </p:cNvSpPr>
          <p:nvPr>
            <p:ph type="body" sz="quarter" idx="48" hasCustomPrompt="1"/>
          </p:nvPr>
        </p:nvSpPr>
        <p:spPr>
          <a:xfrm>
            <a:off x="8121842" y="5614291"/>
            <a:ext cx="1641694" cy="372973"/>
          </a:xfrm>
          <a:prstGeom prst="rect">
            <a:avLst/>
          </a:prstGeom>
        </p:spPr>
        <p:txBody>
          <a:bodyPr/>
          <a:lstStyle>
            <a:lvl1pPr>
              <a:buFontTx/>
              <a:buNone/>
              <a:defRPr sz="845">
                <a:solidFill>
                  <a:srgbClr val="7F8183"/>
                </a:solidFill>
              </a:defRPr>
            </a:lvl1pPr>
            <a:lvl2pPr>
              <a:buFontTx/>
              <a:buNone/>
              <a:defRPr/>
            </a:lvl2pPr>
            <a:lvl3pPr>
              <a:buFontTx/>
              <a:buNone/>
              <a:defRPr/>
            </a:lvl3pPr>
            <a:lvl4pPr>
              <a:buFontTx/>
              <a:buNone/>
              <a:defRPr/>
            </a:lvl4pPr>
            <a:lvl5pPr>
              <a:buFontTx/>
              <a:buNone/>
              <a:defRPr/>
            </a:lvl5pPr>
          </a:lstStyle>
          <a:p>
            <a:pPr lvl="0"/>
            <a:r>
              <a:rPr lang="en-US" sz="845" dirty="0"/>
              <a:t>LIST TEXT SLIDE</a:t>
            </a:r>
            <a:endParaRPr lang="x-none" dirty="0"/>
          </a:p>
        </p:txBody>
      </p:sp>
      <p:sp>
        <p:nvSpPr>
          <p:cNvPr id="59" name="Text Placeholder 2">
            <a:extLst>
              <a:ext uri="{FF2B5EF4-FFF2-40B4-BE49-F238E27FC236}">
                <a16:creationId xmlns:a16="http://schemas.microsoft.com/office/drawing/2014/main" id="{AB3D9B9F-A9DA-6748-9B2E-2A7FAAF395B1}"/>
              </a:ext>
            </a:extLst>
          </p:cNvPr>
          <p:cNvSpPr>
            <a:spLocks noGrp="1"/>
          </p:cNvSpPr>
          <p:nvPr>
            <p:ph type="body" sz="quarter" idx="49" hasCustomPrompt="1"/>
          </p:nvPr>
        </p:nvSpPr>
        <p:spPr>
          <a:xfrm>
            <a:off x="10023609" y="5614291"/>
            <a:ext cx="1641694" cy="372973"/>
          </a:xfrm>
          <a:prstGeom prst="rect">
            <a:avLst/>
          </a:prstGeom>
        </p:spPr>
        <p:txBody>
          <a:bodyPr/>
          <a:lstStyle>
            <a:lvl1pPr>
              <a:buFontTx/>
              <a:buNone/>
              <a:defRPr sz="845">
                <a:solidFill>
                  <a:srgbClr val="7F8183"/>
                </a:solidFill>
              </a:defRPr>
            </a:lvl1pPr>
            <a:lvl2pPr>
              <a:buFontTx/>
              <a:buNone/>
              <a:defRPr/>
            </a:lvl2pPr>
            <a:lvl3pPr>
              <a:buFontTx/>
              <a:buNone/>
              <a:defRPr/>
            </a:lvl3pPr>
            <a:lvl4pPr>
              <a:buFontTx/>
              <a:buNone/>
              <a:defRPr/>
            </a:lvl4pPr>
            <a:lvl5pPr>
              <a:buFontTx/>
              <a:buNone/>
              <a:defRPr/>
            </a:lvl5pPr>
          </a:lstStyle>
          <a:p>
            <a:pPr lvl="0"/>
            <a:r>
              <a:rPr lang="en-US" sz="845" dirty="0"/>
              <a:t>LIST TEXT SLIDE</a:t>
            </a:r>
            <a:endParaRPr lang="x-none" dirty="0"/>
          </a:p>
        </p:txBody>
      </p:sp>
      <p:sp>
        <p:nvSpPr>
          <p:cNvPr id="31" name="Text Placeholder 8">
            <a:extLst>
              <a:ext uri="{FF2B5EF4-FFF2-40B4-BE49-F238E27FC236}">
                <a16:creationId xmlns:a16="http://schemas.microsoft.com/office/drawing/2014/main" id="{0792B98F-E053-9B41-A695-D88F2071F37F}"/>
              </a:ext>
            </a:extLst>
          </p:cNvPr>
          <p:cNvSpPr>
            <a:spLocks noGrp="1"/>
          </p:cNvSpPr>
          <p:nvPr>
            <p:ph type="body" sz="quarter" idx="15" hasCustomPrompt="1"/>
          </p:nvPr>
        </p:nvSpPr>
        <p:spPr>
          <a:xfrm>
            <a:off x="381317" y="1955554"/>
            <a:ext cx="9485839" cy="913952"/>
          </a:xfrm>
          <a:prstGeom prst="rect">
            <a:avLst/>
          </a:prstGeom>
        </p:spPr>
        <p:txBody>
          <a:bodyPr anchor="t"/>
          <a:lstStyle>
            <a:lvl1pPr marL="0" indent="0">
              <a:buFontTx/>
              <a:buNone/>
              <a:defRPr sz="1376"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p>
        </p:txBody>
      </p:sp>
      <p:sp>
        <p:nvSpPr>
          <p:cNvPr id="32" name="Text Placeholder 8">
            <a:extLst>
              <a:ext uri="{FF2B5EF4-FFF2-40B4-BE49-F238E27FC236}">
                <a16:creationId xmlns:a16="http://schemas.microsoft.com/office/drawing/2014/main" id="{844FC93D-94CE-FA4A-8AB4-A75C81CF62E8}"/>
              </a:ext>
            </a:extLst>
          </p:cNvPr>
          <p:cNvSpPr>
            <a:spLocks noGrp="1"/>
          </p:cNvSpPr>
          <p:nvPr>
            <p:ph type="body" sz="quarter" idx="26" hasCustomPrompt="1"/>
          </p:nvPr>
        </p:nvSpPr>
        <p:spPr>
          <a:xfrm>
            <a:off x="388592" y="4873388"/>
            <a:ext cx="1776119" cy="292005"/>
          </a:xfrm>
          <a:prstGeom prst="rect">
            <a:avLst/>
          </a:prstGeom>
        </p:spPr>
        <p:txBody>
          <a:bodyPr anchor="t"/>
          <a:lstStyle>
            <a:lvl1pPr marL="0" indent="0">
              <a:buFontTx/>
              <a:buNone/>
              <a:defRPr sz="1164"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p>
        </p:txBody>
      </p:sp>
      <p:sp>
        <p:nvSpPr>
          <p:cNvPr id="33" name="Text Placeholder 8">
            <a:extLst>
              <a:ext uri="{FF2B5EF4-FFF2-40B4-BE49-F238E27FC236}">
                <a16:creationId xmlns:a16="http://schemas.microsoft.com/office/drawing/2014/main" id="{093E4E4E-81A6-1947-A3A0-3A9BB955324A}"/>
              </a:ext>
            </a:extLst>
          </p:cNvPr>
          <p:cNvSpPr>
            <a:spLocks noGrp="1"/>
          </p:cNvSpPr>
          <p:nvPr>
            <p:ph type="body" sz="quarter" idx="33" hasCustomPrompt="1"/>
          </p:nvPr>
        </p:nvSpPr>
        <p:spPr>
          <a:xfrm>
            <a:off x="2338273" y="4873388"/>
            <a:ext cx="1776119" cy="292005"/>
          </a:xfrm>
          <a:prstGeom prst="rect">
            <a:avLst/>
          </a:prstGeom>
        </p:spPr>
        <p:txBody>
          <a:bodyPr anchor="t"/>
          <a:lstStyle>
            <a:lvl1pPr marL="0" indent="0">
              <a:buFontTx/>
              <a:buNone/>
              <a:defRPr sz="1164"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p>
        </p:txBody>
      </p:sp>
      <p:sp>
        <p:nvSpPr>
          <p:cNvPr id="42" name="Text Placeholder 8">
            <a:extLst>
              <a:ext uri="{FF2B5EF4-FFF2-40B4-BE49-F238E27FC236}">
                <a16:creationId xmlns:a16="http://schemas.microsoft.com/office/drawing/2014/main" id="{92906C78-7CBE-BD4F-A712-5984395875D6}"/>
              </a:ext>
            </a:extLst>
          </p:cNvPr>
          <p:cNvSpPr>
            <a:spLocks noGrp="1"/>
          </p:cNvSpPr>
          <p:nvPr>
            <p:ph type="body" sz="quarter" idx="34" hasCustomPrompt="1"/>
          </p:nvPr>
        </p:nvSpPr>
        <p:spPr>
          <a:xfrm>
            <a:off x="4244305" y="4873388"/>
            <a:ext cx="1776119" cy="292005"/>
          </a:xfrm>
          <a:prstGeom prst="rect">
            <a:avLst/>
          </a:prstGeom>
        </p:spPr>
        <p:txBody>
          <a:bodyPr anchor="t"/>
          <a:lstStyle>
            <a:lvl1pPr marL="0" indent="0">
              <a:buFontTx/>
              <a:buNone/>
              <a:defRPr sz="1164"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p>
        </p:txBody>
      </p:sp>
      <p:sp>
        <p:nvSpPr>
          <p:cNvPr id="44" name="Text Placeholder 8">
            <a:extLst>
              <a:ext uri="{FF2B5EF4-FFF2-40B4-BE49-F238E27FC236}">
                <a16:creationId xmlns:a16="http://schemas.microsoft.com/office/drawing/2014/main" id="{1535D0ED-197B-6943-B155-922CD6C35DB8}"/>
              </a:ext>
            </a:extLst>
          </p:cNvPr>
          <p:cNvSpPr>
            <a:spLocks noGrp="1"/>
          </p:cNvSpPr>
          <p:nvPr>
            <p:ph type="body" sz="quarter" idx="35" hasCustomPrompt="1"/>
          </p:nvPr>
        </p:nvSpPr>
        <p:spPr>
          <a:xfrm>
            <a:off x="6179437" y="4873388"/>
            <a:ext cx="1776119" cy="292005"/>
          </a:xfrm>
          <a:prstGeom prst="rect">
            <a:avLst/>
          </a:prstGeom>
        </p:spPr>
        <p:txBody>
          <a:bodyPr anchor="t"/>
          <a:lstStyle>
            <a:lvl1pPr marL="0" indent="0">
              <a:buFontTx/>
              <a:buNone/>
              <a:defRPr sz="1164"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p>
        </p:txBody>
      </p:sp>
      <p:sp>
        <p:nvSpPr>
          <p:cNvPr id="46" name="Text Placeholder 8">
            <a:extLst>
              <a:ext uri="{FF2B5EF4-FFF2-40B4-BE49-F238E27FC236}">
                <a16:creationId xmlns:a16="http://schemas.microsoft.com/office/drawing/2014/main" id="{ABE019FB-8D6D-954A-8A33-C742E888B23C}"/>
              </a:ext>
            </a:extLst>
          </p:cNvPr>
          <p:cNvSpPr>
            <a:spLocks noGrp="1"/>
          </p:cNvSpPr>
          <p:nvPr>
            <p:ph type="body" sz="quarter" idx="36" hasCustomPrompt="1"/>
          </p:nvPr>
        </p:nvSpPr>
        <p:spPr>
          <a:xfrm>
            <a:off x="8129119" y="4873388"/>
            <a:ext cx="1634419" cy="292005"/>
          </a:xfrm>
          <a:prstGeom prst="rect">
            <a:avLst/>
          </a:prstGeom>
        </p:spPr>
        <p:txBody>
          <a:bodyPr anchor="t"/>
          <a:lstStyle>
            <a:lvl1pPr marL="0" indent="0">
              <a:buFontTx/>
              <a:buNone/>
              <a:defRPr sz="1164"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p>
        </p:txBody>
      </p:sp>
      <p:sp>
        <p:nvSpPr>
          <p:cNvPr id="48" name="Text Placeholder 8">
            <a:extLst>
              <a:ext uri="{FF2B5EF4-FFF2-40B4-BE49-F238E27FC236}">
                <a16:creationId xmlns:a16="http://schemas.microsoft.com/office/drawing/2014/main" id="{5E7DC241-A9BE-A846-8179-1BB3D5F402B5}"/>
              </a:ext>
            </a:extLst>
          </p:cNvPr>
          <p:cNvSpPr>
            <a:spLocks noGrp="1"/>
          </p:cNvSpPr>
          <p:nvPr>
            <p:ph type="body" sz="quarter" idx="37" hasCustomPrompt="1"/>
          </p:nvPr>
        </p:nvSpPr>
        <p:spPr>
          <a:xfrm>
            <a:off x="10027875" y="4873388"/>
            <a:ext cx="1634419" cy="292005"/>
          </a:xfrm>
          <a:prstGeom prst="rect">
            <a:avLst/>
          </a:prstGeom>
        </p:spPr>
        <p:txBody>
          <a:bodyPr anchor="t"/>
          <a:lstStyle>
            <a:lvl1pPr marL="0" indent="0">
              <a:buFontTx/>
              <a:buNone/>
              <a:defRPr sz="1164"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p>
        </p:txBody>
      </p:sp>
    </p:spTree>
    <p:extLst>
      <p:ext uri="{BB962C8B-B14F-4D97-AF65-F5344CB8AC3E}">
        <p14:creationId xmlns:p14="http://schemas.microsoft.com/office/powerpoint/2010/main" val="397337688"/>
      </p:ext>
    </p:extLst>
  </p:cSld>
  <p:clrMapOvr>
    <a:masterClrMapping/>
  </p:clrMapOvr>
  <p:transition>
    <p:fade/>
  </p:transition>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6_Content">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B144694-7FC2-824B-ACAA-93D4B0E2FE77}"/>
              </a:ext>
            </a:extLst>
          </p:cNvPr>
          <p:cNvSpPr>
            <a:spLocks noGrp="1"/>
          </p:cNvSpPr>
          <p:nvPr>
            <p:ph type="body" sz="quarter" idx="11" hasCustomPrompt="1"/>
          </p:nvPr>
        </p:nvSpPr>
        <p:spPr>
          <a:xfrm>
            <a:off x="1341037" y="4534482"/>
            <a:ext cx="9478565" cy="913951"/>
          </a:xfrm>
          <a:prstGeom prst="rect">
            <a:avLst/>
          </a:prstGeom>
        </p:spPr>
        <p:txBody>
          <a:bodyPr/>
          <a:lstStyle>
            <a:lvl1pPr marL="0" indent="0" algn="ctr">
              <a:buFontTx/>
              <a:buNone/>
              <a:defRPr sz="253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ist text slide</a:t>
            </a:r>
            <a:endParaRPr lang="x-none" dirty="0"/>
          </a:p>
        </p:txBody>
      </p:sp>
      <p:sp>
        <p:nvSpPr>
          <p:cNvPr id="3" name="Picture Placeholder 2">
            <a:extLst>
              <a:ext uri="{FF2B5EF4-FFF2-40B4-BE49-F238E27FC236}">
                <a16:creationId xmlns:a16="http://schemas.microsoft.com/office/drawing/2014/main" id="{6DB3FB19-848E-CB42-A250-50BFE3733C90}"/>
              </a:ext>
            </a:extLst>
          </p:cNvPr>
          <p:cNvSpPr>
            <a:spLocks noGrp="1"/>
          </p:cNvSpPr>
          <p:nvPr>
            <p:ph type="pic" sz="quarter" idx="21"/>
          </p:nvPr>
        </p:nvSpPr>
        <p:spPr>
          <a:xfrm>
            <a:off x="1333764" y="1409572"/>
            <a:ext cx="1790669" cy="1943827"/>
          </a:xfrm>
          <a:prstGeom prst="rect">
            <a:avLst/>
          </a:prstGeom>
        </p:spPr>
        <p:txBody>
          <a:bodyPr anchor="ctr"/>
          <a:lstStyle>
            <a:lvl1pPr algn="ctr">
              <a:buFontTx/>
              <a:buNone/>
              <a:defRPr sz="2115" b="1"/>
            </a:lvl1pPr>
          </a:lstStyle>
          <a:p>
            <a:endParaRPr lang="x-none" dirty="0"/>
          </a:p>
        </p:txBody>
      </p:sp>
      <p:sp>
        <p:nvSpPr>
          <p:cNvPr id="16" name="Picture Placeholder 2">
            <a:extLst>
              <a:ext uri="{FF2B5EF4-FFF2-40B4-BE49-F238E27FC236}">
                <a16:creationId xmlns:a16="http://schemas.microsoft.com/office/drawing/2014/main" id="{133D6222-9800-8D43-9D80-0E2EC5A8DC6D}"/>
              </a:ext>
            </a:extLst>
          </p:cNvPr>
          <p:cNvSpPr>
            <a:spLocks noGrp="1"/>
          </p:cNvSpPr>
          <p:nvPr>
            <p:ph type="pic" sz="quarter" idx="22"/>
          </p:nvPr>
        </p:nvSpPr>
        <p:spPr>
          <a:xfrm>
            <a:off x="5219145" y="1409572"/>
            <a:ext cx="1790669" cy="1943827"/>
          </a:xfrm>
          <a:prstGeom prst="rect">
            <a:avLst/>
          </a:prstGeom>
        </p:spPr>
        <p:txBody>
          <a:bodyPr anchor="ctr"/>
          <a:lstStyle>
            <a:lvl1pPr algn="ctr">
              <a:buFontTx/>
              <a:buNone/>
              <a:defRPr sz="2115" b="1"/>
            </a:lvl1pPr>
          </a:lstStyle>
          <a:p>
            <a:endParaRPr lang="x-none" dirty="0"/>
          </a:p>
        </p:txBody>
      </p:sp>
      <p:sp>
        <p:nvSpPr>
          <p:cNvPr id="18" name="Picture Placeholder 2">
            <a:extLst>
              <a:ext uri="{FF2B5EF4-FFF2-40B4-BE49-F238E27FC236}">
                <a16:creationId xmlns:a16="http://schemas.microsoft.com/office/drawing/2014/main" id="{BBB33A9A-57E1-A549-8745-8EC438FB048B}"/>
              </a:ext>
            </a:extLst>
          </p:cNvPr>
          <p:cNvSpPr>
            <a:spLocks noGrp="1"/>
          </p:cNvSpPr>
          <p:nvPr>
            <p:ph type="pic" sz="quarter" idx="23"/>
          </p:nvPr>
        </p:nvSpPr>
        <p:spPr>
          <a:xfrm>
            <a:off x="9067571" y="1409571"/>
            <a:ext cx="1752033" cy="1943826"/>
          </a:xfrm>
          <a:prstGeom prst="rect">
            <a:avLst/>
          </a:prstGeom>
        </p:spPr>
        <p:txBody>
          <a:bodyPr anchor="ctr"/>
          <a:lstStyle>
            <a:lvl1pPr algn="ctr">
              <a:buFontTx/>
              <a:buNone/>
              <a:defRPr sz="2115" b="1"/>
            </a:lvl1pPr>
          </a:lstStyle>
          <a:p>
            <a:endParaRPr lang="x-none" dirty="0"/>
          </a:p>
        </p:txBody>
      </p:sp>
      <p:sp>
        <p:nvSpPr>
          <p:cNvPr id="19" name="Text Placeholder 8">
            <a:extLst>
              <a:ext uri="{FF2B5EF4-FFF2-40B4-BE49-F238E27FC236}">
                <a16:creationId xmlns:a16="http://schemas.microsoft.com/office/drawing/2014/main" id="{9B905518-2D7F-0240-A1D8-DA8BBE84B016}"/>
              </a:ext>
            </a:extLst>
          </p:cNvPr>
          <p:cNvSpPr>
            <a:spLocks noGrp="1"/>
          </p:cNvSpPr>
          <p:nvPr>
            <p:ph type="body" sz="quarter" idx="26" hasCustomPrompt="1"/>
          </p:nvPr>
        </p:nvSpPr>
        <p:spPr>
          <a:xfrm>
            <a:off x="1341037" y="5608591"/>
            <a:ext cx="9478565" cy="386414"/>
          </a:xfrm>
          <a:prstGeom prst="rect">
            <a:avLst/>
          </a:prstGeom>
        </p:spPr>
        <p:txBody>
          <a:bodyPr anchor="b"/>
          <a:lstStyle>
            <a:lvl1pPr marL="0" indent="0" algn="ctr">
              <a:buFontTx/>
              <a:buNone/>
              <a:defRPr sz="1164"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p>
        </p:txBody>
      </p:sp>
      <p:cxnSp>
        <p:nvCxnSpPr>
          <p:cNvPr id="21" name="Straight Connector 20">
            <a:extLst>
              <a:ext uri="{FF2B5EF4-FFF2-40B4-BE49-F238E27FC236}">
                <a16:creationId xmlns:a16="http://schemas.microsoft.com/office/drawing/2014/main" id="{5E3C393C-3885-0E44-A85A-ECDB39A626E4}"/>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24" name="Text Placeholder 13">
            <a:extLst>
              <a:ext uri="{FF2B5EF4-FFF2-40B4-BE49-F238E27FC236}">
                <a16:creationId xmlns:a16="http://schemas.microsoft.com/office/drawing/2014/main" id="{E231F51B-9E6C-E842-B5E8-31A30E7C1E39}"/>
              </a:ext>
            </a:extLst>
          </p:cNvPr>
          <p:cNvSpPr>
            <a:spLocks noGrp="1"/>
          </p:cNvSpPr>
          <p:nvPr>
            <p:ph type="body" sz="quarter" idx="14" hasCustomPrompt="1"/>
          </p:nvPr>
        </p:nvSpPr>
        <p:spPr>
          <a:xfrm>
            <a:off x="295484"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25" name="Slide Number Placeholder 1">
            <a:extLst>
              <a:ext uri="{FF2B5EF4-FFF2-40B4-BE49-F238E27FC236}">
                <a16:creationId xmlns:a16="http://schemas.microsoft.com/office/drawing/2014/main" id="{C9BAF930-1688-BF49-BE52-26E5F367F213}"/>
              </a:ext>
            </a:extLst>
          </p:cNvPr>
          <p:cNvSpPr txBox="1">
            <a:spLocks/>
          </p:cNvSpPr>
          <p:nvPr userDrawn="1"/>
        </p:nvSpPr>
        <p:spPr>
          <a:xfrm>
            <a:off x="11108818" y="395812"/>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27" name="Text Placeholder 13">
            <a:extLst>
              <a:ext uri="{FF2B5EF4-FFF2-40B4-BE49-F238E27FC236}">
                <a16:creationId xmlns:a16="http://schemas.microsoft.com/office/drawing/2014/main" id="{DD0DB3B0-9E26-FD42-8EF7-C67E9992F4BB}"/>
              </a:ext>
            </a:extLst>
          </p:cNvPr>
          <p:cNvSpPr>
            <a:spLocks noGrp="1"/>
          </p:cNvSpPr>
          <p:nvPr>
            <p:ph type="body" sz="quarter" idx="25" hasCustomPrompt="1"/>
          </p:nvPr>
        </p:nvSpPr>
        <p:spPr>
          <a:xfrm>
            <a:off x="10020017" y="6319801"/>
            <a:ext cx="1790667" cy="374160"/>
          </a:xfrm>
          <a:prstGeom prst="rect">
            <a:avLst/>
          </a:prstGeom>
        </p:spPr>
        <p:txBody>
          <a:bodyPr/>
          <a:lstStyle>
            <a:lvl1pPr marL="0" indent="0" algn="r">
              <a:buFontTx/>
              <a:buNone/>
              <a:defRPr sz="845"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sp>
        <p:nvSpPr>
          <p:cNvPr id="14" name="Text Placeholder 2">
            <a:extLst>
              <a:ext uri="{FF2B5EF4-FFF2-40B4-BE49-F238E27FC236}">
                <a16:creationId xmlns:a16="http://schemas.microsoft.com/office/drawing/2014/main" id="{769812B3-4792-8040-A022-DC10D37E5D1E}"/>
              </a:ext>
            </a:extLst>
          </p:cNvPr>
          <p:cNvSpPr>
            <a:spLocks noGrp="1"/>
          </p:cNvSpPr>
          <p:nvPr>
            <p:ph type="body" sz="quarter" idx="44" hasCustomPrompt="1"/>
          </p:nvPr>
        </p:nvSpPr>
        <p:spPr>
          <a:xfrm>
            <a:off x="1333764" y="3513559"/>
            <a:ext cx="1783949" cy="372973"/>
          </a:xfrm>
          <a:prstGeom prst="rect">
            <a:avLst/>
          </a:prstGeom>
        </p:spPr>
        <p:txBody>
          <a:bodyPr/>
          <a:lstStyle>
            <a:lvl1pPr algn="ctr">
              <a:buFontTx/>
              <a:buNone/>
              <a:defRPr sz="845">
                <a:solidFill>
                  <a:srgbClr val="E41910"/>
                </a:solidFill>
              </a:defRPr>
            </a:lvl1pPr>
            <a:lvl2pPr>
              <a:buFontTx/>
              <a:buNone/>
              <a:defRPr/>
            </a:lvl2pPr>
            <a:lvl3pPr>
              <a:buFontTx/>
              <a:buNone/>
              <a:defRPr/>
            </a:lvl3pPr>
            <a:lvl4pPr>
              <a:buFontTx/>
              <a:buNone/>
              <a:defRPr/>
            </a:lvl4pPr>
            <a:lvl5pPr>
              <a:buFontTx/>
              <a:buNone/>
              <a:defRPr/>
            </a:lvl5pPr>
          </a:lstStyle>
          <a:p>
            <a:pPr lvl="0"/>
            <a:r>
              <a:rPr lang="en-US" sz="845" dirty="0"/>
              <a:t>LIST TEXT SLIDE</a:t>
            </a:r>
            <a:endParaRPr lang="x-none" dirty="0"/>
          </a:p>
        </p:txBody>
      </p:sp>
      <p:sp>
        <p:nvSpPr>
          <p:cNvPr id="15" name="Text Placeholder 2">
            <a:extLst>
              <a:ext uri="{FF2B5EF4-FFF2-40B4-BE49-F238E27FC236}">
                <a16:creationId xmlns:a16="http://schemas.microsoft.com/office/drawing/2014/main" id="{7A6114E0-B038-3440-A1CF-C88076BA92D4}"/>
              </a:ext>
            </a:extLst>
          </p:cNvPr>
          <p:cNvSpPr>
            <a:spLocks noGrp="1"/>
          </p:cNvSpPr>
          <p:nvPr>
            <p:ph type="body" sz="quarter" idx="45" hasCustomPrompt="1"/>
          </p:nvPr>
        </p:nvSpPr>
        <p:spPr>
          <a:xfrm>
            <a:off x="5226269" y="3513559"/>
            <a:ext cx="1783949" cy="372973"/>
          </a:xfrm>
          <a:prstGeom prst="rect">
            <a:avLst/>
          </a:prstGeom>
        </p:spPr>
        <p:txBody>
          <a:bodyPr/>
          <a:lstStyle>
            <a:lvl1pPr algn="ctr">
              <a:buFontTx/>
              <a:buNone/>
              <a:defRPr sz="845">
                <a:solidFill>
                  <a:srgbClr val="E41910"/>
                </a:solidFill>
              </a:defRPr>
            </a:lvl1pPr>
            <a:lvl2pPr>
              <a:buFontTx/>
              <a:buNone/>
              <a:defRPr/>
            </a:lvl2pPr>
            <a:lvl3pPr>
              <a:buFontTx/>
              <a:buNone/>
              <a:defRPr/>
            </a:lvl3pPr>
            <a:lvl4pPr>
              <a:buFontTx/>
              <a:buNone/>
              <a:defRPr/>
            </a:lvl4pPr>
            <a:lvl5pPr>
              <a:buFontTx/>
              <a:buNone/>
              <a:defRPr/>
            </a:lvl5pPr>
          </a:lstStyle>
          <a:p>
            <a:pPr lvl="0"/>
            <a:r>
              <a:rPr lang="en-US" sz="845" dirty="0"/>
              <a:t>LIST TEXT SLIDE</a:t>
            </a:r>
            <a:endParaRPr lang="x-none" dirty="0"/>
          </a:p>
        </p:txBody>
      </p:sp>
      <p:sp>
        <p:nvSpPr>
          <p:cNvPr id="20" name="Text Placeholder 2">
            <a:extLst>
              <a:ext uri="{FF2B5EF4-FFF2-40B4-BE49-F238E27FC236}">
                <a16:creationId xmlns:a16="http://schemas.microsoft.com/office/drawing/2014/main" id="{EC63FA3E-FD0F-E54F-B9B7-B88D361207BF}"/>
              </a:ext>
            </a:extLst>
          </p:cNvPr>
          <p:cNvSpPr>
            <a:spLocks noGrp="1"/>
          </p:cNvSpPr>
          <p:nvPr>
            <p:ph type="body" sz="quarter" idx="46" hasCustomPrompt="1"/>
          </p:nvPr>
        </p:nvSpPr>
        <p:spPr>
          <a:xfrm>
            <a:off x="9074287" y="3513559"/>
            <a:ext cx="1783950" cy="372973"/>
          </a:xfrm>
          <a:prstGeom prst="rect">
            <a:avLst/>
          </a:prstGeom>
        </p:spPr>
        <p:txBody>
          <a:bodyPr/>
          <a:lstStyle>
            <a:lvl1pPr algn="ctr">
              <a:buFontTx/>
              <a:buNone/>
              <a:defRPr sz="845">
                <a:solidFill>
                  <a:srgbClr val="E41910"/>
                </a:solidFill>
              </a:defRPr>
            </a:lvl1pPr>
            <a:lvl2pPr>
              <a:buFontTx/>
              <a:buNone/>
              <a:defRPr/>
            </a:lvl2pPr>
            <a:lvl3pPr>
              <a:buFontTx/>
              <a:buNone/>
              <a:defRPr/>
            </a:lvl3pPr>
            <a:lvl4pPr>
              <a:buFontTx/>
              <a:buNone/>
              <a:defRPr/>
            </a:lvl4pPr>
            <a:lvl5pPr>
              <a:buFontTx/>
              <a:buNone/>
              <a:defRPr/>
            </a:lvl5pPr>
          </a:lstStyle>
          <a:p>
            <a:pPr lvl="0"/>
            <a:r>
              <a:rPr lang="en-US" sz="845" dirty="0"/>
              <a:t>LIST TEXT SLIDE</a:t>
            </a:r>
            <a:endParaRPr lang="x-none" dirty="0"/>
          </a:p>
        </p:txBody>
      </p:sp>
    </p:spTree>
    <p:extLst>
      <p:ext uri="{BB962C8B-B14F-4D97-AF65-F5344CB8AC3E}">
        <p14:creationId xmlns:p14="http://schemas.microsoft.com/office/powerpoint/2010/main" val="41084038"/>
      </p:ext>
    </p:extLst>
  </p:cSld>
  <p:clrMapOvr>
    <a:masterClrMapping/>
  </p:clrMapOvr>
  <p:transition>
    <p:fade/>
  </p:transition>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6_Content">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B144694-7FC2-824B-ACAA-93D4B0E2FE77}"/>
              </a:ext>
            </a:extLst>
          </p:cNvPr>
          <p:cNvSpPr>
            <a:spLocks noGrp="1"/>
          </p:cNvSpPr>
          <p:nvPr>
            <p:ph type="body" sz="quarter" idx="11" hasCustomPrompt="1"/>
          </p:nvPr>
        </p:nvSpPr>
        <p:spPr>
          <a:xfrm>
            <a:off x="4229742" y="1421294"/>
            <a:ext cx="7573669" cy="902228"/>
          </a:xfrm>
          <a:prstGeom prst="rect">
            <a:avLst/>
          </a:prstGeom>
        </p:spPr>
        <p:txBody>
          <a:bodyPr/>
          <a:lstStyle>
            <a:lvl1pPr marL="0" indent="0">
              <a:buFontTx/>
              <a:buNone/>
              <a:defRPr sz="1693"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ist text slide</a:t>
            </a:r>
            <a:endParaRPr lang="x-none" dirty="0"/>
          </a:p>
        </p:txBody>
      </p:sp>
      <p:sp>
        <p:nvSpPr>
          <p:cNvPr id="19" name="Picture Placeholder 2">
            <a:extLst>
              <a:ext uri="{FF2B5EF4-FFF2-40B4-BE49-F238E27FC236}">
                <a16:creationId xmlns:a16="http://schemas.microsoft.com/office/drawing/2014/main" id="{C451E8F1-06AC-5E48-82A9-E50EF6EE0356}"/>
              </a:ext>
            </a:extLst>
          </p:cNvPr>
          <p:cNvSpPr>
            <a:spLocks noGrp="1"/>
          </p:cNvSpPr>
          <p:nvPr>
            <p:ph type="pic" sz="quarter" idx="27"/>
          </p:nvPr>
        </p:nvSpPr>
        <p:spPr>
          <a:xfrm>
            <a:off x="381315" y="4534480"/>
            <a:ext cx="3695564" cy="1942148"/>
          </a:xfrm>
          <a:prstGeom prst="rect">
            <a:avLst/>
          </a:prstGeom>
        </p:spPr>
        <p:txBody>
          <a:bodyPr anchor="ctr"/>
          <a:lstStyle>
            <a:lvl1pPr algn="ctr">
              <a:buFontTx/>
              <a:buNone/>
              <a:defRPr sz="2115" b="1"/>
            </a:lvl1pPr>
          </a:lstStyle>
          <a:p>
            <a:endParaRPr lang="x-none" dirty="0"/>
          </a:p>
        </p:txBody>
      </p:sp>
      <p:sp>
        <p:nvSpPr>
          <p:cNvPr id="21" name="Text Placeholder 8">
            <a:extLst>
              <a:ext uri="{FF2B5EF4-FFF2-40B4-BE49-F238E27FC236}">
                <a16:creationId xmlns:a16="http://schemas.microsoft.com/office/drawing/2014/main" id="{A3728B20-05DF-8D48-9BC9-AD82435F5820}"/>
              </a:ext>
            </a:extLst>
          </p:cNvPr>
          <p:cNvSpPr>
            <a:spLocks noGrp="1"/>
          </p:cNvSpPr>
          <p:nvPr>
            <p:ph type="body" sz="quarter" idx="28" hasCustomPrompt="1"/>
          </p:nvPr>
        </p:nvSpPr>
        <p:spPr>
          <a:xfrm>
            <a:off x="4229741" y="2483685"/>
            <a:ext cx="3732519" cy="1520650"/>
          </a:xfrm>
          <a:prstGeom prst="rect">
            <a:avLst/>
          </a:prstGeom>
        </p:spPr>
        <p:txBody>
          <a:bodyPr/>
          <a:lstStyle>
            <a:lvl1pPr marL="181374" indent="-181374">
              <a:buFont typeface="Arial" panose="020B0604020202020204" pitchFamily="34" charset="0"/>
              <a:buChar char="•"/>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ist text slide</a:t>
            </a:r>
            <a:endParaRPr lang="x-none" dirty="0"/>
          </a:p>
        </p:txBody>
      </p:sp>
      <p:sp>
        <p:nvSpPr>
          <p:cNvPr id="26" name="Picture Placeholder 2">
            <a:extLst>
              <a:ext uri="{FF2B5EF4-FFF2-40B4-BE49-F238E27FC236}">
                <a16:creationId xmlns:a16="http://schemas.microsoft.com/office/drawing/2014/main" id="{95BB0516-65D5-6E44-AB28-CF1B7A61745A}"/>
              </a:ext>
            </a:extLst>
          </p:cNvPr>
          <p:cNvSpPr>
            <a:spLocks noGrp="1"/>
          </p:cNvSpPr>
          <p:nvPr>
            <p:ph type="pic" sz="quarter" idx="31"/>
          </p:nvPr>
        </p:nvSpPr>
        <p:spPr>
          <a:xfrm>
            <a:off x="4229741" y="4534481"/>
            <a:ext cx="7580943" cy="1930171"/>
          </a:xfrm>
          <a:prstGeom prst="rect">
            <a:avLst/>
          </a:prstGeom>
        </p:spPr>
        <p:txBody>
          <a:bodyPr anchor="ctr"/>
          <a:lstStyle>
            <a:lvl1pPr algn="ctr">
              <a:buFontTx/>
              <a:buNone/>
              <a:defRPr sz="2115" b="1"/>
            </a:lvl1pPr>
          </a:lstStyle>
          <a:p>
            <a:endParaRPr lang="x-none" dirty="0"/>
          </a:p>
        </p:txBody>
      </p:sp>
      <p:sp>
        <p:nvSpPr>
          <p:cNvPr id="27" name="Text Placeholder 8">
            <a:extLst>
              <a:ext uri="{FF2B5EF4-FFF2-40B4-BE49-F238E27FC236}">
                <a16:creationId xmlns:a16="http://schemas.microsoft.com/office/drawing/2014/main" id="{A20F3548-A10E-6A4F-B50B-684D6187D9F3}"/>
              </a:ext>
            </a:extLst>
          </p:cNvPr>
          <p:cNvSpPr>
            <a:spLocks noGrp="1"/>
          </p:cNvSpPr>
          <p:nvPr>
            <p:ph type="body" sz="quarter" idx="32" hasCustomPrompt="1"/>
          </p:nvPr>
        </p:nvSpPr>
        <p:spPr>
          <a:xfrm>
            <a:off x="388590" y="1425006"/>
            <a:ext cx="3688286" cy="1928393"/>
          </a:xfrm>
          <a:prstGeom prst="rect">
            <a:avLst/>
          </a:prstGeom>
        </p:spPr>
        <p:txBody>
          <a:bodyPr anchor="t"/>
          <a:lstStyle>
            <a:lvl1pPr marL="0" indent="0">
              <a:buFontTx/>
              <a:buNone/>
              <a:defRPr lang="en-GB" sz="2538" b="0" i="0" smtClean="0">
                <a:effectLst/>
              </a:defRPr>
            </a:lvl1pPr>
          </a:lstStyle>
          <a:p>
            <a:pPr lvl="0"/>
            <a:r>
              <a:rPr lang="en-US" dirty="0"/>
              <a:t>Lorem ipsum dolor sit </a:t>
            </a:r>
            <a:r>
              <a:rPr lang="en-US" dirty="0" err="1"/>
              <a:t>amet,tetur</a:t>
            </a:r>
            <a:r>
              <a:rPr lang="en-US" dirty="0"/>
              <a:t> </a:t>
            </a:r>
            <a:r>
              <a:rPr lang="en-US" dirty="0" err="1"/>
              <a:t>adipiscing</a:t>
            </a:r>
            <a:endParaRPr lang="x-none" dirty="0"/>
          </a:p>
        </p:txBody>
      </p:sp>
      <p:sp>
        <p:nvSpPr>
          <p:cNvPr id="18" name="Text Placeholder 8">
            <a:extLst>
              <a:ext uri="{FF2B5EF4-FFF2-40B4-BE49-F238E27FC236}">
                <a16:creationId xmlns:a16="http://schemas.microsoft.com/office/drawing/2014/main" id="{8B81A5F8-97CA-E243-8010-1A3C14C34823}"/>
              </a:ext>
            </a:extLst>
          </p:cNvPr>
          <p:cNvSpPr>
            <a:spLocks noGrp="1"/>
          </p:cNvSpPr>
          <p:nvPr>
            <p:ph type="body" sz="quarter" idx="33" hasCustomPrompt="1"/>
          </p:nvPr>
        </p:nvSpPr>
        <p:spPr>
          <a:xfrm>
            <a:off x="8115122" y="2483685"/>
            <a:ext cx="3688288" cy="1520650"/>
          </a:xfrm>
          <a:prstGeom prst="rect">
            <a:avLst/>
          </a:prstGeom>
        </p:spPr>
        <p:txBody>
          <a:bodyPr/>
          <a:lstStyle>
            <a:lvl1pPr marL="181374" indent="-181374">
              <a:buFont typeface="Arial" panose="020B0604020202020204" pitchFamily="34" charset="0"/>
              <a:buChar char="•"/>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List text slide</a:t>
            </a:r>
            <a:endParaRPr lang="x-none" dirty="0"/>
          </a:p>
        </p:txBody>
      </p:sp>
      <p:cxnSp>
        <p:nvCxnSpPr>
          <p:cNvPr id="20" name="Straight Connector 19">
            <a:extLst>
              <a:ext uri="{FF2B5EF4-FFF2-40B4-BE49-F238E27FC236}">
                <a16:creationId xmlns:a16="http://schemas.microsoft.com/office/drawing/2014/main" id="{93033578-7F9F-3F4D-A7B9-83608E33B45B}"/>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28" name="Text Placeholder 13">
            <a:extLst>
              <a:ext uri="{FF2B5EF4-FFF2-40B4-BE49-F238E27FC236}">
                <a16:creationId xmlns:a16="http://schemas.microsoft.com/office/drawing/2014/main" id="{0D141FB2-ACC8-F840-9FFF-5DFEDC6B5E5D}"/>
              </a:ext>
            </a:extLst>
          </p:cNvPr>
          <p:cNvSpPr>
            <a:spLocks noGrp="1"/>
          </p:cNvSpPr>
          <p:nvPr>
            <p:ph type="body" sz="quarter" idx="14" hasCustomPrompt="1"/>
          </p:nvPr>
        </p:nvSpPr>
        <p:spPr>
          <a:xfrm>
            <a:off x="295484"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30" name="Text Placeholder 13">
            <a:extLst>
              <a:ext uri="{FF2B5EF4-FFF2-40B4-BE49-F238E27FC236}">
                <a16:creationId xmlns:a16="http://schemas.microsoft.com/office/drawing/2014/main" id="{7FEE8271-349B-7F46-84E5-57DB4F6BE182}"/>
              </a:ext>
            </a:extLst>
          </p:cNvPr>
          <p:cNvSpPr>
            <a:spLocks noGrp="1"/>
          </p:cNvSpPr>
          <p:nvPr>
            <p:ph type="body" sz="quarter" idx="25" hasCustomPrompt="1"/>
          </p:nvPr>
        </p:nvSpPr>
        <p:spPr>
          <a:xfrm>
            <a:off x="10020017" y="6319801"/>
            <a:ext cx="1790667" cy="374160"/>
          </a:xfrm>
          <a:prstGeom prst="rect">
            <a:avLst/>
          </a:prstGeom>
        </p:spPr>
        <p:txBody>
          <a:bodyPr/>
          <a:lstStyle>
            <a:lvl1pPr marL="0" indent="0" algn="r">
              <a:buFontTx/>
              <a:buNone/>
              <a:defRPr sz="845"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sp>
        <p:nvSpPr>
          <p:cNvPr id="31" name="Slide Number Placeholder 1">
            <a:extLst>
              <a:ext uri="{FF2B5EF4-FFF2-40B4-BE49-F238E27FC236}">
                <a16:creationId xmlns:a16="http://schemas.microsoft.com/office/drawing/2014/main" id="{10F2E919-487E-A444-B61C-A3EBE0C04671}"/>
              </a:ext>
            </a:extLst>
          </p:cNvPr>
          <p:cNvSpPr txBox="1">
            <a:spLocks/>
          </p:cNvSpPr>
          <p:nvPr userDrawn="1"/>
        </p:nvSpPr>
        <p:spPr>
          <a:xfrm>
            <a:off x="11108818" y="395812"/>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2">
            <a:extLst>
              <a:ext uri="{FF2B5EF4-FFF2-40B4-BE49-F238E27FC236}">
                <a16:creationId xmlns:a16="http://schemas.microsoft.com/office/drawing/2014/main" id="{22091F0F-CB18-734E-8DE8-87F3F185F3F9}"/>
              </a:ext>
            </a:extLst>
          </p:cNvPr>
          <p:cNvSpPr>
            <a:spLocks noGrp="1"/>
          </p:cNvSpPr>
          <p:nvPr>
            <p:ph type="body" sz="quarter" idx="44" hasCustomPrompt="1"/>
          </p:nvPr>
        </p:nvSpPr>
        <p:spPr>
          <a:xfrm>
            <a:off x="381317" y="4023654"/>
            <a:ext cx="1783949" cy="338493"/>
          </a:xfrm>
          <a:prstGeom prst="rect">
            <a:avLst/>
          </a:prstGeom>
        </p:spPr>
        <p:txBody>
          <a:bodyPr anchor="b"/>
          <a:lstStyle>
            <a:lvl1pPr>
              <a:buFontTx/>
              <a:buNone/>
              <a:defRPr sz="845">
                <a:solidFill>
                  <a:srgbClr val="E41910"/>
                </a:solidFill>
              </a:defRPr>
            </a:lvl1pPr>
            <a:lvl2pPr>
              <a:buFontTx/>
              <a:buNone/>
              <a:defRPr/>
            </a:lvl2pPr>
            <a:lvl3pPr>
              <a:buFontTx/>
              <a:buNone/>
              <a:defRPr/>
            </a:lvl3pPr>
            <a:lvl4pPr>
              <a:buFontTx/>
              <a:buNone/>
              <a:defRPr/>
            </a:lvl4pPr>
            <a:lvl5pPr>
              <a:buFontTx/>
              <a:buNone/>
              <a:defRPr/>
            </a:lvl5pPr>
          </a:lstStyle>
          <a:p>
            <a:pPr lvl="0"/>
            <a:r>
              <a:rPr lang="en-US" sz="845" dirty="0"/>
              <a:t>LIST TEXT SLIDE</a:t>
            </a:r>
            <a:endParaRPr lang="x-none" dirty="0"/>
          </a:p>
        </p:txBody>
      </p:sp>
      <p:sp>
        <p:nvSpPr>
          <p:cNvPr id="17" name="Text Placeholder 2">
            <a:extLst>
              <a:ext uri="{FF2B5EF4-FFF2-40B4-BE49-F238E27FC236}">
                <a16:creationId xmlns:a16="http://schemas.microsoft.com/office/drawing/2014/main" id="{53DC2EAD-6ECD-CF4D-B0A3-7D0A6738B9BB}"/>
              </a:ext>
            </a:extLst>
          </p:cNvPr>
          <p:cNvSpPr>
            <a:spLocks noGrp="1"/>
          </p:cNvSpPr>
          <p:nvPr>
            <p:ph type="body" sz="quarter" idx="45" hasCustomPrompt="1"/>
          </p:nvPr>
        </p:nvSpPr>
        <p:spPr>
          <a:xfrm>
            <a:off x="4229338" y="4023654"/>
            <a:ext cx="1783949" cy="338493"/>
          </a:xfrm>
          <a:prstGeom prst="rect">
            <a:avLst/>
          </a:prstGeom>
        </p:spPr>
        <p:txBody>
          <a:bodyPr anchor="b"/>
          <a:lstStyle>
            <a:lvl1pPr>
              <a:buFontTx/>
              <a:buNone/>
              <a:defRPr sz="845">
                <a:solidFill>
                  <a:srgbClr val="E41910"/>
                </a:solidFill>
              </a:defRPr>
            </a:lvl1pPr>
            <a:lvl2pPr>
              <a:buFontTx/>
              <a:buNone/>
              <a:defRPr/>
            </a:lvl2pPr>
            <a:lvl3pPr>
              <a:buFontTx/>
              <a:buNone/>
              <a:defRPr/>
            </a:lvl3pPr>
            <a:lvl4pPr>
              <a:buFontTx/>
              <a:buNone/>
              <a:defRPr/>
            </a:lvl4pPr>
            <a:lvl5pPr>
              <a:buFontTx/>
              <a:buNone/>
              <a:defRPr/>
            </a:lvl5pPr>
          </a:lstStyle>
          <a:p>
            <a:pPr lvl="0"/>
            <a:r>
              <a:rPr lang="en-US" sz="845" dirty="0"/>
              <a:t>LIST TEXT SLIDE</a:t>
            </a:r>
            <a:endParaRPr lang="x-none" dirty="0"/>
          </a:p>
        </p:txBody>
      </p:sp>
    </p:spTree>
    <p:extLst>
      <p:ext uri="{BB962C8B-B14F-4D97-AF65-F5344CB8AC3E}">
        <p14:creationId xmlns:p14="http://schemas.microsoft.com/office/powerpoint/2010/main" val="3509254904"/>
      </p:ext>
    </p:extLst>
  </p:cSld>
  <p:clrMapOvr>
    <a:masterClrMapping/>
  </p:clrMapOvr>
  <p:transition>
    <p:fade/>
  </p:transition>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7_Content">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DB3FB19-848E-CB42-A250-50BFE3733C90}"/>
              </a:ext>
            </a:extLst>
          </p:cNvPr>
          <p:cNvSpPr>
            <a:spLocks noGrp="1"/>
          </p:cNvSpPr>
          <p:nvPr>
            <p:ph type="pic" sz="quarter" idx="21"/>
          </p:nvPr>
        </p:nvSpPr>
        <p:spPr>
          <a:xfrm>
            <a:off x="387218" y="1256685"/>
            <a:ext cx="3689661" cy="5219923"/>
          </a:xfrm>
          <a:prstGeom prst="rect">
            <a:avLst/>
          </a:prstGeom>
        </p:spPr>
        <p:txBody>
          <a:bodyPr anchor="ctr"/>
          <a:lstStyle>
            <a:lvl1pPr algn="ctr">
              <a:buFontTx/>
              <a:buNone/>
              <a:defRPr sz="2538"/>
            </a:lvl1pPr>
          </a:lstStyle>
          <a:p>
            <a:endParaRPr lang="x-none" dirty="0"/>
          </a:p>
        </p:txBody>
      </p:sp>
      <p:sp>
        <p:nvSpPr>
          <p:cNvPr id="16" name="Picture Placeholder 2">
            <a:extLst>
              <a:ext uri="{FF2B5EF4-FFF2-40B4-BE49-F238E27FC236}">
                <a16:creationId xmlns:a16="http://schemas.microsoft.com/office/drawing/2014/main" id="{133D6222-9800-8D43-9D80-0E2EC5A8DC6D}"/>
              </a:ext>
            </a:extLst>
          </p:cNvPr>
          <p:cNvSpPr>
            <a:spLocks noGrp="1"/>
          </p:cNvSpPr>
          <p:nvPr>
            <p:ph type="pic" sz="quarter" idx="22"/>
          </p:nvPr>
        </p:nvSpPr>
        <p:spPr>
          <a:xfrm>
            <a:off x="4229741" y="1256686"/>
            <a:ext cx="3732520" cy="5219933"/>
          </a:xfrm>
          <a:prstGeom prst="rect">
            <a:avLst/>
          </a:prstGeom>
        </p:spPr>
        <p:txBody>
          <a:bodyPr anchor="ctr"/>
          <a:lstStyle>
            <a:lvl1pPr algn="ctr">
              <a:buFontTx/>
              <a:buNone/>
              <a:defRPr sz="2538"/>
            </a:lvl1pPr>
          </a:lstStyle>
          <a:p>
            <a:endParaRPr lang="x-none" dirty="0"/>
          </a:p>
        </p:txBody>
      </p:sp>
      <p:sp>
        <p:nvSpPr>
          <p:cNvPr id="12" name="Text Placeholder 8">
            <a:extLst>
              <a:ext uri="{FF2B5EF4-FFF2-40B4-BE49-F238E27FC236}">
                <a16:creationId xmlns:a16="http://schemas.microsoft.com/office/drawing/2014/main" id="{0B784A6F-340A-2941-87C9-A4B20857D781}"/>
              </a:ext>
            </a:extLst>
          </p:cNvPr>
          <p:cNvSpPr>
            <a:spLocks noGrp="1"/>
          </p:cNvSpPr>
          <p:nvPr>
            <p:ph type="body" sz="quarter" idx="11" hasCustomPrompt="1"/>
          </p:nvPr>
        </p:nvSpPr>
        <p:spPr>
          <a:xfrm>
            <a:off x="8115122" y="1256687"/>
            <a:ext cx="3695564" cy="1029869"/>
          </a:xfrm>
          <a:prstGeom prst="rect">
            <a:avLst/>
          </a:prstGeom>
        </p:spPr>
        <p:txBody>
          <a:bodyPr/>
          <a:lstStyle>
            <a:lvl1pPr marL="0" indent="0">
              <a:buFontTx/>
              <a:buNone/>
              <a:defRPr sz="253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Text slide</a:t>
            </a:r>
            <a:endParaRPr lang="x-none" dirty="0"/>
          </a:p>
        </p:txBody>
      </p:sp>
      <p:sp>
        <p:nvSpPr>
          <p:cNvPr id="13" name="Text Placeholder 8">
            <a:extLst>
              <a:ext uri="{FF2B5EF4-FFF2-40B4-BE49-F238E27FC236}">
                <a16:creationId xmlns:a16="http://schemas.microsoft.com/office/drawing/2014/main" id="{2C246C5F-8780-7248-AE97-EF179949CD2B}"/>
              </a:ext>
            </a:extLst>
          </p:cNvPr>
          <p:cNvSpPr>
            <a:spLocks noGrp="1"/>
          </p:cNvSpPr>
          <p:nvPr>
            <p:ph type="body" sz="quarter" idx="27" hasCustomPrompt="1"/>
          </p:nvPr>
        </p:nvSpPr>
        <p:spPr>
          <a:xfrm>
            <a:off x="8122397" y="2483682"/>
            <a:ext cx="3695564" cy="2964750"/>
          </a:xfrm>
          <a:prstGeom prst="rect">
            <a:avLst/>
          </a:prstGeom>
        </p:spPr>
        <p:txBody>
          <a:bodyPr/>
          <a:lstStyle>
            <a:lvl1pPr marL="0" indent="0">
              <a:buFontTx/>
              <a:buNone/>
              <a:defRPr sz="1376"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Text slide</a:t>
            </a:r>
            <a:endParaRPr lang="x-none" dirty="0"/>
          </a:p>
        </p:txBody>
      </p:sp>
      <p:cxnSp>
        <p:nvCxnSpPr>
          <p:cNvPr id="14" name="Straight Connector 13">
            <a:extLst>
              <a:ext uri="{FF2B5EF4-FFF2-40B4-BE49-F238E27FC236}">
                <a16:creationId xmlns:a16="http://schemas.microsoft.com/office/drawing/2014/main" id="{65C7CCEA-8174-CC41-9238-A0D3EA01F3F5}"/>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15" name="Text Placeholder 13">
            <a:extLst>
              <a:ext uri="{FF2B5EF4-FFF2-40B4-BE49-F238E27FC236}">
                <a16:creationId xmlns:a16="http://schemas.microsoft.com/office/drawing/2014/main" id="{4845C9DD-5C7A-874F-8368-FFFC6465A620}"/>
              </a:ext>
            </a:extLst>
          </p:cNvPr>
          <p:cNvSpPr>
            <a:spLocks noGrp="1"/>
          </p:cNvSpPr>
          <p:nvPr>
            <p:ph type="body" sz="quarter" idx="14" hasCustomPrompt="1"/>
          </p:nvPr>
        </p:nvSpPr>
        <p:spPr>
          <a:xfrm>
            <a:off x="295484"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18" name="Text Placeholder 13">
            <a:extLst>
              <a:ext uri="{FF2B5EF4-FFF2-40B4-BE49-F238E27FC236}">
                <a16:creationId xmlns:a16="http://schemas.microsoft.com/office/drawing/2014/main" id="{0591D277-AA9C-EC41-A110-AE8469C88BF9}"/>
              </a:ext>
            </a:extLst>
          </p:cNvPr>
          <p:cNvSpPr>
            <a:spLocks noGrp="1"/>
          </p:cNvSpPr>
          <p:nvPr>
            <p:ph type="body" sz="quarter" idx="25" hasCustomPrompt="1"/>
          </p:nvPr>
        </p:nvSpPr>
        <p:spPr>
          <a:xfrm>
            <a:off x="10020017" y="6319801"/>
            <a:ext cx="1790667" cy="374160"/>
          </a:xfrm>
          <a:prstGeom prst="rect">
            <a:avLst/>
          </a:prstGeom>
        </p:spPr>
        <p:txBody>
          <a:bodyPr/>
          <a:lstStyle>
            <a:lvl1pPr marL="0" indent="0" algn="r">
              <a:buFontTx/>
              <a:buNone/>
              <a:defRPr sz="845"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sp>
        <p:nvSpPr>
          <p:cNvPr id="19" name="Slide Number Placeholder 1">
            <a:extLst>
              <a:ext uri="{FF2B5EF4-FFF2-40B4-BE49-F238E27FC236}">
                <a16:creationId xmlns:a16="http://schemas.microsoft.com/office/drawing/2014/main" id="{21F144B7-C152-F244-9A00-75D92A833EF2}"/>
              </a:ext>
            </a:extLst>
          </p:cNvPr>
          <p:cNvSpPr txBox="1">
            <a:spLocks/>
          </p:cNvSpPr>
          <p:nvPr userDrawn="1"/>
        </p:nvSpPr>
        <p:spPr>
          <a:xfrm>
            <a:off x="11108818" y="395812"/>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724273317"/>
      </p:ext>
    </p:extLst>
  </p:cSld>
  <p:clrMapOvr>
    <a:masterClrMapping/>
  </p:clrMapOvr>
  <p:transition>
    <p:fade/>
  </p:transition>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0_Content">
    <p:bg>
      <p:bgPr>
        <a:solidFill>
          <a:srgbClr val="FFFFFF"/>
        </a:solidFill>
        <a:effectLst/>
      </p:bgPr>
    </p:bg>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8418BD92-84AF-4747-9337-9C8E4022A63E}"/>
              </a:ext>
            </a:extLst>
          </p:cNvPr>
          <p:cNvSpPr>
            <a:spLocks noGrp="1"/>
          </p:cNvSpPr>
          <p:nvPr>
            <p:ph type="body" sz="quarter" idx="14" hasCustomPrompt="1"/>
          </p:nvPr>
        </p:nvSpPr>
        <p:spPr>
          <a:xfrm>
            <a:off x="295484"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8" name="Picture Placeholder 2">
            <a:extLst>
              <a:ext uri="{FF2B5EF4-FFF2-40B4-BE49-F238E27FC236}">
                <a16:creationId xmlns:a16="http://schemas.microsoft.com/office/drawing/2014/main" id="{A740B27C-16E1-4746-A632-115AF5F0432D}"/>
              </a:ext>
            </a:extLst>
          </p:cNvPr>
          <p:cNvSpPr>
            <a:spLocks noGrp="1"/>
          </p:cNvSpPr>
          <p:nvPr>
            <p:ph type="pic" sz="quarter" idx="21"/>
          </p:nvPr>
        </p:nvSpPr>
        <p:spPr>
          <a:xfrm>
            <a:off x="-1" y="2"/>
            <a:ext cx="12192000" cy="6858000"/>
          </a:xfrm>
          <a:prstGeom prst="rect">
            <a:avLst/>
          </a:prstGeom>
        </p:spPr>
        <p:txBody>
          <a:bodyPr anchor="ctr"/>
          <a:lstStyle>
            <a:lvl1pPr algn="ctr">
              <a:buFontTx/>
              <a:buNone/>
              <a:defRPr sz="2538"/>
            </a:lvl1pPr>
          </a:lstStyle>
          <a:p>
            <a:endParaRPr lang="x-none" dirty="0"/>
          </a:p>
        </p:txBody>
      </p:sp>
      <p:cxnSp>
        <p:nvCxnSpPr>
          <p:cNvPr id="5" name="Straight Connector 4">
            <a:extLst>
              <a:ext uri="{FF2B5EF4-FFF2-40B4-BE49-F238E27FC236}">
                <a16:creationId xmlns:a16="http://schemas.microsoft.com/office/drawing/2014/main" id="{A34E81BE-004C-EA49-818C-F9E3C32F7F47}"/>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7" name="Slide Number Placeholder 1">
            <a:extLst>
              <a:ext uri="{FF2B5EF4-FFF2-40B4-BE49-F238E27FC236}">
                <a16:creationId xmlns:a16="http://schemas.microsoft.com/office/drawing/2014/main" id="{AC15F058-CF3B-5144-9FA3-CA10DA0FBBE9}"/>
              </a:ext>
            </a:extLst>
          </p:cNvPr>
          <p:cNvSpPr txBox="1">
            <a:spLocks/>
          </p:cNvSpPr>
          <p:nvPr userDrawn="1"/>
        </p:nvSpPr>
        <p:spPr>
          <a:xfrm>
            <a:off x="11108818" y="395812"/>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9" name="Text Placeholder 13">
            <a:extLst>
              <a:ext uri="{FF2B5EF4-FFF2-40B4-BE49-F238E27FC236}">
                <a16:creationId xmlns:a16="http://schemas.microsoft.com/office/drawing/2014/main" id="{1740A59D-9C0D-5849-B026-0D997150F06C}"/>
              </a:ext>
            </a:extLst>
          </p:cNvPr>
          <p:cNvSpPr>
            <a:spLocks noGrp="1"/>
          </p:cNvSpPr>
          <p:nvPr>
            <p:ph type="body" sz="quarter" idx="25" hasCustomPrompt="1"/>
          </p:nvPr>
        </p:nvSpPr>
        <p:spPr>
          <a:xfrm>
            <a:off x="10020017" y="6319801"/>
            <a:ext cx="1790667" cy="374160"/>
          </a:xfrm>
          <a:prstGeom prst="rect">
            <a:avLst/>
          </a:prstGeom>
        </p:spPr>
        <p:txBody>
          <a:bodyPr/>
          <a:lstStyle>
            <a:lvl1pPr marL="0" indent="0" algn="r">
              <a:buFontTx/>
              <a:buNone/>
              <a:defRPr sz="845"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spTree>
    <p:extLst>
      <p:ext uri="{BB962C8B-B14F-4D97-AF65-F5344CB8AC3E}">
        <p14:creationId xmlns:p14="http://schemas.microsoft.com/office/powerpoint/2010/main" val="4265007460"/>
      </p:ext>
    </p:extLst>
  </p:cSld>
  <p:clrMapOvr>
    <a:masterClrMapping/>
  </p:clrMapOvr>
  <p:transition>
    <p:fade/>
  </p:transition>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1_Content">
    <p:bg>
      <p:bgPr>
        <a:solidFill>
          <a:srgbClr val="FFFFFF"/>
        </a:solidFill>
        <a:effectLst/>
      </p:bgPr>
    </p:bg>
    <p:spTree>
      <p:nvGrpSpPr>
        <p:cNvPr id="1" name=""/>
        <p:cNvGrpSpPr/>
        <p:nvPr/>
      </p:nvGrpSpPr>
      <p:grpSpPr>
        <a:xfrm>
          <a:off x="0" y="0"/>
          <a:ext cx="0" cy="0"/>
          <a:chOff x="0" y="0"/>
          <a:chExt cx="0" cy="0"/>
        </a:xfrm>
      </p:grpSpPr>
      <p:sp>
        <p:nvSpPr>
          <p:cNvPr id="4" name="Table Placeholder 3">
            <a:extLst>
              <a:ext uri="{FF2B5EF4-FFF2-40B4-BE49-F238E27FC236}">
                <a16:creationId xmlns:a16="http://schemas.microsoft.com/office/drawing/2014/main" id="{EBDE60C4-C2B7-8C41-806E-0D5A5DEDAFCF}"/>
              </a:ext>
            </a:extLst>
          </p:cNvPr>
          <p:cNvSpPr>
            <a:spLocks noGrp="1"/>
          </p:cNvSpPr>
          <p:nvPr>
            <p:ph type="tbl" sz="quarter" idx="26" hasCustomPrompt="1"/>
          </p:nvPr>
        </p:nvSpPr>
        <p:spPr>
          <a:xfrm>
            <a:off x="381316" y="1256683"/>
            <a:ext cx="11429370" cy="4969614"/>
          </a:xfrm>
          <a:prstGeom prst="rect">
            <a:avLst/>
          </a:prstGeom>
        </p:spPr>
        <p:txBody>
          <a:bodyPr anchor="ctr"/>
          <a:lstStyle>
            <a:lvl1pPr algn="ctr">
              <a:buFontTx/>
              <a:buNone/>
              <a:defRPr sz="2538">
                <a:solidFill>
                  <a:srgbClr val="19212C"/>
                </a:solidFill>
              </a:defRPr>
            </a:lvl1pPr>
          </a:lstStyle>
          <a:p>
            <a:r>
              <a:rPr lang="en-US" dirty="0"/>
              <a:t>Table</a:t>
            </a:r>
            <a:endParaRPr lang="x-none"/>
          </a:p>
        </p:txBody>
      </p:sp>
      <p:sp>
        <p:nvSpPr>
          <p:cNvPr id="7" name="Text Placeholder 13">
            <a:extLst>
              <a:ext uri="{FF2B5EF4-FFF2-40B4-BE49-F238E27FC236}">
                <a16:creationId xmlns:a16="http://schemas.microsoft.com/office/drawing/2014/main" id="{B12095EB-C6DC-DF45-A28C-47AC62736215}"/>
              </a:ext>
            </a:extLst>
          </p:cNvPr>
          <p:cNvSpPr>
            <a:spLocks noGrp="1"/>
          </p:cNvSpPr>
          <p:nvPr>
            <p:ph type="body" sz="quarter" idx="25" hasCustomPrompt="1"/>
          </p:nvPr>
        </p:nvSpPr>
        <p:spPr>
          <a:xfrm>
            <a:off x="10020017" y="6319801"/>
            <a:ext cx="1790667" cy="374160"/>
          </a:xfrm>
          <a:prstGeom prst="rect">
            <a:avLst/>
          </a:prstGeom>
        </p:spPr>
        <p:txBody>
          <a:bodyPr/>
          <a:lstStyle>
            <a:lvl1pPr marL="0" indent="0" algn="r">
              <a:buFontTx/>
              <a:buNone/>
              <a:defRPr sz="845"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cxnSp>
        <p:nvCxnSpPr>
          <p:cNvPr id="8" name="Straight Connector 7">
            <a:extLst>
              <a:ext uri="{FF2B5EF4-FFF2-40B4-BE49-F238E27FC236}">
                <a16:creationId xmlns:a16="http://schemas.microsoft.com/office/drawing/2014/main" id="{AA17BDF6-19DC-4641-BBD7-933EA5F23B01}"/>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10" name="Text Placeholder 13">
            <a:extLst>
              <a:ext uri="{FF2B5EF4-FFF2-40B4-BE49-F238E27FC236}">
                <a16:creationId xmlns:a16="http://schemas.microsoft.com/office/drawing/2014/main" id="{5410309C-CE1A-8746-B6F9-73B9768E4F18}"/>
              </a:ext>
            </a:extLst>
          </p:cNvPr>
          <p:cNvSpPr>
            <a:spLocks noGrp="1"/>
          </p:cNvSpPr>
          <p:nvPr>
            <p:ph type="body" sz="quarter" idx="14" hasCustomPrompt="1"/>
          </p:nvPr>
        </p:nvSpPr>
        <p:spPr>
          <a:xfrm>
            <a:off x="295484"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11" name="Slide Number Placeholder 1">
            <a:extLst>
              <a:ext uri="{FF2B5EF4-FFF2-40B4-BE49-F238E27FC236}">
                <a16:creationId xmlns:a16="http://schemas.microsoft.com/office/drawing/2014/main" id="{FA7D38F3-BC5B-DA45-AF45-B017008F9BDE}"/>
              </a:ext>
            </a:extLst>
          </p:cNvPr>
          <p:cNvSpPr txBox="1">
            <a:spLocks/>
          </p:cNvSpPr>
          <p:nvPr userDrawn="1"/>
        </p:nvSpPr>
        <p:spPr>
          <a:xfrm>
            <a:off x="11108818" y="395812"/>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038992059"/>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AB144694-7FC2-824B-ACAA-93D4B0E2FE77}"/>
              </a:ext>
            </a:extLst>
          </p:cNvPr>
          <p:cNvSpPr>
            <a:spLocks noGrp="1"/>
          </p:cNvSpPr>
          <p:nvPr>
            <p:ph type="body" sz="quarter" idx="11" hasCustomPrompt="1"/>
          </p:nvPr>
        </p:nvSpPr>
        <p:spPr>
          <a:xfrm>
            <a:off x="2324847" y="887069"/>
            <a:ext cx="9485839" cy="902832"/>
          </a:xfrm>
          <a:prstGeom prst="rect">
            <a:avLst/>
          </a:prstGeom>
        </p:spPr>
        <p:txBody>
          <a:bodyPr/>
          <a:lstStyle>
            <a:lvl1pPr marL="0" marR="0" indent="0" algn="l" defTabSz="967527" rtl="0" eaLnBrk="1" fontAlgn="auto" latinLnBrk="0" hangingPunct="1">
              <a:lnSpc>
                <a:spcPct val="100000"/>
              </a:lnSpc>
              <a:spcBef>
                <a:spcPct val="20000"/>
              </a:spcBef>
              <a:spcAft>
                <a:spcPts val="0"/>
              </a:spcAft>
              <a:buClrTx/>
              <a:buSzTx/>
              <a:buFontTx/>
              <a:buNone/>
              <a:tabLst/>
              <a:defRPr sz="2539"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Text slide</a:t>
            </a:r>
          </a:p>
          <a:p>
            <a:pPr marL="0" marR="0" lvl="0" indent="0" algn="l" defTabSz="967527" rtl="0" eaLnBrk="1" fontAlgn="auto" latinLnBrk="0" hangingPunct="1">
              <a:lnSpc>
                <a:spcPct val="100000"/>
              </a:lnSpc>
              <a:spcBef>
                <a:spcPct val="20000"/>
              </a:spcBef>
              <a:spcAft>
                <a:spcPts val="0"/>
              </a:spcAft>
              <a:buClrTx/>
              <a:buSzTx/>
              <a:buFontTx/>
              <a:buNone/>
              <a:tabLst/>
              <a:defRPr/>
            </a:pPr>
            <a:r>
              <a:rPr lang="en-US" dirty="0"/>
              <a:t>Text slide</a:t>
            </a:r>
            <a:endParaRPr lang="x-none"/>
          </a:p>
        </p:txBody>
      </p:sp>
      <p:sp>
        <p:nvSpPr>
          <p:cNvPr id="12" name="Text Placeholder 13">
            <a:extLst>
              <a:ext uri="{FF2B5EF4-FFF2-40B4-BE49-F238E27FC236}">
                <a16:creationId xmlns:a16="http://schemas.microsoft.com/office/drawing/2014/main" id="{49E34B46-60CE-4E4E-83A8-E47657DF8646}"/>
              </a:ext>
            </a:extLst>
          </p:cNvPr>
          <p:cNvSpPr>
            <a:spLocks noGrp="1"/>
          </p:cNvSpPr>
          <p:nvPr>
            <p:ph type="body" sz="quarter" idx="25" hasCustomPrompt="1"/>
          </p:nvPr>
        </p:nvSpPr>
        <p:spPr>
          <a:xfrm>
            <a:off x="10020017" y="6319800"/>
            <a:ext cx="1790667" cy="374160"/>
          </a:xfrm>
          <a:prstGeom prst="rect">
            <a:avLst/>
          </a:prstGeom>
        </p:spPr>
        <p:txBody>
          <a:bodyPr/>
          <a:lstStyle>
            <a:lvl1pPr marL="0" indent="0" algn="r">
              <a:buFontTx/>
              <a:buNone/>
              <a:defRPr sz="846"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cxnSp>
        <p:nvCxnSpPr>
          <p:cNvPr id="7" name="Straight Connector 6">
            <a:extLst>
              <a:ext uri="{FF2B5EF4-FFF2-40B4-BE49-F238E27FC236}">
                <a16:creationId xmlns:a16="http://schemas.microsoft.com/office/drawing/2014/main" id="{033B75BF-1C22-0043-80DE-27C41E8F0B09}"/>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8" name="Text Placeholder 13">
            <a:extLst>
              <a:ext uri="{FF2B5EF4-FFF2-40B4-BE49-F238E27FC236}">
                <a16:creationId xmlns:a16="http://schemas.microsoft.com/office/drawing/2014/main" id="{BB229FDE-5838-2549-8A7F-C7DC26582F42}"/>
              </a:ext>
            </a:extLst>
          </p:cNvPr>
          <p:cNvSpPr>
            <a:spLocks noGrp="1"/>
          </p:cNvSpPr>
          <p:nvPr>
            <p:ph type="body" sz="quarter" idx="14" hasCustomPrompt="1"/>
          </p:nvPr>
        </p:nvSpPr>
        <p:spPr>
          <a:xfrm>
            <a:off x="295483"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10" name="Slide Number Placeholder 1">
            <a:extLst>
              <a:ext uri="{FF2B5EF4-FFF2-40B4-BE49-F238E27FC236}">
                <a16:creationId xmlns:a16="http://schemas.microsoft.com/office/drawing/2014/main" id="{16EFFABE-3A94-D544-889A-12AED59BDE29}"/>
              </a:ext>
            </a:extLst>
          </p:cNvPr>
          <p:cNvSpPr txBox="1">
            <a:spLocks/>
          </p:cNvSpPr>
          <p:nvPr userDrawn="1"/>
        </p:nvSpPr>
        <p:spPr>
          <a:xfrm>
            <a:off x="11108818" y="395811"/>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Text Placeholder 8">
            <a:extLst>
              <a:ext uri="{FF2B5EF4-FFF2-40B4-BE49-F238E27FC236}">
                <a16:creationId xmlns:a16="http://schemas.microsoft.com/office/drawing/2014/main" id="{C482FBEA-12A2-144F-AE69-EF53820D4D5F}"/>
              </a:ext>
            </a:extLst>
          </p:cNvPr>
          <p:cNvSpPr>
            <a:spLocks noGrp="1"/>
          </p:cNvSpPr>
          <p:nvPr>
            <p:ph type="body" sz="quarter" idx="15" hasCustomPrompt="1"/>
          </p:nvPr>
        </p:nvSpPr>
        <p:spPr>
          <a:xfrm>
            <a:off x="2332122" y="2483682"/>
            <a:ext cx="1752033" cy="664646"/>
          </a:xfrm>
          <a:prstGeom prst="rect">
            <a:avLst/>
          </a:prstGeom>
        </p:spPr>
        <p:txBody>
          <a:bodyPr/>
          <a:lstStyle>
            <a:lvl1pPr marL="0" indent="0">
              <a:buFontTx/>
              <a:buNone/>
              <a:defRPr sz="1905"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endParaRPr lang="en-US" dirty="0"/>
          </a:p>
        </p:txBody>
      </p:sp>
      <p:sp>
        <p:nvSpPr>
          <p:cNvPr id="14" name="Picture Placeholder 5">
            <a:extLst>
              <a:ext uri="{FF2B5EF4-FFF2-40B4-BE49-F238E27FC236}">
                <a16:creationId xmlns:a16="http://schemas.microsoft.com/office/drawing/2014/main" id="{F344EFF9-3336-EC46-A692-2A234BA5E976}"/>
              </a:ext>
            </a:extLst>
          </p:cNvPr>
          <p:cNvSpPr>
            <a:spLocks noGrp="1"/>
          </p:cNvSpPr>
          <p:nvPr>
            <p:ph type="pic" sz="quarter" idx="16"/>
          </p:nvPr>
        </p:nvSpPr>
        <p:spPr>
          <a:xfrm>
            <a:off x="381316" y="2481701"/>
            <a:ext cx="1790669" cy="1899893"/>
          </a:xfrm>
          <a:prstGeom prst="rect">
            <a:avLst/>
          </a:prstGeom>
        </p:spPr>
        <p:txBody>
          <a:bodyPr anchor="ctr"/>
          <a:lstStyle>
            <a:lvl1pPr algn="ctr">
              <a:buFontTx/>
              <a:buNone/>
              <a:defRPr sz="2963"/>
            </a:lvl1pPr>
          </a:lstStyle>
          <a:p>
            <a:endParaRPr lang="x-none"/>
          </a:p>
        </p:txBody>
      </p:sp>
      <p:sp>
        <p:nvSpPr>
          <p:cNvPr id="16" name="Picture Placeholder 5">
            <a:extLst>
              <a:ext uri="{FF2B5EF4-FFF2-40B4-BE49-F238E27FC236}">
                <a16:creationId xmlns:a16="http://schemas.microsoft.com/office/drawing/2014/main" id="{C9696876-5A37-BD4F-8C96-BD1111D4CEC0}"/>
              </a:ext>
            </a:extLst>
          </p:cNvPr>
          <p:cNvSpPr>
            <a:spLocks noGrp="1"/>
          </p:cNvSpPr>
          <p:nvPr>
            <p:ph type="pic" sz="quarter" idx="26"/>
          </p:nvPr>
        </p:nvSpPr>
        <p:spPr>
          <a:xfrm>
            <a:off x="6171591" y="2481701"/>
            <a:ext cx="1790669" cy="1899893"/>
          </a:xfrm>
          <a:prstGeom prst="rect">
            <a:avLst/>
          </a:prstGeom>
        </p:spPr>
        <p:txBody>
          <a:bodyPr anchor="ctr"/>
          <a:lstStyle>
            <a:lvl1pPr algn="ctr">
              <a:buFontTx/>
              <a:buNone/>
              <a:defRPr sz="2963"/>
            </a:lvl1pPr>
          </a:lstStyle>
          <a:p>
            <a:endParaRPr lang="x-none"/>
          </a:p>
        </p:txBody>
      </p:sp>
      <p:sp>
        <p:nvSpPr>
          <p:cNvPr id="21" name="Picture Placeholder 5">
            <a:extLst>
              <a:ext uri="{FF2B5EF4-FFF2-40B4-BE49-F238E27FC236}">
                <a16:creationId xmlns:a16="http://schemas.microsoft.com/office/drawing/2014/main" id="{735024CD-15EF-224E-BF88-02F411F77D76}"/>
              </a:ext>
            </a:extLst>
          </p:cNvPr>
          <p:cNvSpPr>
            <a:spLocks noGrp="1"/>
          </p:cNvSpPr>
          <p:nvPr>
            <p:ph type="pic" sz="quarter" idx="28"/>
          </p:nvPr>
        </p:nvSpPr>
        <p:spPr>
          <a:xfrm>
            <a:off x="381316" y="4534480"/>
            <a:ext cx="1790669" cy="1899893"/>
          </a:xfrm>
          <a:prstGeom prst="rect">
            <a:avLst/>
          </a:prstGeom>
        </p:spPr>
        <p:txBody>
          <a:bodyPr anchor="ctr"/>
          <a:lstStyle>
            <a:lvl1pPr algn="ctr">
              <a:buFontTx/>
              <a:buNone/>
              <a:defRPr sz="2963"/>
            </a:lvl1pPr>
          </a:lstStyle>
          <a:p>
            <a:endParaRPr lang="x-none"/>
          </a:p>
        </p:txBody>
      </p:sp>
      <p:sp>
        <p:nvSpPr>
          <p:cNvPr id="28" name="Picture Placeholder 5">
            <a:extLst>
              <a:ext uri="{FF2B5EF4-FFF2-40B4-BE49-F238E27FC236}">
                <a16:creationId xmlns:a16="http://schemas.microsoft.com/office/drawing/2014/main" id="{E868AB3A-F096-2540-AF41-F164BA186710}"/>
              </a:ext>
            </a:extLst>
          </p:cNvPr>
          <p:cNvSpPr>
            <a:spLocks noGrp="1"/>
          </p:cNvSpPr>
          <p:nvPr>
            <p:ph type="pic" sz="quarter" idx="30"/>
          </p:nvPr>
        </p:nvSpPr>
        <p:spPr>
          <a:xfrm>
            <a:off x="6171591" y="4534480"/>
            <a:ext cx="1790669" cy="1899893"/>
          </a:xfrm>
          <a:prstGeom prst="rect">
            <a:avLst/>
          </a:prstGeom>
        </p:spPr>
        <p:txBody>
          <a:bodyPr anchor="ctr"/>
          <a:lstStyle>
            <a:lvl1pPr algn="ctr">
              <a:buFontTx/>
              <a:buNone/>
              <a:defRPr sz="2963"/>
            </a:lvl1pPr>
          </a:lstStyle>
          <a:p>
            <a:endParaRPr lang="x-none"/>
          </a:p>
        </p:txBody>
      </p:sp>
      <p:sp>
        <p:nvSpPr>
          <p:cNvPr id="5" name="Text Placeholder 4">
            <a:extLst>
              <a:ext uri="{FF2B5EF4-FFF2-40B4-BE49-F238E27FC236}">
                <a16:creationId xmlns:a16="http://schemas.microsoft.com/office/drawing/2014/main" id="{12C0F291-A0E6-7544-9EA2-4DFD4003C634}"/>
              </a:ext>
            </a:extLst>
          </p:cNvPr>
          <p:cNvSpPr>
            <a:spLocks noGrp="1"/>
          </p:cNvSpPr>
          <p:nvPr>
            <p:ph type="body" sz="quarter" idx="33" hasCustomPrompt="1"/>
          </p:nvPr>
        </p:nvSpPr>
        <p:spPr>
          <a:xfrm>
            <a:off x="2324847" y="3177872"/>
            <a:ext cx="1773160" cy="531800"/>
          </a:xfrm>
          <a:prstGeom prst="rect">
            <a:avLst/>
          </a:prstGeom>
        </p:spPr>
        <p:txBody>
          <a:bodyPr/>
          <a:lstStyle>
            <a:lvl1pPr>
              <a:buFontTx/>
              <a:buNone/>
              <a:defRPr lang="x-none" sz="2539" kern="1200" dirty="0">
                <a:solidFill>
                  <a:srgbClr val="E41910"/>
                </a:solidFill>
                <a:latin typeface="+mn-lt"/>
                <a:ea typeface="+mn-ea"/>
                <a:cs typeface="+mn-cs"/>
              </a:defRPr>
            </a:lvl1pPr>
          </a:lstStyle>
          <a:p>
            <a:pPr lvl="0"/>
            <a:r>
              <a:rPr lang="ru-RU" dirty="0"/>
              <a:t>10 000</a:t>
            </a:r>
            <a:endParaRPr lang="x-none" dirty="0"/>
          </a:p>
        </p:txBody>
      </p:sp>
      <p:sp>
        <p:nvSpPr>
          <p:cNvPr id="32" name="Text Placeholder 8">
            <a:extLst>
              <a:ext uri="{FF2B5EF4-FFF2-40B4-BE49-F238E27FC236}">
                <a16:creationId xmlns:a16="http://schemas.microsoft.com/office/drawing/2014/main" id="{8F6BBC3D-8D0B-C243-BF20-BC4FF5CAAB83}"/>
              </a:ext>
            </a:extLst>
          </p:cNvPr>
          <p:cNvSpPr>
            <a:spLocks noGrp="1"/>
          </p:cNvSpPr>
          <p:nvPr>
            <p:ph type="body" sz="quarter" idx="34" hasCustomPrompt="1"/>
          </p:nvPr>
        </p:nvSpPr>
        <p:spPr>
          <a:xfrm>
            <a:off x="8119119" y="2483682"/>
            <a:ext cx="1752033" cy="664646"/>
          </a:xfrm>
          <a:prstGeom prst="rect">
            <a:avLst/>
          </a:prstGeom>
        </p:spPr>
        <p:txBody>
          <a:bodyPr/>
          <a:lstStyle>
            <a:lvl1pPr marL="0" indent="0">
              <a:buFontTx/>
              <a:buNone/>
              <a:defRPr sz="1905"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endParaRPr lang="en-US" dirty="0"/>
          </a:p>
        </p:txBody>
      </p:sp>
      <p:sp>
        <p:nvSpPr>
          <p:cNvPr id="34" name="Text Placeholder 4">
            <a:extLst>
              <a:ext uri="{FF2B5EF4-FFF2-40B4-BE49-F238E27FC236}">
                <a16:creationId xmlns:a16="http://schemas.microsoft.com/office/drawing/2014/main" id="{D05AC4CC-BCEB-4846-8465-147A1EB1FD84}"/>
              </a:ext>
            </a:extLst>
          </p:cNvPr>
          <p:cNvSpPr>
            <a:spLocks noGrp="1"/>
          </p:cNvSpPr>
          <p:nvPr>
            <p:ph type="body" sz="quarter" idx="36" hasCustomPrompt="1"/>
          </p:nvPr>
        </p:nvSpPr>
        <p:spPr>
          <a:xfrm>
            <a:off x="8119120" y="3177872"/>
            <a:ext cx="1748034" cy="531800"/>
          </a:xfrm>
          <a:prstGeom prst="rect">
            <a:avLst/>
          </a:prstGeom>
        </p:spPr>
        <p:txBody>
          <a:bodyPr/>
          <a:lstStyle>
            <a:lvl1pPr>
              <a:buFontTx/>
              <a:buNone/>
              <a:defRPr lang="x-none" sz="2539" kern="1200" dirty="0">
                <a:solidFill>
                  <a:srgbClr val="E41910"/>
                </a:solidFill>
                <a:latin typeface="+mn-lt"/>
                <a:ea typeface="+mn-ea"/>
                <a:cs typeface="+mn-cs"/>
              </a:defRPr>
            </a:lvl1pPr>
          </a:lstStyle>
          <a:p>
            <a:pPr lvl="0"/>
            <a:r>
              <a:rPr lang="ru-RU" dirty="0"/>
              <a:t>10 000</a:t>
            </a:r>
            <a:endParaRPr lang="x-none" dirty="0"/>
          </a:p>
        </p:txBody>
      </p:sp>
      <p:sp>
        <p:nvSpPr>
          <p:cNvPr id="35" name="Text Placeholder 8">
            <a:extLst>
              <a:ext uri="{FF2B5EF4-FFF2-40B4-BE49-F238E27FC236}">
                <a16:creationId xmlns:a16="http://schemas.microsoft.com/office/drawing/2014/main" id="{9952AC09-3CFC-F148-A8F4-E73A5FE3969E}"/>
              </a:ext>
            </a:extLst>
          </p:cNvPr>
          <p:cNvSpPr>
            <a:spLocks noGrp="1"/>
          </p:cNvSpPr>
          <p:nvPr>
            <p:ph type="body" sz="quarter" idx="37" hasCustomPrompt="1"/>
          </p:nvPr>
        </p:nvSpPr>
        <p:spPr>
          <a:xfrm>
            <a:off x="2332122" y="4541465"/>
            <a:ext cx="1752033" cy="664646"/>
          </a:xfrm>
          <a:prstGeom prst="rect">
            <a:avLst/>
          </a:prstGeom>
        </p:spPr>
        <p:txBody>
          <a:bodyPr/>
          <a:lstStyle>
            <a:lvl1pPr marL="0" indent="0">
              <a:buFontTx/>
              <a:buNone/>
              <a:defRPr sz="1905"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endParaRPr lang="en-US" dirty="0"/>
          </a:p>
        </p:txBody>
      </p:sp>
      <p:sp>
        <p:nvSpPr>
          <p:cNvPr id="37" name="Text Placeholder 4">
            <a:extLst>
              <a:ext uri="{FF2B5EF4-FFF2-40B4-BE49-F238E27FC236}">
                <a16:creationId xmlns:a16="http://schemas.microsoft.com/office/drawing/2014/main" id="{C0161F4A-50C3-264C-A222-B046510BB7EB}"/>
              </a:ext>
            </a:extLst>
          </p:cNvPr>
          <p:cNvSpPr>
            <a:spLocks noGrp="1"/>
          </p:cNvSpPr>
          <p:nvPr>
            <p:ph type="body" sz="quarter" idx="39" hasCustomPrompt="1"/>
          </p:nvPr>
        </p:nvSpPr>
        <p:spPr>
          <a:xfrm>
            <a:off x="2324847" y="5235655"/>
            <a:ext cx="1773160" cy="531800"/>
          </a:xfrm>
          <a:prstGeom prst="rect">
            <a:avLst/>
          </a:prstGeom>
        </p:spPr>
        <p:txBody>
          <a:bodyPr/>
          <a:lstStyle>
            <a:lvl1pPr>
              <a:buFontTx/>
              <a:buNone/>
              <a:defRPr lang="x-none" sz="2539" kern="1200" dirty="0">
                <a:solidFill>
                  <a:srgbClr val="E41910"/>
                </a:solidFill>
                <a:latin typeface="+mn-lt"/>
                <a:ea typeface="+mn-ea"/>
                <a:cs typeface="+mn-cs"/>
              </a:defRPr>
            </a:lvl1pPr>
          </a:lstStyle>
          <a:p>
            <a:pPr lvl="0"/>
            <a:r>
              <a:rPr lang="ru-RU" dirty="0"/>
              <a:t>10 000</a:t>
            </a:r>
            <a:endParaRPr lang="x-none" dirty="0"/>
          </a:p>
        </p:txBody>
      </p:sp>
      <p:sp>
        <p:nvSpPr>
          <p:cNvPr id="38" name="Text Placeholder 8">
            <a:extLst>
              <a:ext uri="{FF2B5EF4-FFF2-40B4-BE49-F238E27FC236}">
                <a16:creationId xmlns:a16="http://schemas.microsoft.com/office/drawing/2014/main" id="{27BA8302-402C-704C-A719-FDF6F840017A}"/>
              </a:ext>
            </a:extLst>
          </p:cNvPr>
          <p:cNvSpPr>
            <a:spLocks noGrp="1"/>
          </p:cNvSpPr>
          <p:nvPr>
            <p:ph type="body" sz="quarter" idx="40" hasCustomPrompt="1"/>
          </p:nvPr>
        </p:nvSpPr>
        <p:spPr>
          <a:xfrm>
            <a:off x="8119119" y="4541465"/>
            <a:ext cx="1752033" cy="664646"/>
          </a:xfrm>
          <a:prstGeom prst="rect">
            <a:avLst/>
          </a:prstGeom>
        </p:spPr>
        <p:txBody>
          <a:bodyPr/>
          <a:lstStyle>
            <a:lvl1pPr marL="0" indent="0">
              <a:buFontTx/>
              <a:buNone/>
              <a:defRPr sz="1905"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Description text</a:t>
            </a:r>
            <a:endParaRPr lang="en-US" dirty="0"/>
          </a:p>
        </p:txBody>
      </p:sp>
      <p:sp>
        <p:nvSpPr>
          <p:cNvPr id="40" name="Text Placeholder 4">
            <a:extLst>
              <a:ext uri="{FF2B5EF4-FFF2-40B4-BE49-F238E27FC236}">
                <a16:creationId xmlns:a16="http://schemas.microsoft.com/office/drawing/2014/main" id="{7E3FBDBA-8D47-A149-A13B-07DAA55A6919}"/>
              </a:ext>
            </a:extLst>
          </p:cNvPr>
          <p:cNvSpPr>
            <a:spLocks noGrp="1"/>
          </p:cNvSpPr>
          <p:nvPr>
            <p:ph type="body" sz="quarter" idx="42" hasCustomPrompt="1"/>
          </p:nvPr>
        </p:nvSpPr>
        <p:spPr>
          <a:xfrm>
            <a:off x="8119120" y="5235655"/>
            <a:ext cx="1773160" cy="531800"/>
          </a:xfrm>
          <a:prstGeom prst="rect">
            <a:avLst/>
          </a:prstGeom>
        </p:spPr>
        <p:txBody>
          <a:bodyPr/>
          <a:lstStyle>
            <a:lvl1pPr>
              <a:buFontTx/>
              <a:buNone/>
              <a:defRPr lang="x-none" sz="2539" kern="1200" dirty="0">
                <a:solidFill>
                  <a:srgbClr val="E41910"/>
                </a:solidFill>
                <a:latin typeface="+mn-lt"/>
                <a:ea typeface="+mn-ea"/>
                <a:cs typeface="+mn-cs"/>
              </a:defRPr>
            </a:lvl1pPr>
          </a:lstStyle>
          <a:p>
            <a:pPr lvl="0"/>
            <a:r>
              <a:rPr lang="ru-RU" dirty="0"/>
              <a:t>10 000</a:t>
            </a:r>
            <a:endParaRPr lang="x-none" dirty="0"/>
          </a:p>
        </p:txBody>
      </p:sp>
      <p:sp>
        <p:nvSpPr>
          <p:cNvPr id="44" name="Text Placeholder 13">
            <a:extLst>
              <a:ext uri="{FF2B5EF4-FFF2-40B4-BE49-F238E27FC236}">
                <a16:creationId xmlns:a16="http://schemas.microsoft.com/office/drawing/2014/main" id="{04F35FED-5463-7446-B94B-5C6AB0FDEAD4}"/>
              </a:ext>
            </a:extLst>
          </p:cNvPr>
          <p:cNvSpPr>
            <a:spLocks noGrp="1"/>
          </p:cNvSpPr>
          <p:nvPr>
            <p:ph type="body" sz="quarter" idx="43" hasCustomPrompt="1"/>
          </p:nvPr>
        </p:nvSpPr>
        <p:spPr>
          <a:xfrm>
            <a:off x="2324847" y="3754867"/>
            <a:ext cx="1790669" cy="664645"/>
          </a:xfrm>
          <a:prstGeom prst="rect">
            <a:avLst/>
          </a:prstGeom>
        </p:spPr>
        <p:txBody>
          <a:bodyPr/>
          <a:lstStyle>
            <a:lvl1pPr marL="0" marR="0" indent="0" algn="l" defTabSz="967527" rtl="0" eaLnBrk="1" fontAlgn="auto" latinLnBrk="0" hangingPunct="1">
              <a:lnSpc>
                <a:spcPct val="100000"/>
              </a:lnSpc>
              <a:spcBef>
                <a:spcPts val="0"/>
              </a:spcBef>
              <a:spcAft>
                <a:spcPts val="0"/>
              </a:spcAft>
              <a:buClrTx/>
              <a:buSzTx/>
              <a:buFontTx/>
              <a:buNone/>
              <a:tabLst/>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LIST TEXT SLIDE</a:t>
            </a:r>
          </a:p>
          <a:p>
            <a:pPr lvl="0"/>
            <a:r>
              <a:rPr lang="en-GB" dirty="0"/>
              <a:t>LIST TEXT SLIDE</a:t>
            </a:r>
          </a:p>
          <a:p>
            <a:pPr lvl="0"/>
            <a:r>
              <a:rPr lang="en-GB" dirty="0"/>
              <a:t>LIST TEXT SLIDE</a:t>
            </a:r>
          </a:p>
        </p:txBody>
      </p:sp>
      <p:sp>
        <p:nvSpPr>
          <p:cNvPr id="45" name="Text Placeholder 13">
            <a:extLst>
              <a:ext uri="{FF2B5EF4-FFF2-40B4-BE49-F238E27FC236}">
                <a16:creationId xmlns:a16="http://schemas.microsoft.com/office/drawing/2014/main" id="{1CD1BB7F-5F50-EA43-B9AC-61FA6101C76E}"/>
              </a:ext>
            </a:extLst>
          </p:cNvPr>
          <p:cNvSpPr>
            <a:spLocks noGrp="1"/>
          </p:cNvSpPr>
          <p:nvPr>
            <p:ph type="body" sz="quarter" idx="44" hasCustomPrompt="1"/>
          </p:nvPr>
        </p:nvSpPr>
        <p:spPr>
          <a:xfrm>
            <a:off x="2324847" y="5796139"/>
            <a:ext cx="1790669" cy="664645"/>
          </a:xfrm>
          <a:prstGeom prst="rect">
            <a:avLst/>
          </a:prstGeom>
        </p:spPr>
        <p:txBody>
          <a:bodyPr/>
          <a:lstStyle>
            <a:lvl1pPr marL="0" marR="0" indent="0" algn="l" defTabSz="967527" rtl="0" eaLnBrk="1" fontAlgn="auto" latinLnBrk="0" hangingPunct="1">
              <a:lnSpc>
                <a:spcPct val="100000"/>
              </a:lnSpc>
              <a:spcBef>
                <a:spcPts val="0"/>
              </a:spcBef>
              <a:spcAft>
                <a:spcPts val="0"/>
              </a:spcAft>
              <a:buClrTx/>
              <a:buSzTx/>
              <a:buFontTx/>
              <a:buNone/>
              <a:tabLst/>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LIST TEXT SLIDE</a:t>
            </a:r>
          </a:p>
          <a:p>
            <a:pPr lvl="0"/>
            <a:r>
              <a:rPr lang="en-GB" dirty="0"/>
              <a:t>LIST TEXT SLIDE</a:t>
            </a:r>
          </a:p>
          <a:p>
            <a:pPr lvl="0"/>
            <a:r>
              <a:rPr lang="en-GB" dirty="0"/>
              <a:t>LIST TEXT SLIDE</a:t>
            </a:r>
          </a:p>
        </p:txBody>
      </p:sp>
      <p:sp>
        <p:nvSpPr>
          <p:cNvPr id="46" name="Text Placeholder 13">
            <a:extLst>
              <a:ext uri="{FF2B5EF4-FFF2-40B4-BE49-F238E27FC236}">
                <a16:creationId xmlns:a16="http://schemas.microsoft.com/office/drawing/2014/main" id="{359F3C84-0FE3-3243-8295-FAACAC9CF383}"/>
              </a:ext>
            </a:extLst>
          </p:cNvPr>
          <p:cNvSpPr>
            <a:spLocks noGrp="1"/>
          </p:cNvSpPr>
          <p:nvPr>
            <p:ph type="body" sz="quarter" idx="45" hasCustomPrompt="1"/>
          </p:nvPr>
        </p:nvSpPr>
        <p:spPr>
          <a:xfrm>
            <a:off x="8115123" y="3754867"/>
            <a:ext cx="1790669" cy="664645"/>
          </a:xfrm>
          <a:prstGeom prst="rect">
            <a:avLst/>
          </a:prstGeom>
        </p:spPr>
        <p:txBody>
          <a:bodyPr/>
          <a:lstStyle>
            <a:lvl1pPr marL="0" marR="0" indent="0" algn="l" defTabSz="967527" rtl="0" eaLnBrk="1" fontAlgn="auto" latinLnBrk="0" hangingPunct="1">
              <a:lnSpc>
                <a:spcPct val="100000"/>
              </a:lnSpc>
              <a:spcBef>
                <a:spcPts val="0"/>
              </a:spcBef>
              <a:spcAft>
                <a:spcPts val="0"/>
              </a:spcAft>
              <a:buClrTx/>
              <a:buSzTx/>
              <a:buFontTx/>
              <a:buNone/>
              <a:tabLst/>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LIST TEXT SLIDE</a:t>
            </a:r>
          </a:p>
          <a:p>
            <a:pPr lvl="0"/>
            <a:r>
              <a:rPr lang="en-GB" dirty="0"/>
              <a:t>LIST TEXT SLIDE</a:t>
            </a:r>
          </a:p>
          <a:p>
            <a:pPr lvl="0"/>
            <a:r>
              <a:rPr lang="en-GB" dirty="0"/>
              <a:t>LIST TEXT SLIDE</a:t>
            </a:r>
          </a:p>
        </p:txBody>
      </p:sp>
      <p:sp>
        <p:nvSpPr>
          <p:cNvPr id="47" name="Text Placeholder 13">
            <a:extLst>
              <a:ext uri="{FF2B5EF4-FFF2-40B4-BE49-F238E27FC236}">
                <a16:creationId xmlns:a16="http://schemas.microsoft.com/office/drawing/2014/main" id="{27591116-0285-B04A-85C5-54F43CE8EB68}"/>
              </a:ext>
            </a:extLst>
          </p:cNvPr>
          <p:cNvSpPr>
            <a:spLocks noGrp="1"/>
          </p:cNvSpPr>
          <p:nvPr>
            <p:ph type="body" sz="quarter" idx="46" hasCustomPrompt="1"/>
          </p:nvPr>
        </p:nvSpPr>
        <p:spPr>
          <a:xfrm>
            <a:off x="8115123" y="5796139"/>
            <a:ext cx="1790669" cy="664645"/>
          </a:xfrm>
          <a:prstGeom prst="rect">
            <a:avLst/>
          </a:prstGeom>
        </p:spPr>
        <p:txBody>
          <a:bodyPr/>
          <a:lstStyle>
            <a:lvl1pPr marL="0" marR="0" indent="0" algn="l" defTabSz="967527" rtl="0" eaLnBrk="1" fontAlgn="auto" latinLnBrk="0" hangingPunct="1">
              <a:lnSpc>
                <a:spcPct val="100000"/>
              </a:lnSpc>
              <a:spcBef>
                <a:spcPts val="0"/>
              </a:spcBef>
              <a:spcAft>
                <a:spcPts val="0"/>
              </a:spcAft>
              <a:buClrTx/>
              <a:buSzTx/>
              <a:buFontTx/>
              <a:buNone/>
              <a:tabLst/>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dirty="0"/>
              <a:t>LIST TEXT SLIDE</a:t>
            </a:r>
          </a:p>
          <a:p>
            <a:pPr lvl="0"/>
            <a:r>
              <a:rPr lang="en-GB" dirty="0"/>
              <a:t>LIST TEXT SLIDE</a:t>
            </a:r>
          </a:p>
          <a:p>
            <a:pPr lvl="0"/>
            <a:r>
              <a:rPr lang="en-GB" dirty="0"/>
              <a:t>LIST TEXT SLIDE</a:t>
            </a:r>
          </a:p>
        </p:txBody>
      </p:sp>
    </p:spTree>
    <p:extLst>
      <p:ext uri="{BB962C8B-B14F-4D97-AF65-F5344CB8AC3E}">
        <p14:creationId xmlns:p14="http://schemas.microsoft.com/office/powerpoint/2010/main" val="2755949151"/>
      </p:ext>
    </p:extLst>
  </p:cSld>
  <p:clrMapOvr>
    <a:masterClrMapping/>
  </p:clrMapOvr>
  <p:transition>
    <p:fade/>
  </p:transition>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2_Content">
    <p:bg>
      <p:bgPr>
        <a:solidFill>
          <a:srgbClr val="FFFFFF"/>
        </a:solidFill>
        <a:effectLst/>
      </p:bgPr>
    </p:bg>
    <p:spTree>
      <p:nvGrpSpPr>
        <p:cNvPr id="1" name=""/>
        <p:cNvGrpSpPr/>
        <p:nvPr/>
      </p:nvGrpSpPr>
      <p:grpSpPr>
        <a:xfrm>
          <a:off x="0" y="0"/>
          <a:ext cx="0" cy="0"/>
          <a:chOff x="0" y="0"/>
          <a:chExt cx="0" cy="0"/>
        </a:xfrm>
      </p:grpSpPr>
      <p:sp>
        <p:nvSpPr>
          <p:cNvPr id="3" name="Chart Placeholder 2">
            <a:extLst>
              <a:ext uri="{FF2B5EF4-FFF2-40B4-BE49-F238E27FC236}">
                <a16:creationId xmlns:a16="http://schemas.microsoft.com/office/drawing/2014/main" id="{BDA20B8B-578E-AE4B-ABDA-B36BB0CC5BA4}"/>
              </a:ext>
            </a:extLst>
          </p:cNvPr>
          <p:cNvSpPr>
            <a:spLocks noGrp="1"/>
          </p:cNvSpPr>
          <p:nvPr>
            <p:ph type="chart" sz="quarter" idx="26"/>
          </p:nvPr>
        </p:nvSpPr>
        <p:spPr>
          <a:xfrm>
            <a:off x="381316" y="1256688"/>
            <a:ext cx="11429370" cy="4969609"/>
          </a:xfrm>
          <a:prstGeom prst="rect">
            <a:avLst/>
          </a:prstGeom>
        </p:spPr>
        <p:txBody>
          <a:bodyPr anchor="ctr"/>
          <a:lstStyle>
            <a:lvl1pPr algn="ctr">
              <a:buFontTx/>
              <a:buNone/>
              <a:defRPr sz="2538">
                <a:solidFill>
                  <a:srgbClr val="7F8183"/>
                </a:solidFill>
              </a:defRPr>
            </a:lvl1pPr>
          </a:lstStyle>
          <a:p>
            <a:endParaRPr lang="x-none"/>
          </a:p>
        </p:txBody>
      </p:sp>
      <p:cxnSp>
        <p:nvCxnSpPr>
          <p:cNvPr id="7" name="Straight Connector 6">
            <a:extLst>
              <a:ext uri="{FF2B5EF4-FFF2-40B4-BE49-F238E27FC236}">
                <a16:creationId xmlns:a16="http://schemas.microsoft.com/office/drawing/2014/main" id="{99EA62CA-D0D2-094E-ABA2-DCC2F45F3120}"/>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8" name="Text Placeholder 13">
            <a:extLst>
              <a:ext uri="{FF2B5EF4-FFF2-40B4-BE49-F238E27FC236}">
                <a16:creationId xmlns:a16="http://schemas.microsoft.com/office/drawing/2014/main" id="{481870C3-E2C3-1B41-92AD-2CF0644DEA67}"/>
              </a:ext>
            </a:extLst>
          </p:cNvPr>
          <p:cNvSpPr>
            <a:spLocks noGrp="1"/>
          </p:cNvSpPr>
          <p:nvPr>
            <p:ph type="body" sz="quarter" idx="14" hasCustomPrompt="1"/>
          </p:nvPr>
        </p:nvSpPr>
        <p:spPr>
          <a:xfrm>
            <a:off x="295484"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10" name="Slide Number Placeholder 1">
            <a:extLst>
              <a:ext uri="{FF2B5EF4-FFF2-40B4-BE49-F238E27FC236}">
                <a16:creationId xmlns:a16="http://schemas.microsoft.com/office/drawing/2014/main" id="{7E135D83-F511-CC4E-9D94-E0B2E4F611E1}"/>
              </a:ext>
            </a:extLst>
          </p:cNvPr>
          <p:cNvSpPr txBox="1">
            <a:spLocks/>
          </p:cNvSpPr>
          <p:nvPr userDrawn="1"/>
        </p:nvSpPr>
        <p:spPr>
          <a:xfrm>
            <a:off x="11108818" y="395812"/>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Text Placeholder 13">
            <a:extLst>
              <a:ext uri="{FF2B5EF4-FFF2-40B4-BE49-F238E27FC236}">
                <a16:creationId xmlns:a16="http://schemas.microsoft.com/office/drawing/2014/main" id="{C64C08BD-A6CB-3142-A331-2D2C6916DE56}"/>
              </a:ext>
            </a:extLst>
          </p:cNvPr>
          <p:cNvSpPr>
            <a:spLocks noGrp="1"/>
          </p:cNvSpPr>
          <p:nvPr>
            <p:ph type="body" sz="quarter" idx="25" hasCustomPrompt="1"/>
          </p:nvPr>
        </p:nvSpPr>
        <p:spPr>
          <a:xfrm>
            <a:off x="10020017" y="6319801"/>
            <a:ext cx="1790667" cy="374160"/>
          </a:xfrm>
          <a:prstGeom prst="rect">
            <a:avLst/>
          </a:prstGeom>
        </p:spPr>
        <p:txBody>
          <a:bodyPr/>
          <a:lstStyle>
            <a:lvl1pPr marL="0" indent="0" algn="r">
              <a:buFontTx/>
              <a:buNone/>
              <a:defRPr sz="845"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spTree>
    <p:extLst>
      <p:ext uri="{BB962C8B-B14F-4D97-AF65-F5344CB8AC3E}">
        <p14:creationId xmlns:p14="http://schemas.microsoft.com/office/powerpoint/2010/main" val="1422334498"/>
      </p:ext>
    </p:extLst>
  </p:cSld>
  <p:clrMapOvr>
    <a:masterClrMapping/>
  </p:clrMapOvr>
  <p:transition>
    <p:fade/>
  </p:transition>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5_Content">
    <p:bg>
      <p:bgPr>
        <a:solidFill>
          <a:srgbClr val="FFFFFF"/>
        </a:solidFill>
        <a:effectLst/>
      </p:bgPr>
    </p:bg>
    <p:spTree>
      <p:nvGrpSpPr>
        <p:cNvPr id="1" name=""/>
        <p:cNvGrpSpPr/>
        <p:nvPr/>
      </p:nvGrpSpPr>
      <p:grpSpPr>
        <a:xfrm>
          <a:off x="0" y="0"/>
          <a:ext cx="0" cy="0"/>
          <a:chOff x="0" y="0"/>
          <a:chExt cx="0" cy="0"/>
        </a:xfrm>
      </p:grpSpPr>
      <p:sp>
        <p:nvSpPr>
          <p:cNvPr id="3" name="Chart Placeholder 2">
            <a:extLst>
              <a:ext uri="{FF2B5EF4-FFF2-40B4-BE49-F238E27FC236}">
                <a16:creationId xmlns:a16="http://schemas.microsoft.com/office/drawing/2014/main" id="{BDA20B8B-578E-AE4B-ABDA-B36BB0CC5BA4}"/>
              </a:ext>
            </a:extLst>
          </p:cNvPr>
          <p:cNvSpPr>
            <a:spLocks noGrp="1"/>
          </p:cNvSpPr>
          <p:nvPr>
            <p:ph type="chart" sz="quarter" idx="26"/>
          </p:nvPr>
        </p:nvSpPr>
        <p:spPr>
          <a:xfrm>
            <a:off x="381316" y="1263961"/>
            <a:ext cx="7580944" cy="4969612"/>
          </a:xfrm>
          <a:prstGeom prst="rect">
            <a:avLst/>
          </a:prstGeom>
        </p:spPr>
        <p:txBody>
          <a:bodyPr anchor="ctr"/>
          <a:lstStyle>
            <a:lvl1pPr algn="ctr">
              <a:buFontTx/>
              <a:buNone/>
              <a:defRPr/>
            </a:lvl1pPr>
          </a:lstStyle>
          <a:p>
            <a:endParaRPr lang="x-none"/>
          </a:p>
        </p:txBody>
      </p:sp>
      <p:sp>
        <p:nvSpPr>
          <p:cNvPr id="7" name="Text Placeholder 8">
            <a:extLst>
              <a:ext uri="{FF2B5EF4-FFF2-40B4-BE49-F238E27FC236}">
                <a16:creationId xmlns:a16="http://schemas.microsoft.com/office/drawing/2014/main" id="{BEB572FF-CA06-4849-8D94-3C3994A45B70}"/>
              </a:ext>
            </a:extLst>
          </p:cNvPr>
          <p:cNvSpPr>
            <a:spLocks noGrp="1"/>
          </p:cNvSpPr>
          <p:nvPr>
            <p:ph type="body" sz="quarter" idx="11" hasCustomPrompt="1"/>
          </p:nvPr>
        </p:nvSpPr>
        <p:spPr>
          <a:xfrm>
            <a:off x="8115122" y="1278514"/>
            <a:ext cx="3695564" cy="1029869"/>
          </a:xfrm>
          <a:prstGeom prst="rect">
            <a:avLst/>
          </a:prstGeom>
        </p:spPr>
        <p:txBody>
          <a:bodyPr/>
          <a:lstStyle>
            <a:lvl1pPr marL="0" indent="0">
              <a:buFontTx/>
              <a:buNone/>
              <a:defRPr sz="253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Text slide</a:t>
            </a:r>
            <a:endParaRPr lang="x-none" dirty="0"/>
          </a:p>
        </p:txBody>
      </p:sp>
      <p:sp>
        <p:nvSpPr>
          <p:cNvPr id="8" name="Text Placeholder 8">
            <a:extLst>
              <a:ext uri="{FF2B5EF4-FFF2-40B4-BE49-F238E27FC236}">
                <a16:creationId xmlns:a16="http://schemas.microsoft.com/office/drawing/2014/main" id="{252C4B7C-9670-DF42-BC56-B170DECD75DC}"/>
              </a:ext>
            </a:extLst>
          </p:cNvPr>
          <p:cNvSpPr>
            <a:spLocks noGrp="1"/>
          </p:cNvSpPr>
          <p:nvPr>
            <p:ph type="body" sz="quarter" idx="27" hasCustomPrompt="1"/>
          </p:nvPr>
        </p:nvSpPr>
        <p:spPr>
          <a:xfrm>
            <a:off x="8122397" y="2477728"/>
            <a:ext cx="3695564" cy="2970700"/>
          </a:xfrm>
          <a:prstGeom prst="rect">
            <a:avLst/>
          </a:prstGeom>
        </p:spPr>
        <p:txBody>
          <a:bodyPr/>
          <a:lstStyle>
            <a:lvl1pPr marL="0" indent="0">
              <a:buFontTx/>
              <a:buNone/>
              <a:defRPr sz="1376"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Text slide</a:t>
            </a:r>
            <a:endParaRPr lang="x-none" dirty="0"/>
          </a:p>
        </p:txBody>
      </p:sp>
      <p:cxnSp>
        <p:nvCxnSpPr>
          <p:cNvPr id="10" name="Straight Connector 9">
            <a:extLst>
              <a:ext uri="{FF2B5EF4-FFF2-40B4-BE49-F238E27FC236}">
                <a16:creationId xmlns:a16="http://schemas.microsoft.com/office/drawing/2014/main" id="{E508586F-874B-374D-83C3-AE2D248221F4}"/>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11" name="Text Placeholder 13">
            <a:extLst>
              <a:ext uri="{FF2B5EF4-FFF2-40B4-BE49-F238E27FC236}">
                <a16:creationId xmlns:a16="http://schemas.microsoft.com/office/drawing/2014/main" id="{598649D2-E782-5D48-8FCD-B39D7C72EF41}"/>
              </a:ext>
            </a:extLst>
          </p:cNvPr>
          <p:cNvSpPr>
            <a:spLocks noGrp="1"/>
          </p:cNvSpPr>
          <p:nvPr>
            <p:ph type="body" sz="quarter" idx="14" hasCustomPrompt="1"/>
          </p:nvPr>
        </p:nvSpPr>
        <p:spPr>
          <a:xfrm>
            <a:off x="295484"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Section title</a:t>
            </a:r>
          </a:p>
        </p:txBody>
      </p:sp>
      <p:sp>
        <p:nvSpPr>
          <p:cNvPr id="13" name="Slide Number Placeholder 1">
            <a:extLst>
              <a:ext uri="{FF2B5EF4-FFF2-40B4-BE49-F238E27FC236}">
                <a16:creationId xmlns:a16="http://schemas.microsoft.com/office/drawing/2014/main" id="{9C321D37-B46B-774E-8AD4-106329636C69}"/>
              </a:ext>
            </a:extLst>
          </p:cNvPr>
          <p:cNvSpPr txBox="1">
            <a:spLocks/>
          </p:cNvSpPr>
          <p:nvPr userDrawn="1"/>
        </p:nvSpPr>
        <p:spPr>
          <a:xfrm>
            <a:off x="11108818" y="395812"/>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13">
            <a:extLst>
              <a:ext uri="{FF2B5EF4-FFF2-40B4-BE49-F238E27FC236}">
                <a16:creationId xmlns:a16="http://schemas.microsoft.com/office/drawing/2014/main" id="{875E4949-D1C2-3648-90A7-64A1873880BB}"/>
              </a:ext>
            </a:extLst>
          </p:cNvPr>
          <p:cNvSpPr>
            <a:spLocks noGrp="1"/>
          </p:cNvSpPr>
          <p:nvPr>
            <p:ph type="body" sz="quarter" idx="25" hasCustomPrompt="1"/>
          </p:nvPr>
        </p:nvSpPr>
        <p:spPr>
          <a:xfrm>
            <a:off x="10020017" y="6319801"/>
            <a:ext cx="1790667" cy="374160"/>
          </a:xfrm>
          <a:prstGeom prst="rect">
            <a:avLst/>
          </a:prstGeom>
        </p:spPr>
        <p:txBody>
          <a:bodyPr/>
          <a:lstStyle>
            <a:lvl1pPr marL="0" indent="0" algn="r">
              <a:buFontTx/>
              <a:buNone/>
              <a:defRPr sz="845"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x-none" dirty="0"/>
              <a:t>Presentation title</a:t>
            </a:r>
          </a:p>
        </p:txBody>
      </p:sp>
    </p:spTree>
    <p:extLst>
      <p:ext uri="{BB962C8B-B14F-4D97-AF65-F5344CB8AC3E}">
        <p14:creationId xmlns:p14="http://schemas.microsoft.com/office/powerpoint/2010/main" val="525322271"/>
      </p:ext>
    </p:extLst>
  </p:cSld>
  <p:clrMapOvr>
    <a:masterClrMapping/>
  </p:clrMapOvr>
  <p:transition>
    <p:fade/>
  </p:transition>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3_Title">
    <p:bg>
      <p:bgPr>
        <a:solidFill>
          <a:srgbClr val="FFFFFF"/>
        </a:solidFill>
        <a:effectLst/>
      </p:bgPr>
    </p:bg>
    <p:spTree>
      <p:nvGrpSpPr>
        <p:cNvPr id="1" name=""/>
        <p:cNvGrpSpPr/>
        <p:nvPr/>
      </p:nvGrpSpPr>
      <p:grpSpPr>
        <a:xfrm>
          <a:off x="0" y="0"/>
          <a:ext cx="0" cy="0"/>
          <a:chOff x="0" y="0"/>
          <a:chExt cx="0" cy="0"/>
        </a:xfrm>
      </p:grpSpPr>
      <p:sp>
        <p:nvSpPr>
          <p:cNvPr id="16" name="Text Placeholder 10">
            <a:extLst>
              <a:ext uri="{FF2B5EF4-FFF2-40B4-BE49-F238E27FC236}">
                <a16:creationId xmlns:a16="http://schemas.microsoft.com/office/drawing/2014/main" id="{474A4320-3C1A-114D-AA60-FA85EE7C2760}"/>
              </a:ext>
            </a:extLst>
          </p:cNvPr>
          <p:cNvSpPr>
            <a:spLocks noGrp="1"/>
          </p:cNvSpPr>
          <p:nvPr>
            <p:ph type="body" sz="quarter" idx="14" hasCustomPrompt="1"/>
          </p:nvPr>
        </p:nvSpPr>
        <p:spPr>
          <a:xfrm>
            <a:off x="6106115" y="5885456"/>
            <a:ext cx="2110853" cy="898016"/>
          </a:xfrm>
          <a:prstGeom prst="rect">
            <a:avLst/>
          </a:prstGeom>
        </p:spPr>
        <p:txBody>
          <a:bodyPr lIns="180000" rIns="180000" anchor="t"/>
          <a:lstStyle>
            <a:lvl1pPr marL="0" indent="0" algn="l">
              <a:lnSpc>
                <a:spcPct val="100000"/>
              </a:lnSpc>
              <a:buFontTx/>
              <a:buNone/>
              <a:defRPr sz="1058"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r>
              <a:rPr lang="en-US" dirty="0" err="1"/>
              <a:t>Facebook.com</a:t>
            </a:r>
            <a:r>
              <a:rPr lang="en-US" dirty="0"/>
              <a:t>/</a:t>
            </a:r>
            <a:r>
              <a:rPr lang="en-US" dirty="0" err="1"/>
              <a:t>omk.ru</a:t>
            </a:r>
            <a:endParaRPr lang="en-US" dirty="0"/>
          </a:p>
          <a:p>
            <a:pPr lvl="0"/>
            <a:r>
              <a:rPr lang="en-US" dirty="0"/>
              <a:t>@</a:t>
            </a:r>
            <a:r>
              <a:rPr lang="en-US" dirty="0" err="1"/>
              <a:t>instagram.com</a:t>
            </a:r>
            <a:r>
              <a:rPr lang="en-US" dirty="0"/>
              <a:t>/</a:t>
            </a:r>
            <a:r>
              <a:rPr lang="en-US" dirty="0" err="1"/>
              <a:t>oml.ru</a:t>
            </a:r>
            <a:endParaRPr lang="en-US" dirty="0"/>
          </a:p>
          <a:p>
            <a:pPr lvl="0"/>
            <a:r>
              <a:rPr lang="en-US" dirty="0"/>
              <a:t>@</a:t>
            </a:r>
            <a:r>
              <a:rPr lang="en-US" dirty="0" err="1"/>
              <a:t>vk.com</a:t>
            </a:r>
            <a:r>
              <a:rPr lang="en-US" dirty="0"/>
              <a:t>/</a:t>
            </a:r>
            <a:r>
              <a:rPr lang="en-US" dirty="0" err="1"/>
              <a:t>omk_official</a:t>
            </a:r>
            <a:endParaRPr lang="x-none" dirty="0"/>
          </a:p>
        </p:txBody>
      </p:sp>
      <p:sp>
        <p:nvSpPr>
          <p:cNvPr id="21" name="Text Placeholder 8">
            <a:extLst>
              <a:ext uri="{FF2B5EF4-FFF2-40B4-BE49-F238E27FC236}">
                <a16:creationId xmlns:a16="http://schemas.microsoft.com/office/drawing/2014/main" id="{8082DBEF-CBAD-B54A-A0D6-2705122AF9D8}"/>
              </a:ext>
            </a:extLst>
          </p:cNvPr>
          <p:cNvSpPr>
            <a:spLocks noGrp="1"/>
          </p:cNvSpPr>
          <p:nvPr>
            <p:ph type="body" sz="quarter" idx="15" hasCustomPrompt="1"/>
          </p:nvPr>
        </p:nvSpPr>
        <p:spPr>
          <a:xfrm>
            <a:off x="2215722" y="2332101"/>
            <a:ext cx="8082431" cy="1174967"/>
          </a:xfrm>
          <a:prstGeom prst="rect">
            <a:avLst/>
          </a:prstGeom>
        </p:spPr>
        <p:txBody>
          <a:bodyPr anchor="b"/>
          <a:lstStyle>
            <a:lvl1pPr marL="0" indent="0">
              <a:buFontTx/>
              <a:buNone/>
              <a:defRPr sz="3598"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Спасибо за внимание!</a:t>
            </a:r>
            <a:endParaRPr lang="x-none" dirty="0"/>
          </a:p>
        </p:txBody>
      </p:sp>
      <p:sp>
        <p:nvSpPr>
          <p:cNvPr id="2" name="TextBox 1">
            <a:extLst>
              <a:ext uri="{FF2B5EF4-FFF2-40B4-BE49-F238E27FC236}">
                <a16:creationId xmlns:a16="http://schemas.microsoft.com/office/drawing/2014/main" id="{3B44C52D-F828-E147-91DD-C0937F7A31CE}"/>
              </a:ext>
            </a:extLst>
          </p:cNvPr>
          <p:cNvSpPr txBox="1"/>
          <p:nvPr userDrawn="1"/>
        </p:nvSpPr>
        <p:spPr>
          <a:xfrm>
            <a:off x="2236373" y="5774789"/>
            <a:ext cx="886882" cy="825034"/>
          </a:xfrm>
          <a:prstGeom prst="rect">
            <a:avLst/>
          </a:prstGeom>
          <a:noFill/>
        </p:spPr>
        <p:txBody>
          <a:bodyPr wrap="square" rtlCol="0">
            <a:spAutoFit/>
          </a:bodyPr>
          <a:lstStyle/>
          <a:p>
            <a:pPr>
              <a:lnSpc>
                <a:spcPct val="150000"/>
              </a:lnSpc>
            </a:pPr>
            <a:r>
              <a:rPr lang="ru-RU" sz="1058" kern="1200" dirty="0">
                <a:solidFill>
                  <a:srgbClr val="E41910"/>
                </a:solidFill>
                <a:effectLst/>
                <a:latin typeface="+mn-lt"/>
                <a:ea typeface="+mn-ea"/>
                <a:cs typeface="+mn-cs"/>
              </a:rPr>
              <a:t>Телефон</a:t>
            </a:r>
          </a:p>
          <a:p>
            <a:pPr>
              <a:lnSpc>
                <a:spcPct val="150000"/>
              </a:lnSpc>
            </a:pPr>
            <a:r>
              <a:rPr lang="ru-RU" sz="1058" kern="1200" dirty="0">
                <a:solidFill>
                  <a:srgbClr val="E41910"/>
                </a:solidFill>
                <a:effectLst/>
                <a:latin typeface="+mn-lt"/>
                <a:ea typeface="+mn-ea"/>
                <a:cs typeface="+mn-cs"/>
              </a:rPr>
              <a:t>Почта</a:t>
            </a:r>
          </a:p>
          <a:p>
            <a:pPr>
              <a:lnSpc>
                <a:spcPct val="150000"/>
              </a:lnSpc>
            </a:pPr>
            <a:r>
              <a:rPr lang="ru-RU" sz="1058" kern="1200" dirty="0">
                <a:solidFill>
                  <a:srgbClr val="E41910"/>
                </a:solidFill>
                <a:effectLst/>
                <a:latin typeface="+mn-lt"/>
                <a:ea typeface="+mn-ea"/>
                <a:cs typeface="+mn-cs"/>
              </a:rPr>
              <a:t>Сайт</a:t>
            </a:r>
          </a:p>
        </p:txBody>
      </p:sp>
      <p:sp>
        <p:nvSpPr>
          <p:cNvPr id="24" name="TextBox 23">
            <a:extLst>
              <a:ext uri="{FF2B5EF4-FFF2-40B4-BE49-F238E27FC236}">
                <a16:creationId xmlns:a16="http://schemas.microsoft.com/office/drawing/2014/main" id="{3F26B54D-F66A-C344-AD13-EBD8F068DB36}"/>
              </a:ext>
            </a:extLst>
          </p:cNvPr>
          <p:cNvSpPr txBox="1"/>
          <p:nvPr userDrawn="1"/>
        </p:nvSpPr>
        <p:spPr>
          <a:xfrm>
            <a:off x="5107760" y="5832999"/>
            <a:ext cx="1153134" cy="336567"/>
          </a:xfrm>
          <a:prstGeom prst="rect">
            <a:avLst/>
          </a:prstGeom>
          <a:noFill/>
        </p:spPr>
        <p:txBody>
          <a:bodyPr wrap="square" rtlCol="0">
            <a:spAutoFit/>
          </a:bodyPr>
          <a:lstStyle/>
          <a:p>
            <a:pPr>
              <a:lnSpc>
                <a:spcPct val="150000"/>
              </a:lnSpc>
            </a:pPr>
            <a:r>
              <a:rPr lang="ru-RU" sz="1058" kern="1200" dirty="0">
                <a:solidFill>
                  <a:srgbClr val="E41910"/>
                </a:solidFill>
                <a:effectLst/>
                <a:latin typeface="+mn-lt"/>
                <a:ea typeface="+mn-ea"/>
                <a:cs typeface="+mn-cs"/>
              </a:rPr>
              <a:t>Подписаться</a:t>
            </a:r>
          </a:p>
        </p:txBody>
      </p:sp>
      <p:sp>
        <p:nvSpPr>
          <p:cNvPr id="25" name="Text Placeholder 10">
            <a:extLst>
              <a:ext uri="{FF2B5EF4-FFF2-40B4-BE49-F238E27FC236}">
                <a16:creationId xmlns:a16="http://schemas.microsoft.com/office/drawing/2014/main" id="{7A8121F5-98F3-AC40-97DF-13F1C657C0FC}"/>
              </a:ext>
            </a:extLst>
          </p:cNvPr>
          <p:cNvSpPr>
            <a:spLocks noGrp="1"/>
          </p:cNvSpPr>
          <p:nvPr>
            <p:ph type="body" sz="quarter" idx="16" hasCustomPrompt="1"/>
          </p:nvPr>
        </p:nvSpPr>
        <p:spPr>
          <a:xfrm>
            <a:off x="8216969" y="5885458"/>
            <a:ext cx="3603376" cy="932454"/>
          </a:xfrm>
          <a:prstGeom prst="rect">
            <a:avLst/>
          </a:prstGeom>
        </p:spPr>
        <p:txBody>
          <a:bodyPr lIns="180000" rIns="180000" anchor="t"/>
          <a:lstStyle>
            <a:lvl1pPr marL="0" indent="0" algn="l">
              <a:lnSpc>
                <a:spcPct val="100000"/>
              </a:lnSpc>
              <a:buFontTx/>
              <a:buNone/>
              <a:defRPr sz="1058"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a:t>
            </a:r>
            <a:r>
              <a:rPr lang="en-US" dirty="0" err="1"/>
              <a:t>twitter.com</a:t>
            </a:r>
            <a:r>
              <a:rPr lang="en-US" dirty="0"/>
              <a:t>/</a:t>
            </a:r>
            <a:r>
              <a:rPr lang="en-US" dirty="0" err="1"/>
              <a:t>omkru</a:t>
            </a:r>
            <a:endParaRPr lang="en-US" dirty="0"/>
          </a:p>
          <a:p>
            <a:pPr lvl="0"/>
            <a:r>
              <a:rPr lang="en-US" dirty="0" err="1"/>
              <a:t>youtube.com</a:t>
            </a:r>
            <a:r>
              <a:rPr lang="en-US" dirty="0"/>
              <a:t>/user/</a:t>
            </a:r>
            <a:r>
              <a:rPr lang="en-US" dirty="0" err="1"/>
              <a:t>OMKPipeCompany</a:t>
            </a:r>
            <a:endParaRPr lang="x-none" dirty="0"/>
          </a:p>
        </p:txBody>
      </p:sp>
      <p:grpSp>
        <p:nvGrpSpPr>
          <p:cNvPr id="15" name="Graphic 2">
            <a:extLst>
              <a:ext uri="{FF2B5EF4-FFF2-40B4-BE49-F238E27FC236}">
                <a16:creationId xmlns:a16="http://schemas.microsoft.com/office/drawing/2014/main" id="{40F11E44-1AF8-A041-B789-CADF7AA9753D}"/>
              </a:ext>
            </a:extLst>
          </p:cNvPr>
          <p:cNvGrpSpPr/>
          <p:nvPr userDrawn="1"/>
        </p:nvGrpSpPr>
        <p:grpSpPr>
          <a:xfrm>
            <a:off x="365007" y="2462731"/>
            <a:ext cx="838222" cy="890667"/>
            <a:chOff x="4522787" y="1925637"/>
            <a:chExt cx="2472690" cy="2627001"/>
          </a:xfrm>
        </p:grpSpPr>
        <p:sp>
          <p:nvSpPr>
            <p:cNvPr id="17" name="Freeform 16">
              <a:extLst>
                <a:ext uri="{FF2B5EF4-FFF2-40B4-BE49-F238E27FC236}">
                  <a16:creationId xmlns:a16="http://schemas.microsoft.com/office/drawing/2014/main" id="{76D2B971-C16C-8F4A-B71D-1FCAFEF220DB}"/>
                </a:ext>
              </a:extLst>
            </p:cNvPr>
            <p:cNvSpPr/>
            <p:nvPr/>
          </p:nvSpPr>
          <p:spPr>
            <a:xfrm>
              <a:off x="4522787" y="1925637"/>
              <a:ext cx="2472690" cy="1641876"/>
            </a:xfrm>
            <a:custGeom>
              <a:avLst/>
              <a:gdLst>
                <a:gd name="connsiteX0" fmla="*/ 700088 w 2472690"/>
                <a:gd name="connsiteY0" fmla="*/ 820938 h 1641876"/>
                <a:gd name="connsiteX1" fmla="*/ 1235393 w 2472690"/>
                <a:gd name="connsiteY1" fmla="*/ 287566 h 1641876"/>
                <a:gd name="connsiteX2" fmla="*/ 1497330 w 2472690"/>
                <a:gd name="connsiteY2" fmla="*/ 355898 h 1641876"/>
                <a:gd name="connsiteX3" fmla="*/ 1497330 w 2472690"/>
                <a:gd name="connsiteY3" fmla="*/ 0 h 1641876"/>
                <a:gd name="connsiteX4" fmla="*/ 0 w 2472690"/>
                <a:gd name="connsiteY4" fmla="*/ 647260 h 1641876"/>
                <a:gd name="connsiteX5" fmla="*/ 0 w 2472690"/>
                <a:gd name="connsiteY5" fmla="*/ 1641876 h 1641876"/>
                <a:gd name="connsiteX6" fmla="*/ 914400 w 2472690"/>
                <a:gd name="connsiteY6" fmla="*/ 1247067 h 1641876"/>
                <a:gd name="connsiteX7" fmla="*/ 700088 w 2472690"/>
                <a:gd name="connsiteY7" fmla="*/ 820938 h 1641876"/>
                <a:gd name="connsiteX8" fmla="*/ 1558290 w 2472690"/>
                <a:gd name="connsiteY8" fmla="*/ 394810 h 1641876"/>
                <a:gd name="connsiteX9" fmla="*/ 1771650 w 2472690"/>
                <a:gd name="connsiteY9" fmla="*/ 820938 h 1641876"/>
                <a:gd name="connsiteX10" fmla="*/ 1236345 w 2472690"/>
                <a:gd name="connsiteY10" fmla="*/ 1354311 h 1641876"/>
                <a:gd name="connsiteX11" fmla="*/ 974408 w 2472690"/>
                <a:gd name="connsiteY11" fmla="*/ 1285978 h 1641876"/>
                <a:gd name="connsiteX12" fmla="*/ 974408 w 2472690"/>
                <a:gd name="connsiteY12" fmla="*/ 1641876 h 1641876"/>
                <a:gd name="connsiteX13" fmla="*/ 2472690 w 2472690"/>
                <a:gd name="connsiteY13" fmla="*/ 994616 h 1641876"/>
                <a:gd name="connsiteX14" fmla="*/ 2472690 w 2472690"/>
                <a:gd name="connsiteY14" fmla="*/ 0 h 1641876"/>
                <a:gd name="connsiteX15" fmla="*/ 1558290 w 2472690"/>
                <a:gd name="connsiteY15" fmla="*/ 394810 h 164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72690" h="1641876">
                  <a:moveTo>
                    <a:pt x="700088" y="820938"/>
                  </a:moveTo>
                  <a:cubicBezTo>
                    <a:pt x="700088" y="525780"/>
                    <a:pt x="940118" y="287566"/>
                    <a:pt x="1235393" y="287566"/>
                  </a:cubicBezTo>
                  <a:cubicBezTo>
                    <a:pt x="1330643" y="287566"/>
                    <a:pt x="1420178" y="312241"/>
                    <a:pt x="1497330" y="355898"/>
                  </a:cubicBezTo>
                  <a:lnTo>
                    <a:pt x="1497330" y="0"/>
                  </a:lnTo>
                  <a:lnTo>
                    <a:pt x="0" y="647260"/>
                  </a:lnTo>
                  <a:lnTo>
                    <a:pt x="0" y="1641876"/>
                  </a:lnTo>
                  <a:lnTo>
                    <a:pt x="914400" y="1247067"/>
                  </a:lnTo>
                  <a:cubicBezTo>
                    <a:pt x="784860" y="1150262"/>
                    <a:pt x="700088" y="995565"/>
                    <a:pt x="700088" y="820938"/>
                  </a:cubicBezTo>
                  <a:close/>
                  <a:moveTo>
                    <a:pt x="1558290" y="394810"/>
                  </a:moveTo>
                  <a:cubicBezTo>
                    <a:pt x="1687830" y="491614"/>
                    <a:pt x="1771650" y="647260"/>
                    <a:pt x="1771650" y="820938"/>
                  </a:cubicBezTo>
                  <a:cubicBezTo>
                    <a:pt x="1771650" y="1116096"/>
                    <a:pt x="1531620" y="1354311"/>
                    <a:pt x="1236345" y="1354311"/>
                  </a:cubicBezTo>
                  <a:cubicBezTo>
                    <a:pt x="1141095" y="1354311"/>
                    <a:pt x="1051560" y="1329635"/>
                    <a:pt x="974408" y="1285978"/>
                  </a:cubicBezTo>
                  <a:lnTo>
                    <a:pt x="974408" y="1641876"/>
                  </a:lnTo>
                  <a:lnTo>
                    <a:pt x="2472690" y="994616"/>
                  </a:lnTo>
                  <a:lnTo>
                    <a:pt x="2472690" y="0"/>
                  </a:lnTo>
                  <a:lnTo>
                    <a:pt x="1558290" y="394810"/>
                  </a:lnTo>
                  <a:close/>
                </a:path>
              </a:pathLst>
            </a:custGeom>
            <a:solidFill>
              <a:srgbClr val="7F8183"/>
            </a:solidFill>
            <a:ln w="9525" cap="flat">
              <a:noFill/>
              <a:prstDash val="solid"/>
              <a:miter/>
            </a:ln>
          </p:spPr>
          <p:txBody>
            <a:bodyPr rtlCol="0" anchor="ctr"/>
            <a:lstStyle/>
            <a:p>
              <a:endParaRPr lang="x-none" sz="1905"/>
            </a:p>
          </p:txBody>
        </p:sp>
        <p:sp>
          <p:nvSpPr>
            <p:cNvPr id="18" name="Freeform 17">
              <a:extLst>
                <a:ext uri="{FF2B5EF4-FFF2-40B4-BE49-F238E27FC236}">
                  <a16:creationId xmlns:a16="http://schemas.microsoft.com/office/drawing/2014/main" id="{B9B177FA-B9C4-0348-9234-14014F48B60B}"/>
                </a:ext>
              </a:extLst>
            </p:cNvPr>
            <p:cNvSpPr/>
            <p:nvPr/>
          </p:nvSpPr>
          <p:spPr>
            <a:xfrm>
              <a:off x="5470524" y="2459009"/>
              <a:ext cx="577215" cy="575131"/>
            </a:xfrm>
            <a:custGeom>
              <a:avLst/>
              <a:gdLst>
                <a:gd name="connsiteX0" fmla="*/ 577215 w 577215"/>
                <a:gd name="connsiteY0" fmla="*/ 287566 h 575131"/>
                <a:gd name="connsiteX1" fmla="*/ 288608 w 577215"/>
                <a:gd name="connsiteY1" fmla="*/ 575131 h 575131"/>
                <a:gd name="connsiteX2" fmla="*/ 0 w 577215"/>
                <a:gd name="connsiteY2" fmla="*/ 287566 h 575131"/>
                <a:gd name="connsiteX3" fmla="*/ 288608 w 577215"/>
                <a:gd name="connsiteY3" fmla="*/ 0 h 575131"/>
                <a:gd name="connsiteX4" fmla="*/ 577215 w 577215"/>
                <a:gd name="connsiteY4" fmla="*/ 287566 h 5751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215" h="575131">
                  <a:moveTo>
                    <a:pt x="577215" y="287566"/>
                  </a:moveTo>
                  <a:cubicBezTo>
                    <a:pt x="577215" y="446059"/>
                    <a:pt x="447675" y="575131"/>
                    <a:pt x="288608" y="575131"/>
                  </a:cubicBezTo>
                  <a:cubicBezTo>
                    <a:pt x="129540" y="575131"/>
                    <a:pt x="0" y="446059"/>
                    <a:pt x="0" y="287566"/>
                  </a:cubicBezTo>
                  <a:cubicBezTo>
                    <a:pt x="0" y="129072"/>
                    <a:pt x="129540" y="0"/>
                    <a:pt x="288608" y="0"/>
                  </a:cubicBezTo>
                  <a:cubicBezTo>
                    <a:pt x="447675" y="0"/>
                    <a:pt x="577215" y="129072"/>
                    <a:pt x="577215" y="287566"/>
                  </a:cubicBezTo>
                  <a:close/>
                </a:path>
              </a:pathLst>
            </a:custGeom>
            <a:solidFill>
              <a:srgbClr val="E72B2B"/>
            </a:solidFill>
            <a:ln w="9525" cap="flat">
              <a:noFill/>
              <a:prstDash val="solid"/>
              <a:miter/>
            </a:ln>
          </p:spPr>
          <p:txBody>
            <a:bodyPr rtlCol="0" anchor="ctr"/>
            <a:lstStyle/>
            <a:p>
              <a:endParaRPr lang="x-none" sz="1905"/>
            </a:p>
          </p:txBody>
        </p:sp>
        <p:sp>
          <p:nvSpPr>
            <p:cNvPr id="19" name="Freeform 18">
              <a:extLst>
                <a:ext uri="{FF2B5EF4-FFF2-40B4-BE49-F238E27FC236}">
                  <a16:creationId xmlns:a16="http://schemas.microsoft.com/office/drawing/2014/main" id="{1CE2FDDC-7DE1-8441-9AD1-C61F46339ECA}"/>
                </a:ext>
              </a:extLst>
            </p:cNvPr>
            <p:cNvSpPr/>
            <p:nvPr/>
          </p:nvSpPr>
          <p:spPr>
            <a:xfrm>
              <a:off x="4522787" y="3863620"/>
              <a:ext cx="2472690" cy="689018"/>
            </a:xfrm>
            <a:custGeom>
              <a:avLst/>
              <a:gdLst>
                <a:gd name="connsiteX0" fmla="*/ 345758 w 2472690"/>
                <a:gd name="connsiteY0" fmla="*/ 0 h 689018"/>
                <a:gd name="connsiteX1" fmla="*/ 0 w 2472690"/>
                <a:gd name="connsiteY1" fmla="*/ 344509 h 689018"/>
                <a:gd name="connsiteX2" fmla="*/ 345758 w 2472690"/>
                <a:gd name="connsiteY2" fmla="*/ 689019 h 689018"/>
                <a:gd name="connsiteX3" fmla="*/ 691515 w 2472690"/>
                <a:gd name="connsiteY3" fmla="*/ 344509 h 689018"/>
                <a:gd name="connsiteX4" fmla="*/ 345758 w 2472690"/>
                <a:gd name="connsiteY4" fmla="*/ 0 h 689018"/>
                <a:gd name="connsiteX5" fmla="*/ 345758 w 2472690"/>
                <a:gd name="connsiteY5" fmla="*/ 525780 h 689018"/>
                <a:gd name="connsiteX6" fmla="*/ 164783 w 2472690"/>
                <a:gd name="connsiteY6" fmla="*/ 345458 h 689018"/>
                <a:gd name="connsiteX7" fmla="*/ 345758 w 2472690"/>
                <a:gd name="connsiteY7" fmla="*/ 165137 h 689018"/>
                <a:gd name="connsiteX8" fmla="*/ 526733 w 2472690"/>
                <a:gd name="connsiteY8" fmla="*/ 345458 h 689018"/>
                <a:gd name="connsiteX9" fmla="*/ 345758 w 2472690"/>
                <a:gd name="connsiteY9" fmla="*/ 525780 h 689018"/>
                <a:gd name="connsiteX10" fmla="*/ 1253490 w 2472690"/>
                <a:gd name="connsiteY10" fmla="*/ 284718 h 689018"/>
                <a:gd name="connsiteX11" fmla="*/ 1063943 w 2472690"/>
                <a:gd name="connsiteY11" fmla="*/ 17083 h 689018"/>
                <a:gd name="connsiteX12" fmla="*/ 899160 w 2472690"/>
                <a:gd name="connsiteY12" fmla="*/ 17083 h 689018"/>
                <a:gd name="connsiteX13" fmla="*/ 899160 w 2472690"/>
                <a:gd name="connsiteY13" fmla="*/ 673834 h 689018"/>
                <a:gd name="connsiteX14" fmla="*/ 1063943 w 2472690"/>
                <a:gd name="connsiteY14" fmla="*/ 673834 h 689018"/>
                <a:gd name="connsiteX15" fmla="*/ 1063943 w 2472690"/>
                <a:gd name="connsiteY15" fmla="*/ 301802 h 689018"/>
                <a:gd name="connsiteX16" fmla="*/ 1152525 w 2472690"/>
                <a:gd name="connsiteY16" fmla="*/ 427078 h 689018"/>
                <a:gd name="connsiteX17" fmla="*/ 1253490 w 2472690"/>
                <a:gd name="connsiteY17" fmla="*/ 569437 h 689018"/>
                <a:gd name="connsiteX18" fmla="*/ 1354455 w 2472690"/>
                <a:gd name="connsiteY18" fmla="*/ 427078 h 689018"/>
                <a:gd name="connsiteX19" fmla="*/ 1443038 w 2472690"/>
                <a:gd name="connsiteY19" fmla="*/ 301802 h 689018"/>
                <a:gd name="connsiteX20" fmla="*/ 1443038 w 2472690"/>
                <a:gd name="connsiteY20" fmla="*/ 673834 h 689018"/>
                <a:gd name="connsiteX21" fmla="*/ 1607820 w 2472690"/>
                <a:gd name="connsiteY21" fmla="*/ 673834 h 689018"/>
                <a:gd name="connsiteX22" fmla="*/ 1607820 w 2472690"/>
                <a:gd name="connsiteY22" fmla="*/ 17083 h 689018"/>
                <a:gd name="connsiteX23" fmla="*/ 1443038 w 2472690"/>
                <a:gd name="connsiteY23" fmla="*/ 17083 h 689018"/>
                <a:gd name="connsiteX24" fmla="*/ 1253490 w 2472690"/>
                <a:gd name="connsiteY24" fmla="*/ 284718 h 689018"/>
                <a:gd name="connsiteX25" fmla="*/ 2472690 w 2472690"/>
                <a:gd name="connsiteY25" fmla="*/ 18032 h 689018"/>
                <a:gd name="connsiteX26" fmla="*/ 2270760 w 2472690"/>
                <a:gd name="connsiteY26" fmla="*/ 18032 h 689018"/>
                <a:gd name="connsiteX27" fmla="*/ 2037398 w 2472690"/>
                <a:gd name="connsiteY27" fmla="*/ 336917 h 689018"/>
                <a:gd name="connsiteX28" fmla="*/ 2037398 w 2472690"/>
                <a:gd name="connsiteY28" fmla="*/ 18032 h 689018"/>
                <a:gd name="connsiteX29" fmla="*/ 1872615 w 2472690"/>
                <a:gd name="connsiteY29" fmla="*/ 18032 h 689018"/>
                <a:gd name="connsiteX30" fmla="*/ 1872615 w 2472690"/>
                <a:gd name="connsiteY30" fmla="*/ 674783 h 689018"/>
                <a:gd name="connsiteX31" fmla="*/ 2037398 w 2472690"/>
                <a:gd name="connsiteY31" fmla="*/ 674783 h 689018"/>
                <a:gd name="connsiteX32" fmla="*/ 2037398 w 2472690"/>
                <a:gd name="connsiteY32" fmla="*/ 354000 h 689018"/>
                <a:gd name="connsiteX33" fmla="*/ 2270760 w 2472690"/>
                <a:gd name="connsiteY33" fmla="*/ 674783 h 689018"/>
                <a:gd name="connsiteX34" fmla="*/ 2472690 w 2472690"/>
                <a:gd name="connsiteY34" fmla="*/ 674783 h 689018"/>
                <a:gd name="connsiteX35" fmla="*/ 2231708 w 2472690"/>
                <a:gd name="connsiteY35" fmla="*/ 346407 h 689018"/>
                <a:gd name="connsiteX36" fmla="*/ 2472690 w 2472690"/>
                <a:gd name="connsiteY36" fmla="*/ 18032 h 68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472690" h="689018">
                  <a:moveTo>
                    <a:pt x="345758" y="0"/>
                  </a:moveTo>
                  <a:cubicBezTo>
                    <a:pt x="155258" y="0"/>
                    <a:pt x="0" y="154697"/>
                    <a:pt x="0" y="344509"/>
                  </a:cubicBezTo>
                  <a:cubicBezTo>
                    <a:pt x="0" y="535271"/>
                    <a:pt x="155258" y="689019"/>
                    <a:pt x="345758" y="689019"/>
                  </a:cubicBezTo>
                  <a:cubicBezTo>
                    <a:pt x="537210" y="689019"/>
                    <a:pt x="691515" y="534322"/>
                    <a:pt x="691515" y="344509"/>
                  </a:cubicBezTo>
                  <a:cubicBezTo>
                    <a:pt x="692468" y="154697"/>
                    <a:pt x="537210" y="0"/>
                    <a:pt x="345758" y="0"/>
                  </a:cubicBezTo>
                  <a:close/>
                  <a:moveTo>
                    <a:pt x="345758" y="525780"/>
                  </a:moveTo>
                  <a:cubicBezTo>
                    <a:pt x="245745" y="525780"/>
                    <a:pt x="164783" y="445110"/>
                    <a:pt x="164783" y="345458"/>
                  </a:cubicBezTo>
                  <a:cubicBezTo>
                    <a:pt x="164783" y="245807"/>
                    <a:pt x="245745" y="165137"/>
                    <a:pt x="345758" y="165137"/>
                  </a:cubicBezTo>
                  <a:cubicBezTo>
                    <a:pt x="445770" y="165137"/>
                    <a:pt x="526733" y="245807"/>
                    <a:pt x="526733" y="345458"/>
                  </a:cubicBezTo>
                  <a:cubicBezTo>
                    <a:pt x="527685" y="444161"/>
                    <a:pt x="445770" y="525780"/>
                    <a:pt x="345758" y="525780"/>
                  </a:cubicBezTo>
                  <a:close/>
                  <a:moveTo>
                    <a:pt x="1253490" y="284718"/>
                  </a:moveTo>
                  <a:lnTo>
                    <a:pt x="1063943" y="17083"/>
                  </a:lnTo>
                  <a:lnTo>
                    <a:pt x="899160" y="17083"/>
                  </a:lnTo>
                  <a:lnTo>
                    <a:pt x="899160" y="673834"/>
                  </a:lnTo>
                  <a:lnTo>
                    <a:pt x="1063943" y="673834"/>
                  </a:lnTo>
                  <a:lnTo>
                    <a:pt x="1063943" y="301802"/>
                  </a:lnTo>
                  <a:lnTo>
                    <a:pt x="1152525" y="427078"/>
                  </a:lnTo>
                  <a:lnTo>
                    <a:pt x="1253490" y="569437"/>
                  </a:lnTo>
                  <a:lnTo>
                    <a:pt x="1354455" y="427078"/>
                  </a:lnTo>
                  <a:lnTo>
                    <a:pt x="1443038" y="301802"/>
                  </a:lnTo>
                  <a:lnTo>
                    <a:pt x="1443038" y="673834"/>
                  </a:lnTo>
                  <a:lnTo>
                    <a:pt x="1607820" y="673834"/>
                  </a:lnTo>
                  <a:lnTo>
                    <a:pt x="1607820" y="17083"/>
                  </a:lnTo>
                  <a:lnTo>
                    <a:pt x="1443038" y="17083"/>
                  </a:lnTo>
                  <a:lnTo>
                    <a:pt x="1253490" y="284718"/>
                  </a:lnTo>
                  <a:close/>
                  <a:moveTo>
                    <a:pt x="2472690" y="18032"/>
                  </a:moveTo>
                  <a:lnTo>
                    <a:pt x="2270760" y="18032"/>
                  </a:lnTo>
                  <a:lnTo>
                    <a:pt x="2037398" y="336917"/>
                  </a:lnTo>
                  <a:lnTo>
                    <a:pt x="2037398" y="18032"/>
                  </a:lnTo>
                  <a:lnTo>
                    <a:pt x="1872615" y="18032"/>
                  </a:lnTo>
                  <a:lnTo>
                    <a:pt x="1872615" y="674783"/>
                  </a:lnTo>
                  <a:lnTo>
                    <a:pt x="2037398" y="674783"/>
                  </a:lnTo>
                  <a:lnTo>
                    <a:pt x="2037398" y="354000"/>
                  </a:lnTo>
                  <a:lnTo>
                    <a:pt x="2270760" y="674783"/>
                  </a:lnTo>
                  <a:lnTo>
                    <a:pt x="2472690" y="674783"/>
                  </a:lnTo>
                  <a:lnTo>
                    <a:pt x="2231708" y="346407"/>
                  </a:lnTo>
                  <a:lnTo>
                    <a:pt x="2472690" y="18032"/>
                  </a:lnTo>
                  <a:close/>
                </a:path>
              </a:pathLst>
            </a:custGeom>
            <a:solidFill>
              <a:srgbClr val="7F8183"/>
            </a:solidFill>
            <a:ln w="9525" cap="flat">
              <a:noFill/>
              <a:prstDash val="solid"/>
              <a:miter/>
            </a:ln>
          </p:spPr>
          <p:txBody>
            <a:bodyPr rtlCol="0" anchor="ctr"/>
            <a:lstStyle/>
            <a:p>
              <a:endParaRPr lang="x-none" sz="1905"/>
            </a:p>
          </p:txBody>
        </p:sp>
      </p:grpSp>
      <p:grpSp>
        <p:nvGrpSpPr>
          <p:cNvPr id="22" name="Graphic 13">
            <a:extLst>
              <a:ext uri="{FF2B5EF4-FFF2-40B4-BE49-F238E27FC236}">
                <a16:creationId xmlns:a16="http://schemas.microsoft.com/office/drawing/2014/main" id="{AA443365-44DD-6049-B8C1-DC81D1B11A4E}"/>
              </a:ext>
            </a:extLst>
          </p:cNvPr>
          <p:cNvGrpSpPr/>
          <p:nvPr userDrawn="1"/>
        </p:nvGrpSpPr>
        <p:grpSpPr>
          <a:xfrm>
            <a:off x="340917" y="5763382"/>
            <a:ext cx="886399" cy="762739"/>
            <a:chOff x="1237542" y="5445861"/>
            <a:chExt cx="837693" cy="720718"/>
          </a:xfrm>
        </p:grpSpPr>
        <p:grpSp>
          <p:nvGrpSpPr>
            <p:cNvPr id="23" name="Graphic 13">
              <a:extLst>
                <a:ext uri="{FF2B5EF4-FFF2-40B4-BE49-F238E27FC236}">
                  <a16:creationId xmlns:a16="http://schemas.microsoft.com/office/drawing/2014/main" id="{5FBEBAB4-8198-0149-BC9E-EA85E807390A}"/>
                </a:ext>
              </a:extLst>
            </p:cNvPr>
            <p:cNvGrpSpPr/>
            <p:nvPr/>
          </p:nvGrpSpPr>
          <p:grpSpPr>
            <a:xfrm>
              <a:off x="1264054" y="5786435"/>
              <a:ext cx="327743" cy="106553"/>
              <a:chOff x="1264054" y="5786435"/>
              <a:chExt cx="327743" cy="106553"/>
            </a:xfrm>
            <a:solidFill>
              <a:srgbClr val="CFD4D9"/>
            </a:solidFill>
          </p:grpSpPr>
          <p:sp>
            <p:nvSpPr>
              <p:cNvPr id="55" name="Freeform 54">
                <a:extLst>
                  <a:ext uri="{FF2B5EF4-FFF2-40B4-BE49-F238E27FC236}">
                    <a16:creationId xmlns:a16="http://schemas.microsoft.com/office/drawing/2014/main" id="{53F6BECB-5E13-9A47-908B-D8DDA9F616AF}"/>
                  </a:ext>
                </a:extLst>
              </p:cNvPr>
              <p:cNvSpPr/>
              <p:nvPr/>
            </p:nvSpPr>
            <p:spPr>
              <a:xfrm>
                <a:off x="1264054" y="5786435"/>
                <a:ext cx="72205" cy="84225"/>
              </a:xfrm>
              <a:custGeom>
                <a:avLst/>
                <a:gdLst>
                  <a:gd name="connsiteX0" fmla="*/ 38077 w 72205"/>
                  <a:gd name="connsiteY0" fmla="*/ 74898 h 84225"/>
                  <a:gd name="connsiteX1" fmla="*/ 55000 w 72205"/>
                  <a:gd name="connsiteY1" fmla="*/ 69811 h 84225"/>
                  <a:gd name="connsiteX2" fmla="*/ 62615 w 72205"/>
                  <a:gd name="connsiteY2" fmla="*/ 55962 h 84225"/>
                  <a:gd name="connsiteX3" fmla="*/ 72205 w 72205"/>
                  <a:gd name="connsiteY3" fmla="*/ 57657 h 84225"/>
                  <a:gd name="connsiteX4" fmla="*/ 60923 w 72205"/>
                  <a:gd name="connsiteY4" fmla="*/ 77442 h 84225"/>
                  <a:gd name="connsiteX5" fmla="*/ 37795 w 72205"/>
                  <a:gd name="connsiteY5" fmla="*/ 84225 h 84225"/>
                  <a:gd name="connsiteX6" fmla="*/ 10154 w 72205"/>
                  <a:gd name="connsiteY6" fmla="*/ 72920 h 84225"/>
                  <a:gd name="connsiteX7" fmla="*/ 0 w 72205"/>
                  <a:gd name="connsiteY7" fmla="*/ 42113 h 84225"/>
                  <a:gd name="connsiteX8" fmla="*/ 2821 w 72205"/>
                  <a:gd name="connsiteY8" fmla="*/ 24307 h 84225"/>
                  <a:gd name="connsiteX9" fmla="*/ 10436 w 72205"/>
                  <a:gd name="connsiteY9" fmla="*/ 11023 h 84225"/>
                  <a:gd name="connsiteX10" fmla="*/ 22282 w 72205"/>
                  <a:gd name="connsiteY10" fmla="*/ 2826 h 84225"/>
                  <a:gd name="connsiteX11" fmla="*/ 37795 w 72205"/>
                  <a:gd name="connsiteY11" fmla="*/ 0 h 84225"/>
                  <a:gd name="connsiteX12" fmla="*/ 60923 w 72205"/>
                  <a:gd name="connsiteY12" fmla="*/ 6783 h 84225"/>
                  <a:gd name="connsiteX13" fmla="*/ 71923 w 72205"/>
                  <a:gd name="connsiteY13" fmla="*/ 26568 h 84225"/>
                  <a:gd name="connsiteX14" fmla="*/ 62333 w 72205"/>
                  <a:gd name="connsiteY14" fmla="*/ 28263 h 84225"/>
                  <a:gd name="connsiteX15" fmla="*/ 54718 w 72205"/>
                  <a:gd name="connsiteY15" fmla="*/ 14697 h 84225"/>
                  <a:gd name="connsiteX16" fmla="*/ 37795 w 72205"/>
                  <a:gd name="connsiteY16" fmla="*/ 9327 h 84225"/>
                  <a:gd name="connsiteX17" fmla="*/ 25667 w 72205"/>
                  <a:gd name="connsiteY17" fmla="*/ 11871 h 84225"/>
                  <a:gd name="connsiteX18" fmla="*/ 16923 w 72205"/>
                  <a:gd name="connsiteY18" fmla="*/ 18654 h 84225"/>
                  <a:gd name="connsiteX19" fmla="*/ 11564 w 72205"/>
                  <a:gd name="connsiteY19" fmla="*/ 29111 h 84225"/>
                  <a:gd name="connsiteX20" fmla="*/ 9872 w 72205"/>
                  <a:gd name="connsiteY20" fmla="*/ 42678 h 84225"/>
                  <a:gd name="connsiteX21" fmla="*/ 17205 w 72205"/>
                  <a:gd name="connsiteY21" fmla="*/ 66419 h 84225"/>
                  <a:gd name="connsiteX22" fmla="*/ 38077 w 72205"/>
                  <a:gd name="connsiteY22" fmla="*/ 74898 h 8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2205" h="84225">
                    <a:moveTo>
                      <a:pt x="38077" y="74898"/>
                    </a:moveTo>
                    <a:cubicBezTo>
                      <a:pt x="45410" y="74898"/>
                      <a:pt x="51051" y="73202"/>
                      <a:pt x="55000" y="69811"/>
                    </a:cubicBezTo>
                    <a:cubicBezTo>
                      <a:pt x="58949" y="66419"/>
                      <a:pt x="61487" y="61897"/>
                      <a:pt x="62615" y="55962"/>
                    </a:cubicBezTo>
                    <a:lnTo>
                      <a:pt x="72205" y="57657"/>
                    </a:lnTo>
                    <a:cubicBezTo>
                      <a:pt x="70795" y="66136"/>
                      <a:pt x="66846" y="72920"/>
                      <a:pt x="60923" y="77442"/>
                    </a:cubicBezTo>
                    <a:cubicBezTo>
                      <a:pt x="55000" y="81964"/>
                      <a:pt x="47385" y="84225"/>
                      <a:pt x="37795" y="84225"/>
                    </a:cubicBezTo>
                    <a:cubicBezTo>
                      <a:pt x="26231" y="84225"/>
                      <a:pt x="16923" y="80551"/>
                      <a:pt x="10154" y="72920"/>
                    </a:cubicBezTo>
                    <a:cubicBezTo>
                      <a:pt x="3385" y="65289"/>
                      <a:pt x="0" y="55114"/>
                      <a:pt x="0" y="42113"/>
                    </a:cubicBezTo>
                    <a:cubicBezTo>
                      <a:pt x="0" y="35329"/>
                      <a:pt x="846" y="29394"/>
                      <a:pt x="2821" y="24307"/>
                    </a:cubicBezTo>
                    <a:cubicBezTo>
                      <a:pt x="4513" y="18937"/>
                      <a:pt x="7333" y="14697"/>
                      <a:pt x="10436" y="11023"/>
                    </a:cubicBezTo>
                    <a:cubicBezTo>
                      <a:pt x="13821" y="7348"/>
                      <a:pt x="17769" y="4522"/>
                      <a:pt x="22282" y="2826"/>
                    </a:cubicBezTo>
                    <a:cubicBezTo>
                      <a:pt x="27077" y="848"/>
                      <a:pt x="32154" y="0"/>
                      <a:pt x="37795" y="0"/>
                    </a:cubicBezTo>
                    <a:cubicBezTo>
                      <a:pt x="47385" y="0"/>
                      <a:pt x="55000" y="2261"/>
                      <a:pt x="60923" y="6783"/>
                    </a:cubicBezTo>
                    <a:cubicBezTo>
                      <a:pt x="66846" y="11305"/>
                      <a:pt x="70513" y="18089"/>
                      <a:pt x="71923" y="26568"/>
                    </a:cubicBezTo>
                    <a:lnTo>
                      <a:pt x="62333" y="28263"/>
                    </a:lnTo>
                    <a:cubicBezTo>
                      <a:pt x="61205" y="22893"/>
                      <a:pt x="58667" y="18371"/>
                      <a:pt x="54718" y="14697"/>
                    </a:cubicBezTo>
                    <a:cubicBezTo>
                      <a:pt x="50769" y="11023"/>
                      <a:pt x="45128" y="9327"/>
                      <a:pt x="37795" y="9327"/>
                    </a:cubicBezTo>
                    <a:cubicBezTo>
                      <a:pt x="33282" y="9327"/>
                      <a:pt x="29333" y="10175"/>
                      <a:pt x="25667" y="11871"/>
                    </a:cubicBezTo>
                    <a:cubicBezTo>
                      <a:pt x="22282" y="13566"/>
                      <a:pt x="19180" y="15828"/>
                      <a:pt x="16923" y="18654"/>
                    </a:cubicBezTo>
                    <a:cubicBezTo>
                      <a:pt x="14667" y="21480"/>
                      <a:pt x="12974" y="24872"/>
                      <a:pt x="11564" y="29111"/>
                    </a:cubicBezTo>
                    <a:cubicBezTo>
                      <a:pt x="10436" y="33068"/>
                      <a:pt x="9872" y="37590"/>
                      <a:pt x="9872" y="42678"/>
                    </a:cubicBezTo>
                    <a:cubicBezTo>
                      <a:pt x="9872" y="52570"/>
                      <a:pt x="12410" y="60484"/>
                      <a:pt x="17205" y="66419"/>
                    </a:cubicBezTo>
                    <a:cubicBezTo>
                      <a:pt x="22282" y="72072"/>
                      <a:pt x="29051" y="74898"/>
                      <a:pt x="38077" y="74898"/>
                    </a:cubicBezTo>
                  </a:path>
                </a:pathLst>
              </a:custGeom>
              <a:solidFill>
                <a:srgbClr val="7F8183"/>
              </a:solidFill>
              <a:ln w="2790" cap="flat">
                <a:noFill/>
                <a:prstDash val="solid"/>
                <a:miter/>
              </a:ln>
            </p:spPr>
            <p:txBody>
              <a:bodyPr rtlCol="0" anchor="ctr"/>
              <a:lstStyle/>
              <a:p>
                <a:endParaRPr lang="x-none" sz="1905"/>
              </a:p>
            </p:txBody>
          </p:sp>
          <p:sp>
            <p:nvSpPr>
              <p:cNvPr id="56" name="Freeform 55">
                <a:extLst>
                  <a:ext uri="{FF2B5EF4-FFF2-40B4-BE49-F238E27FC236}">
                    <a16:creationId xmlns:a16="http://schemas.microsoft.com/office/drawing/2014/main" id="{951EE360-1C01-BB42-9A9C-1A019F76AA81}"/>
                  </a:ext>
                </a:extLst>
              </p:cNvPr>
              <p:cNvSpPr/>
              <p:nvPr/>
            </p:nvSpPr>
            <p:spPr>
              <a:xfrm>
                <a:off x="1347542" y="5811024"/>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769" y="49461"/>
                      <a:pt x="22000"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764"/>
                      <a:pt x="0" y="29959"/>
                    </a:cubicBezTo>
                    <a:cubicBezTo>
                      <a:pt x="0" y="20350"/>
                      <a:pt x="2538" y="13001"/>
                      <a:pt x="7615" y="7914"/>
                    </a:cubicBezTo>
                    <a:cubicBezTo>
                      <a:pt x="12692" y="2826"/>
                      <a:pt x="19180" y="0"/>
                      <a:pt x="27359" y="0"/>
                    </a:cubicBezTo>
                    <a:cubicBezTo>
                      <a:pt x="35256" y="0"/>
                      <a:pt x="41744" y="2544"/>
                      <a:pt x="46539" y="7914"/>
                    </a:cubicBezTo>
                    <a:cubicBezTo>
                      <a:pt x="51333" y="13001"/>
                      <a:pt x="53872" y="20350"/>
                      <a:pt x="53872" y="29959"/>
                    </a:cubicBezTo>
                    <a:cubicBezTo>
                      <a:pt x="53872" y="39286"/>
                      <a:pt x="51333" y="46635"/>
                      <a:pt x="46539" y="52005"/>
                    </a:cubicBezTo>
                    <a:cubicBezTo>
                      <a:pt x="41744" y="57092"/>
                      <a:pt x="35538" y="59919"/>
                      <a:pt x="27359" y="59919"/>
                    </a:cubicBezTo>
                  </a:path>
                </a:pathLst>
              </a:custGeom>
              <a:solidFill>
                <a:srgbClr val="7F8183"/>
              </a:solidFill>
              <a:ln w="2790" cap="flat">
                <a:noFill/>
                <a:prstDash val="solid"/>
                <a:miter/>
              </a:ln>
            </p:spPr>
            <p:txBody>
              <a:bodyPr rtlCol="0" anchor="ctr"/>
              <a:lstStyle/>
              <a:p>
                <a:endParaRPr lang="x-none" sz="1905"/>
              </a:p>
            </p:txBody>
          </p:sp>
          <p:sp>
            <p:nvSpPr>
              <p:cNvPr id="57" name="Freeform 56">
                <a:extLst>
                  <a:ext uri="{FF2B5EF4-FFF2-40B4-BE49-F238E27FC236}">
                    <a16:creationId xmlns:a16="http://schemas.microsoft.com/office/drawing/2014/main" id="{16F6205D-01CB-4245-AF73-08FBC725C314}"/>
                  </a:ext>
                </a:extLst>
              </p:cNvPr>
              <p:cNvSpPr/>
              <p:nvPr/>
            </p:nvSpPr>
            <p:spPr>
              <a:xfrm>
                <a:off x="1416080" y="5812155"/>
                <a:ext cx="45410" cy="57657"/>
              </a:xfrm>
              <a:custGeom>
                <a:avLst/>
                <a:gdLst>
                  <a:gd name="connsiteX0" fmla="*/ 26231 w 45410"/>
                  <a:gd name="connsiteY0" fmla="*/ 32220 h 57657"/>
                  <a:gd name="connsiteX1" fmla="*/ 9308 w 45410"/>
                  <a:gd name="connsiteY1" fmla="*/ 32220 h 57657"/>
                  <a:gd name="connsiteX2" fmla="*/ 9308 w 45410"/>
                  <a:gd name="connsiteY2" fmla="*/ 49178 h 57657"/>
                  <a:gd name="connsiteX3" fmla="*/ 26231 w 45410"/>
                  <a:gd name="connsiteY3" fmla="*/ 49178 h 57657"/>
                  <a:gd name="connsiteX4" fmla="*/ 34128 w 45410"/>
                  <a:gd name="connsiteY4" fmla="*/ 46917 h 57657"/>
                  <a:gd name="connsiteX5" fmla="*/ 36385 w 45410"/>
                  <a:gd name="connsiteY5" fmla="*/ 40699 h 57657"/>
                  <a:gd name="connsiteX6" fmla="*/ 33846 w 45410"/>
                  <a:gd name="connsiteY6" fmla="*/ 34199 h 57657"/>
                  <a:gd name="connsiteX7" fmla="*/ 26231 w 45410"/>
                  <a:gd name="connsiteY7" fmla="*/ 32220 h 57657"/>
                  <a:gd name="connsiteX8" fmla="*/ 24538 w 45410"/>
                  <a:gd name="connsiteY8" fmla="*/ 8196 h 57657"/>
                  <a:gd name="connsiteX9" fmla="*/ 9308 w 45410"/>
                  <a:gd name="connsiteY9" fmla="*/ 8196 h 57657"/>
                  <a:gd name="connsiteX10" fmla="*/ 9308 w 45410"/>
                  <a:gd name="connsiteY10" fmla="*/ 24307 h 57657"/>
                  <a:gd name="connsiteX11" fmla="*/ 25385 w 45410"/>
                  <a:gd name="connsiteY11" fmla="*/ 24307 h 57657"/>
                  <a:gd name="connsiteX12" fmla="*/ 32436 w 45410"/>
                  <a:gd name="connsiteY12" fmla="*/ 22328 h 57657"/>
                  <a:gd name="connsiteX13" fmla="*/ 34692 w 45410"/>
                  <a:gd name="connsiteY13" fmla="*/ 16110 h 57657"/>
                  <a:gd name="connsiteX14" fmla="*/ 32436 w 45410"/>
                  <a:gd name="connsiteY14" fmla="*/ 9892 h 57657"/>
                  <a:gd name="connsiteX15" fmla="*/ 24538 w 45410"/>
                  <a:gd name="connsiteY15" fmla="*/ 8196 h 57657"/>
                  <a:gd name="connsiteX16" fmla="*/ 0 w 45410"/>
                  <a:gd name="connsiteY16" fmla="*/ 57375 h 57657"/>
                  <a:gd name="connsiteX17" fmla="*/ 0 w 45410"/>
                  <a:gd name="connsiteY17" fmla="*/ 0 h 57657"/>
                  <a:gd name="connsiteX18" fmla="*/ 24538 w 45410"/>
                  <a:gd name="connsiteY18" fmla="*/ 0 h 57657"/>
                  <a:gd name="connsiteX19" fmla="*/ 38923 w 45410"/>
                  <a:gd name="connsiteY19" fmla="*/ 3957 h 57657"/>
                  <a:gd name="connsiteX20" fmla="*/ 44000 w 45410"/>
                  <a:gd name="connsiteY20" fmla="*/ 15545 h 57657"/>
                  <a:gd name="connsiteX21" fmla="*/ 42308 w 45410"/>
                  <a:gd name="connsiteY21" fmla="*/ 22328 h 57657"/>
                  <a:gd name="connsiteX22" fmla="*/ 35821 w 45410"/>
                  <a:gd name="connsiteY22" fmla="*/ 27698 h 57657"/>
                  <a:gd name="connsiteX23" fmla="*/ 43154 w 45410"/>
                  <a:gd name="connsiteY23" fmla="*/ 32786 h 57657"/>
                  <a:gd name="connsiteX24" fmla="*/ 45410 w 45410"/>
                  <a:gd name="connsiteY24" fmla="*/ 41265 h 57657"/>
                  <a:gd name="connsiteX25" fmla="*/ 40897 w 45410"/>
                  <a:gd name="connsiteY25" fmla="*/ 53135 h 57657"/>
                  <a:gd name="connsiteX26" fmla="*/ 26231 w 45410"/>
                  <a:gd name="connsiteY26" fmla="*/ 57657 h 57657"/>
                  <a:gd name="connsiteX27" fmla="*/ 0 w 45410"/>
                  <a:gd name="connsiteY27" fmla="*/ 57657 h 5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5410" h="57657">
                    <a:moveTo>
                      <a:pt x="26231" y="32220"/>
                    </a:moveTo>
                    <a:lnTo>
                      <a:pt x="9308" y="32220"/>
                    </a:lnTo>
                    <a:lnTo>
                      <a:pt x="9308" y="49178"/>
                    </a:lnTo>
                    <a:lnTo>
                      <a:pt x="26231" y="49178"/>
                    </a:lnTo>
                    <a:cubicBezTo>
                      <a:pt x="29897" y="49178"/>
                      <a:pt x="32436" y="48330"/>
                      <a:pt x="34128" y="46917"/>
                    </a:cubicBezTo>
                    <a:cubicBezTo>
                      <a:pt x="35538" y="45504"/>
                      <a:pt x="36385" y="43526"/>
                      <a:pt x="36385" y="40699"/>
                    </a:cubicBezTo>
                    <a:cubicBezTo>
                      <a:pt x="36385" y="37590"/>
                      <a:pt x="35538" y="35612"/>
                      <a:pt x="33846" y="34199"/>
                    </a:cubicBezTo>
                    <a:cubicBezTo>
                      <a:pt x="32436" y="33068"/>
                      <a:pt x="29897" y="32220"/>
                      <a:pt x="26231" y="32220"/>
                    </a:cubicBezTo>
                    <a:moveTo>
                      <a:pt x="24538" y="8196"/>
                    </a:moveTo>
                    <a:lnTo>
                      <a:pt x="9308" y="8196"/>
                    </a:lnTo>
                    <a:lnTo>
                      <a:pt x="9308" y="24307"/>
                    </a:lnTo>
                    <a:lnTo>
                      <a:pt x="25385" y="24307"/>
                    </a:lnTo>
                    <a:cubicBezTo>
                      <a:pt x="28487" y="24307"/>
                      <a:pt x="31026" y="23741"/>
                      <a:pt x="32436" y="22328"/>
                    </a:cubicBezTo>
                    <a:cubicBezTo>
                      <a:pt x="34128" y="20915"/>
                      <a:pt x="34692" y="18937"/>
                      <a:pt x="34692" y="16110"/>
                    </a:cubicBezTo>
                    <a:cubicBezTo>
                      <a:pt x="34692" y="13284"/>
                      <a:pt x="33846" y="11305"/>
                      <a:pt x="32436" y="9892"/>
                    </a:cubicBezTo>
                    <a:cubicBezTo>
                      <a:pt x="31308" y="9044"/>
                      <a:pt x="28487" y="8196"/>
                      <a:pt x="24538" y="8196"/>
                    </a:cubicBezTo>
                    <a:moveTo>
                      <a:pt x="0" y="57375"/>
                    </a:moveTo>
                    <a:lnTo>
                      <a:pt x="0" y="0"/>
                    </a:lnTo>
                    <a:lnTo>
                      <a:pt x="24538" y="0"/>
                    </a:lnTo>
                    <a:cubicBezTo>
                      <a:pt x="30744" y="0"/>
                      <a:pt x="35538" y="1413"/>
                      <a:pt x="38923" y="3957"/>
                    </a:cubicBezTo>
                    <a:cubicBezTo>
                      <a:pt x="42308" y="6501"/>
                      <a:pt x="44000" y="10457"/>
                      <a:pt x="44000" y="15545"/>
                    </a:cubicBezTo>
                    <a:cubicBezTo>
                      <a:pt x="44000" y="17806"/>
                      <a:pt x="43436" y="20067"/>
                      <a:pt x="42308" y="22328"/>
                    </a:cubicBezTo>
                    <a:cubicBezTo>
                      <a:pt x="41180" y="24589"/>
                      <a:pt x="39205" y="26568"/>
                      <a:pt x="35821" y="27698"/>
                    </a:cubicBezTo>
                    <a:cubicBezTo>
                      <a:pt x="39205" y="28829"/>
                      <a:pt x="41744" y="30524"/>
                      <a:pt x="43154" y="32786"/>
                    </a:cubicBezTo>
                    <a:cubicBezTo>
                      <a:pt x="44564" y="35047"/>
                      <a:pt x="45410" y="37873"/>
                      <a:pt x="45410" y="41265"/>
                    </a:cubicBezTo>
                    <a:cubicBezTo>
                      <a:pt x="45410" y="46069"/>
                      <a:pt x="44000" y="50026"/>
                      <a:pt x="40897" y="53135"/>
                    </a:cubicBezTo>
                    <a:cubicBezTo>
                      <a:pt x="37795" y="55962"/>
                      <a:pt x="33000" y="57657"/>
                      <a:pt x="26231" y="57657"/>
                    </a:cubicBezTo>
                    <a:lnTo>
                      <a:pt x="0" y="57657"/>
                    </a:lnTo>
                    <a:close/>
                  </a:path>
                </a:pathLst>
              </a:custGeom>
              <a:solidFill>
                <a:srgbClr val="7F8183"/>
              </a:solidFill>
              <a:ln w="2790" cap="flat">
                <a:noFill/>
                <a:prstDash val="solid"/>
                <a:miter/>
              </a:ln>
            </p:spPr>
            <p:txBody>
              <a:bodyPr rtlCol="0" anchor="ctr"/>
              <a:lstStyle/>
              <a:p>
                <a:endParaRPr lang="x-none" sz="1905"/>
              </a:p>
            </p:txBody>
          </p:sp>
          <p:sp>
            <p:nvSpPr>
              <p:cNvPr id="58" name="Freeform 57">
                <a:extLst>
                  <a:ext uri="{FF2B5EF4-FFF2-40B4-BE49-F238E27FC236}">
                    <a16:creationId xmlns:a16="http://schemas.microsoft.com/office/drawing/2014/main" id="{73E37A58-7A04-3D4C-B1C2-8DE0C7DC770C}"/>
                  </a:ext>
                </a:extLst>
              </p:cNvPr>
              <p:cNvSpPr/>
              <p:nvPr/>
            </p:nvSpPr>
            <p:spPr>
              <a:xfrm>
                <a:off x="1472208" y="5811307"/>
                <a:ext cx="51333" cy="59635"/>
              </a:xfrm>
              <a:custGeom>
                <a:avLst/>
                <a:gdLst>
                  <a:gd name="connsiteX0" fmla="*/ 26795 w 51333"/>
                  <a:gd name="connsiteY0" fmla="*/ 7914 h 59635"/>
                  <a:gd name="connsiteX1" fmla="*/ 15795 w 51333"/>
                  <a:gd name="connsiteY1" fmla="*/ 12153 h 59635"/>
                  <a:gd name="connsiteX2" fmla="*/ 10154 w 51333"/>
                  <a:gd name="connsiteY2" fmla="*/ 23176 h 59635"/>
                  <a:gd name="connsiteX3" fmla="*/ 42308 w 51333"/>
                  <a:gd name="connsiteY3" fmla="*/ 23176 h 59635"/>
                  <a:gd name="connsiteX4" fmla="*/ 38359 w 51333"/>
                  <a:gd name="connsiteY4" fmla="*/ 12153 h 59635"/>
                  <a:gd name="connsiteX5" fmla="*/ 26795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8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795" y="7914"/>
                    </a:moveTo>
                    <a:cubicBezTo>
                      <a:pt x="22282" y="7914"/>
                      <a:pt x="18615" y="9327"/>
                      <a:pt x="15795" y="12153"/>
                    </a:cubicBezTo>
                    <a:cubicBezTo>
                      <a:pt x="12692" y="14980"/>
                      <a:pt x="11000" y="18654"/>
                      <a:pt x="10154" y="23176"/>
                    </a:cubicBezTo>
                    <a:lnTo>
                      <a:pt x="42308" y="23176"/>
                    </a:lnTo>
                    <a:cubicBezTo>
                      <a:pt x="42026" y="18654"/>
                      <a:pt x="40615" y="14980"/>
                      <a:pt x="38359" y="12153"/>
                    </a:cubicBezTo>
                    <a:cubicBezTo>
                      <a:pt x="35256" y="9327"/>
                      <a:pt x="31590" y="7914"/>
                      <a:pt x="26795"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8"/>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59" name="Freeform 58">
                <a:extLst>
                  <a:ext uri="{FF2B5EF4-FFF2-40B4-BE49-F238E27FC236}">
                    <a16:creationId xmlns:a16="http://schemas.microsoft.com/office/drawing/2014/main" id="{A5FB3A17-DE30-EC46-85FD-34B2B2EB33B8}"/>
                  </a:ext>
                </a:extLst>
              </p:cNvPr>
              <p:cNvSpPr/>
              <p:nvPr/>
            </p:nvSpPr>
            <p:spPr>
              <a:xfrm>
                <a:off x="1537644" y="5810742"/>
                <a:ext cx="54153" cy="82246"/>
              </a:xfrm>
              <a:custGeom>
                <a:avLst/>
                <a:gdLst>
                  <a:gd name="connsiteX0" fmla="*/ 9590 w 54153"/>
                  <a:gd name="connsiteY0" fmla="*/ 34764 h 82246"/>
                  <a:gd name="connsiteX1" fmla="*/ 14949 w 54153"/>
                  <a:gd name="connsiteY1" fmla="*/ 46917 h 82246"/>
                  <a:gd name="connsiteX2" fmla="*/ 27641 w 54153"/>
                  <a:gd name="connsiteY2" fmla="*/ 51439 h 82246"/>
                  <a:gd name="connsiteX3" fmla="*/ 40051 w 54153"/>
                  <a:gd name="connsiteY3" fmla="*/ 45504 h 82246"/>
                  <a:gd name="connsiteX4" fmla="*/ 44564 w 54153"/>
                  <a:gd name="connsiteY4" fmla="*/ 29677 h 82246"/>
                  <a:gd name="connsiteX5" fmla="*/ 40051 w 54153"/>
                  <a:gd name="connsiteY5" fmla="*/ 14414 h 82246"/>
                  <a:gd name="connsiteX6" fmla="*/ 27359 w 54153"/>
                  <a:gd name="connsiteY6" fmla="*/ 8479 h 82246"/>
                  <a:gd name="connsiteX7" fmla="*/ 20872 w 54153"/>
                  <a:gd name="connsiteY7" fmla="*/ 9610 h 82246"/>
                  <a:gd name="connsiteX8" fmla="*/ 15231 w 54153"/>
                  <a:gd name="connsiteY8" fmla="*/ 13284 h 82246"/>
                  <a:gd name="connsiteX9" fmla="*/ 11282 w 54153"/>
                  <a:gd name="connsiteY9" fmla="*/ 19219 h 82246"/>
                  <a:gd name="connsiteX10" fmla="*/ 9872 w 54153"/>
                  <a:gd name="connsiteY10" fmla="*/ 27416 h 82246"/>
                  <a:gd name="connsiteX11" fmla="*/ 9872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590" y="34764"/>
                    </a:moveTo>
                    <a:cubicBezTo>
                      <a:pt x="9590" y="40134"/>
                      <a:pt x="11282" y="44091"/>
                      <a:pt x="14949" y="46917"/>
                    </a:cubicBezTo>
                    <a:cubicBezTo>
                      <a:pt x="18615" y="49744"/>
                      <a:pt x="22846" y="51439"/>
                      <a:pt x="27641" y="51439"/>
                    </a:cubicBezTo>
                    <a:cubicBezTo>
                      <a:pt x="33000" y="51439"/>
                      <a:pt x="36949" y="49461"/>
                      <a:pt x="40051" y="45504"/>
                    </a:cubicBezTo>
                    <a:cubicBezTo>
                      <a:pt x="43154" y="41547"/>
                      <a:pt x="44564" y="36460"/>
                      <a:pt x="44564" y="29677"/>
                    </a:cubicBezTo>
                    <a:cubicBezTo>
                      <a:pt x="44564" y="23459"/>
                      <a:pt x="43154" y="18371"/>
                      <a:pt x="40051" y="14414"/>
                    </a:cubicBezTo>
                    <a:cubicBezTo>
                      <a:pt x="36949" y="10457"/>
                      <a:pt x="32718" y="8479"/>
                      <a:pt x="27359" y="8479"/>
                    </a:cubicBezTo>
                    <a:cubicBezTo>
                      <a:pt x="25103" y="8479"/>
                      <a:pt x="22846" y="8762"/>
                      <a:pt x="20872" y="9610"/>
                    </a:cubicBezTo>
                    <a:cubicBezTo>
                      <a:pt x="18897" y="10457"/>
                      <a:pt x="16923" y="11588"/>
                      <a:pt x="15231" y="13284"/>
                    </a:cubicBezTo>
                    <a:cubicBezTo>
                      <a:pt x="13538" y="14980"/>
                      <a:pt x="12128" y="16958"/>
                      <a:pt x="11282" y="19219"/>
                    </a:cubicBezTo>
                    <a:cubicBezTo>
                      <a:pt x="10154" y="21763"/>
                      <a:pt x="9872" y="24307"/>
                      <a:pt x="9872" y="27416"/>
                    </a:cubicBezTo>
                    <a:lnTo>
                      <a:pt x="9872" y="34764"/>
                    </a:lnTo>
                    <a:close/>
                    <a:moveTo>
                      <a:pt x="0" y="82247"/>
                    </a:moveTo>
                    <a:lnTo>
                      <a:pt x="0" y="1413"/>
                    </a:lnTo>
                    <a:lnTo>
                      <a:pt x="9590" y="1413"/>
                    </a:lnTo>
                    <a:lnTo>
                      <a:pt x="9590" y="9044"/>
                    </a:lnTo>
                    <a:cubicBezTo>
                      <a:pt x="11564" y="6218"/>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grpSp>
        <p:sp>
          <p:nvSpPr>
            <p:cNvPr id="26" name="Freeform 25">
              <a:extLst>
                <a:ext uri="{FF2B5EF4-FFF2-40B4-BE49-F238E27FC236}">
                  <a16:creationId xmlns:a16="http://schemas.microsoft.com/office/drawing/2014/main" id="{8A57EE60-CECA-0745-A9C4-EE0F6B57CD75}"/>
                </a:ext>
              </a:extLst>
            </p:cNvPr>
            <p:cNvSpPr/>
            <p:nvPr/>
          </p:nvSpPr>
          <p:spPr>
            <a:xfrm>
              <a:off x="1606183" y="5812155"/>
              <a:ext cx="75307" cy="57374"/>
            </a:xfrm>
            <a:custGeom>
              <a:avLst/>
              <a:gdLst>
                <a:gd name="connsiteX0" fmla="*/ 75308 w 75307"/>
                <a:gd name="connsiteY0" fmla="*/ 0 h 57374"/>
                <a:gd name="connsiteX1" fmla="*/ 75308 w 75307"/>
                <a:gd name="connsiteY1" fmla="*/ 57375 h 57374"/>
                <a:gd name="connsiteX2" fmla="*/ 0 w 75307"/>
                <a:gd name="connsiteY2" fmla="*/ 57375 h 57374"/>
                <a:gd name="connsiteX3" fmla="*/ 0 w 75307"/>
                <a:gd name="connsiteY3" fmla="*/ 0 h 57374"/>
                <a:gd name="connsiteX4" fmla="*/ 9590 w 75307"/>
                <a:gd name="connsiteY4" fmla="*/ 0 h 57374"/>
                <a:gd name="connsiteX5" fmla="*/ 9590 w 75307"/>
                <a:gd name="connsiteY5" fmla="*/ 48613 h 57374"/>
                <a:gd name="connsiteX6" fmla="*/ 33000 w 75307"/>
                <a:gd name="connsiteY6" fmla="*/ 48613 h 57374"/>
                <a:gd name="connsiteX7" fmla="*/ 33000 w 75307"/>
                <a:gd name="connsiteY7" fmla="*/ 0 h 57374"/>
                <a:gd name="connsiteX8" fmla="*/ 42308 w 75307"/>
                <a:gd name="connsiteY8" fmla="*/ 0 h 57374"/>
                <a:gd name="connsiteX9" fmla="*/ 42308 w 75307"/>
                <a:gd name="connsiteY9" fmla="*/ 48613 h 57374"/>
                <a:gd name="connsiteX10" fmla="*/ 65718 w 75307"/>
                <a:gd name="connsiteY10" fmla="*/ 48613 h 57374"/>
                <a:gd name="connsiteX11" fmla="*/ 65718 w 75307"/>
                <a:gd name="connsiteY11" fmla="*/ 0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307" h="57374">
                  <a:moveTo>
                    <a:pt x="75308" y="0"/>
                  </a:moveTo>
                  <a:lnTo>
                    <a:pt x="75308" y="57375"/>
                  </a:lnTo>
                  <a:lnTo>
                    <a:pt x="0" y="57375"/>
                  </a:lnTo>
                  <a:lnTo>
                    <a:pt x="0" y="0"/>
                  </a:lnTo>
                  <a:lnTo>
                    <a:pt x="9590" y="0"/>
                  </a:lnTo>
                  <a:lnTo>
                    <a:pt x="9590" y="48613"/>
                  </a:lnTo>
                  <a:lnTo>
                    <a:pt x="33000" y="48613"/>
                  </a:lnTo>
                  <a:lnTo>
                    <a:pt x="33000" y="0"/>
                  </a:lnTo>
                  <a:lnTo>
                    <a:pt x="42308" y="0"/>
                  </a:lnTo>
                  <a:lnTo>
                    <a:pt x="42308" y="48613"/>
                  </a:lnTo>
                  <a:lnTo>
                    <a:pt x="65718" y="48613"/>
                  </a:lnTo>
                  <a:lnTo>
                    <a:pt x="65718" y="0"/>
                  </a:lnTo>
                  <a:close/>
                </a:path>
              </a:pathLst>
            </a:custGeom>
            <a:solidFill>
              <a:srgbClr val="7F8183"/>
            </a:solidFill>
            <a:ln w="2790" cap="flat">
              <a:noFill/>
              <a:prstDash val="solid"/>
              <a:miter/>
            </a:ln>
          </p:spPr>
          <p:txBody>
            <a:bodyPr rtlCol="0" anchor="ctr"/>
            <a:lstStyle/>
            <a:p>
              <a:endParaRPr lang="x-none" sz="1905"/>
            </a:p>
          </p:txBody>
        </p:sp>
        <p:sp>
          <p:nvSpPr>
            <p:cNvPr id="27" name="Freeform 26">
              <a:extLst>
                <a:ext uri="{FF2B5EF4-FFF2-40B4-BE49-F238E27FC236}">
                  <a16:creationId xmlns:a16="http://schemas.microsoft.com/office/drawing/2014/main" id="{4C1D8118-E478-6F49-92CE-6359D0AC6C1A}"/>
                </a:ext>
              </a:extLst>
            </p:cNvPr>
            <p:cNvSpPr/>
            <p:nvPr/>
          </p:nvSpPr>
          <p:spPr>
            <a:xfrm>
              <a:off x="1695593" y="5811307"/>
              <a:ext cx="51615" cy="59635"/>
            </a:xfrm>
            <a:custGeom>
              <a:avLst/>
              <a:gdLst>
                <a:gd name="connsiteX0" fmla="*/ 26795 w 51615"/>
                <a:gd name="connsiteY0" fmla="*/ 7914 h 59635"/>
                <a:gd name="connsiteX1" fmla="*/ 15795 w 51615"/>
                <a:gd name="connsiteY1" fmla="*/ 12153 h 59635"/>
                <a:gd name="connsiteX2" fmla="*/ 10154 w 51615"/>
                <a:gd name="connsiteY2" fmla="*/ 23176 h 59635"/>
                <a:gd name="connsiteX3" fmla="*/ 42308 w 51615"/>
                <a:gd name="connsiteY3" fmla="*/ 23176 h 59635"/>
                <a:gd name="connsiteX4" fmla="*/ 38359 w 51615"/>
                <a:gd name="connsiteY4" fmla="*/ 12153 h 59635"/>
                <a:gd name="connsiteX5" fmla="*/ 26795 w 51615"/>
                <a:gd name="connsiteY5" fmla="*/ 7914 h 59635"/>
                <a:gd name="connsiteX6" fmla="*/ 51615 w 51615"/>
                <a:gd name="connsiteY6" fmla="*/ 31372 h 59635"/>
                <a:gd name="connsiteX7" fmla="*/ 9590 w 51615"/>
                <a:gd name="connsiteY7" fmla="*/ 31372 h 59635"/>
                <a:gd name="connsiteX8" fmla="*/ 14949 w 51615"/>
                <a:gd name="connsiteY8" fmla="*/ 46069 h 59635"/>
                <a:gd name="connsiteX9" fmla="*/ 27077 w 51615"/>
                <a:gd name="connsiteY9" fmla="*/ 51157 h 59635"/>
                <a:gd name="connsiteX10" fmla="*/ 37513 w 51615"/>
                <a:gd name="connsiteY10" fmla="*/ 48048 h 59635"/>
                <a:gd name="connsiteX11" fmla="*/ 42308 w 51615"/>
                <a:gd name="connsiteY11" fmla="*/ 40699 h 59635"/>
                <a:gd name="connsiteX12" fmla="*/ 51333 w 51615"/>
                <a:gd name="connsiteY12" fmla="*/ 42395 h 59635"/>
                <a:gd name="connsiteX13" fmla="*/ 42872 w 51615"/>
                <a:gd name="connsiteY13" fmla="*/ 55114 h 59635"/>
                <a:gd name="connsiteX14" fmla="*/ 26795 w 51615"/>
                <a:gd name="connsiteY14" fmla="*/ 59636 h 59635"/>
                <a:gd name="connsiteX15" fmla="*/ 7333 w 51615"/>
                <a:gd name="connsiteY15" fmla="*/ 51722 h 59635"/>
                <a:gd name="connsiteX16" fmla="*/ 0 w 51615"/>
                <a:gd name="connsiteY16" fmla="*/ 29677 h 59635"/>
                <a:gd name="connsiteX17" fmla="*/ 1974 w 51615"/>
                <a:gd name="connsiteY17" fmla="*/ 16958 h 59635"/>
                <a:gd name="connsiteX18" fmla="*/ 7615 w 51615"/>
                <a:gd name="connsiteY18" fmla="*/ 7631 h 59635"/>
                <a:gd name="connsiteX19" fmla="*/ 16077 w 51615"/>
                <a:gd name="connsiteY19" fmla="*/ 1978 h 59635"/>
                <a:gd name="connsiteX20" fmla="*/ 26513 w 51615"/>
                <a:gd name="connsiteY20" fmla="*/ 0 h 59635"/>
                <a:gd name="connsiteX21" fmla="*/ 44564 w 51615"/>
                <a:gd name="connsiteY21" fmla="*/ 7348 h 59635"/>
                <a:gd name="connsiteX22" fmla="*/ 51333 w 51615"/>
                <a:gd name="connsiteY22" fmla="*/ 27698 h 59635"/>
                <a:gd name="connsiteX23" fmla="*/ 51333 w 51615"/>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615" h="59635">
                  <a:moveTo>
                    <a:pt x="26795" y="7914"/>
                  </a:moveTo>
                  <a:cubicBezTo>
                    <a:pt x="22282" y="7914"/>
                    <a:pt x="18615" y="9327"/>
                    <a:pt x="15795" y="12153"/>
                  </a:cubicBezTo>
                  <a:cubicBezTo>
                    <a:pt x="12692" y="14980"/>
                    <a:pt x="11000" y="18654"/>
                    <a:pt x="10154" y="23176"/>
                  </a:cubicBezTo>
                  <a:lnTo>
                    <a:pt x="42308" y="23176"/>
                  </a:lnTo>
                  <a:cubicBezTo>
                    <a:pt x="42026" y="18654"/>
                    <a:pt x="40615" y="14980"/>
                    <a:pt x="38359" y="12153"/>
                  </a:cubicBezTo>
                  <a:cubicBezTo>
                    <a:pt x="35539" y="9327"/>
                    <a:pt x="31590" y="7914"/>
                    <a:pt x="26795" y="7914"/>
                  </a:cubicBezTo>
                  <a:moveTo>
                    <a:pt x="51615"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8"/>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28" name="Freeform 27">
              <a:extLst>
                <a:ext uri="{FF2B5EF4-FFF2-40B4-BE49-F238E27FC236}">
                  <a16:creationId xmlns:a16="http://schemas.microsoft.com/office/drawing/2014/main" id="{D5B77BF7-A718-7F46-B83C-AF7018415C50}"/>
                </a:ext>
              </a:extLst>
            </p:cNvPr>
            <p:cNvSpPr/>
            <p:nvPr/>
          </p:nvSpPr>
          <p:spPr>
            <a:xfrm>
              <a:off x="1761029" y="5812155"/>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29" name="Freeform 28">
              <a:extLst>
                <a:ext uri="{FF2B5EF4-FFF2-40B4-BE49-F238E27FC236}">
                  <a16:creationId xmlns:a16="http://schemas.microsoft.com/office/drawing/2014/main" id="{6918E6DD-6E3E-8943-88BC-027320426CAB}"/>
                </a:ext>
              </a:extLst>
            </p:cNvPr>
            <p:cNvSpPr/>
            <p:nvPr/>
          </p:nvSpPr>
          <p:spPr>
            <a:xfrm>
              <a:off x="1825055" y="5810742"/>
              <a:ext cx="50769" cy="59918"/>
            </a:xfrm>
            <a:custGeom>
              <a:avLst/>
              <a:gdLst>
                <a:gd name="connsiteX0" fmla="*/ 41744 w 50769"/>
                <a:gd name="connsiteY0" fmla="*/ 40134 h 59918"/>
                <a:gd name="connsiteX1" fmla="*/ 50769 w 50769"/>
                <a:gd name="connsiteY1" fmla="*/ 41547 h 59918"/>
                <a:gd name="connsiteX2" fmla="*/ 43154 w 50769"/>
                <a:gd name="connsiteY2" fmla="*/ 54548 h 59918"/>
                <a:gd name="connsiteX3" fmla="*/ 26513 w 50769"/>
                <a:gd name="connsiteY3" fmla="*/ 59919 h 59918"/>
                <a:gd name="connsiteX4" fmla="*/ 7333 w 50769"/>
                <a:gd name="connsiteY4" fmla="*/ 52287 h 59918"/>
                <a:gd name="connsiteX5" fmla="*/ 0 w 50769"/>
                <a:gd name="connsiteY5" fmla="*/ 29959 h 59918"/>
                <a:gd name="connsiteX6" fmla="*/ 1974 w 50769"/>
                <a:gd name="connsiteY6" fmla="*/ 16675 h 59918"/>
                <a:gd name="connsiteX7" fmla="*/ 7615 w 50769"/>
                <a:gd name="connsiteY7" fmla="*/ 7348 h 59918"/>
                <a:gd name="connsiteX8" fmla="*/ 16077 w 50769"/>
                <a:gd name="connsiteY8" fmla="*/ 1696 h 59918"/>
                <a:gd name="connsiteX9" fmla="*/ 26513 w 50769"/>
                <a:gd name="connsiteY9" fmla="*/ 0 h 59918"/>
                <a:gd name="connsiteX10" fmla="*/ 43436 w 50769"/>
                <a:gd name="connsiteY10" fmla="*/ 5370 h 59918"/>
                <a:gd name="connsiteX11" fmla="*/ 50769 w 50769"/>
                <a:gd name="connsiteY11" fmla="*/ 18089 h 59918"/>
                <a:gd name="connsiteX12" fmla="*/ 42026 w 50769"/>
                <a:gd name="connsiteY12" fmla="*/ 19784 h 59918"/>
                <a:gd name="connsiteX13" fmla="*/ 37513 w 50769"/>
                <a:gd name="connsiteY13" fmla="*/ 12153 h 59918"/>
                <a:gd name="connsiteX14" fmla="*/ 26795 w 50769"/>
                <a:gd name="connsiteY14" fmla="*/ 8479 h 59918"/>
                <a:gd name="connsiteX15" fmla="*/ 14103 w 50769"/>
                <a:gd name="connsiteY15" fmla="*/ 14132 h 59918"/>
                <a:gd name="connsiteX16" fmla="*/ 9590 w 50769"/>
                <a:gd name="connsiteY16" fmla="*/ 29677 h 59918"/>
                <a:gd name="connsiteX17" fmla="*/ 14103 w 50769"/>
                <a:gd name="connsiteY17" fmla="*/ 45222 h 59918"/>
                <a:gd name="connsiteX18" fmla="*/ 26795 w 50769"/>
                <a:gd name="connsiteY18" fmla="*/ 51157 h 59918"/>
                <a:gd name="connsiteX19" fmla="*/ 37795 w 50769"/>
                <a:gd name="connsiteY19" fmla="*/ 47483 h 59918"/>
                <a:gd name="connsiteX20" fmla="*/ 41744 w 50769"/>
                <a:gd name="connsiteY20" fmla="*/ 40134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769" h="59918">
                  <a:moveTo>
                    <a:pt x="41744" y="40134"/>
                  </a:moveTo>
                  <a:lnTo>
                    <a:pt x="50769" y="41547"/>
                  </a:lnTo>
                  <a:cubicBezTo>
                    <a:pt x="49641" y="46635"/>
                    <a:pt x="47103" y="51157"/>
                    <a:pt x="43154" y="54548"/>
                  </a:cubicBezTo>
                  <a:cubicBezTo>
                    <a:pt x="39205" y="58223"/>
                    <a:pt x="33564" y="59919"/>
                    <a:pt x="26513" y="59919"/>
                  </a:cubicBezTo>
                  <a:cubicBezTo>
                    <a:pt x="18615" y="59919"/>
                    <a:pt x="12128" y="57375"/>
                    <a:pt x="7333" y="52287"/>
                  </a:cubicBezTo>
                  <a:cubicBezTo>
                    <a:pt x="2538" y="47200"/>
                    <a:pt x="0" y="39851"/>
                    <a:pt x="0" y="29959"/>
                  </a:cubicBezTo>
                  <a:cubicBezTo>
                    <a:pt x="0" y="24872"/>
                    <a:pt x="564" y="20350"/>
                    <a:pt x="1974" y="16675"/>
                  </a:cubicBezTo>
                  <a:cubicBezTo>
                    <a:pt x="3385" y="13001"/>
                    <a:pt x="5359" y="9892"/>
                    <a:pt x="7615" y="7348"/>
                  </a:cubicBezTo>
                  <a:cubicBezTo>
                    <a:pt x="9872" y="4805"/>
                    <a:pt x="12692" y="3109"/>
                    <a:pt x="16077" y="1696"/>
                  </a:cubicBezTo>
                  <a:cubicBezTo>
                    <a:pt x="19462" y="565"/>
                    <a:pt x="22846" y="0"/>
                    <a:pt x="26513" y="0"/>
                  </a:cubicBezTo>
                  <a:cubicBezTo>
                    <a:pt x="33846" y="0"/>
                    <a:pt x="39487" y="1696"/>
                    <a:pt x="43436" y="5370"/>
                  </a:cubicBezTo>
                  <a:cubicBezTo>
                    <a:pt x="47385" y="9044"/>
                    <a:pt x="49641" y="13284"/>
                    <a:pt x="50769" y="18089"/>
                  </a:cubicBezTo>
                  <a:lnTo>
                    <a:pt x="42026" y="19784"/>
                  </a:lnTo>
                  <a:cubicBezTo>
                    <a:pt x="41179" y="16958"/>
                    <a:pt x="39769" y="14414"/>
                    <a:pt x="37513" y="12153"/>
                  </a:cubicBezTo>
                  <a:cubicBezTo>
                    <a:pt x="35256" y="9892"/>
                    <a:pt x="31590" y="8479"/>
                    <a:pt x="26795" y="8479"/>
                  </a:cubicBezTo>
                  <a:cubicBezTo>
                    <a:pt x="21436" y="8479"/>
                    <a:pt x="17205" y="10457"/>
                    <a:pt x="14103" y="14132"/>
                  </a:cubicBezTo>
                  <a:cubicBezTo>
                    <a:pt x="11000" y="18089"/>
                    <a:pt x="9590" y="23176"/>
                    <a:pt x="9590" y="29677"/>
                  </a:cubicBezTo>
                  <a:cubicBezTo>
                    <a:pt x="9590" y="36177"/>
                    <a:pt x="11000" y="41265"/>
                    <a:pt x="14103" y="45222"/>
                  </a:cubicBezTo>
                  <a:cubicBezTo>
                    <a:pt x="16923" y="49178"/>
                    <a:pt x="21154" y="51157"/>
                    <a:pt x="26795" y="51157"/>
                  </a:cubicBezTo>
                  <a:cubicBezTo>
                    <a:pt x="31872" y="51157"/>
                    <a:pt x="35538" y="50026"/>
                    <a:pt x="37795" y="47483"/>
                  </a:cubicBezTo>
                  <a:cubicBezTo>
                    <a:pt x="39487" y="45504"/>
                    <a:pt x="40897" y="42960"/>
                    <a:pt x="41744" y="40134"/>
                  </a:cubicBezTo>
                </a:path>
              </a:pathLst>
            </a:custGeom>
            <a:solidFill>
              <a:srgbClr val="7F8183"/>
            </a:solidFill>
            <a:ln w="2790" cap="flat">
              <a:noFill/>
              <a:prstDash val="solid"/>
              <a:miter/>
            </a:ln>
          </p:spPr>
          <p:txBody>
            <a:bodyPr rtlCol="0" anchor="ctr"/>
            <a:lstStyle/>
            <a:p>
              <a:endParaRPr lang="x-none" sz="1905"/>
            </a:p>
          </p:txBody>
        </p:sp>
        <p:sp>
          <p:nvSpPr>
            <p:cNvPr id="30" name="Freeform 29">
              <a:extLst>
                <a:ext uri="{FF2B5EF4-FFF2-40B4-BE49-F238E27FC236}">
                  <a16:creationId xmlns:a16="http://schemas.microsoft.com/office/drawing/2014/main" id="{645310B9-8CA4-C849-B2E3-16871DC771FC}"/>
                </a:ext>
              </a:extLst>
            </p:cNvPr>
            <p:cNvSpPr/>
            <p:nvPr/>
          </p:nvSpPr>
          <p:spPr>
            <a:xfrm>
              <a:off x="1882875" y="5812155"/>
              <a:ext cx="51333" cy="57374"/>
            </a:xfrm>
            <a:custGeom>
              <a:avLst/>
              <a:gdLst>
                <a:gd name="connsiteX0" fmla="*/ 0 w 51333"/>
                <a:gd name="connsiteY0" fmla="*/ 9044 h 57374"/>
                <a:gd name="connsiteX1" fmla="*/ 0 w 51333"/>
                <a:gd name="connsiteY1" fmla="*/ 0 h 57374"/>
                <a:gd name="connsiteX2" fmla="*/ 51333 w 51333"/>
                <a:gd name="connsiteY2" fmla="*/ 0 h 57374"/>
                <a:gd name="connsiteX3" fmla="*/ 51333 w 51333"/>
                <a:gd name="connsiteY3" fmla="*/ 9044 h 57374"/>
                <a:gd name="connsiteX4" fmla="*/ 30462 w 51333"/>
                <a:gd name="connsiteY4" fmla="*/ 9044 h 57374"/>
                <a:gd name="connsiteX5" fmla="*/ 30462 w 51333"/>
                <a:gd name="connsiteY5" fmla="*/ 57375 h 57374"/>
                <a:gd name="connsiteX6" fmla="*/ 20872 w 51333"/>
                <a:gd name="connsiteY6" fmla="*/ 57375 h 57374"/>
                <a:gd name="connsiteX7" fmla="*/ 20872 w 51333"/>
                <a:gd name="connsiteY7" fmla="*/ 9044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333" h="57374">
                  <a:moveTo>
                    <a:pt x="0" y="9044"/>
                  </a:moveTo>
                  <a:lnTo>
                    <a:pt x="0" y="0"/>
                  </a:lnTo>
                  <a:lnTo>
                    <a:pt x="51333" y="0"/>
                  </a:lnTo>
                  <a:lnTo>
                    <a:pt x="51333" y="9044"/>
                  </a:lnTo>
                  <a:lnTo>
                    <a:pt x="30462" y="9044"/>
                  </a:lnTo>
                  <a:lnTo>
                    <a:pt x="30462" y="57375"/>
                  </a:lnTo>
                  <a:lnTo>
                    <a:pt x="20872" y="57375"/>
                  </a:lnTo>
                  <a:lnTo>
                    <a:pt x="20872" y="9044"/>
                  </a:lnTo>
                  <a:close/>
                </a:path>
              </a:pathLst>
            </a:custGeom>
            <a:solidFill>
              <a:srgbClr val="7F8183"/>
            </a:solidFill>
            <a:ln w="2790" cap="flat">
              <a:noFill/>
              <a:prstDash val="solid"/>
              <a:miter/>
            </a:ln>
          </p:spPr>
          <p:txBody>
            <a:bodyPr rtlCol="0" anchor="ctr"/>
            <a:lstStyle/>
            <a:p>
              <a:endParaRPr lang="x-none" sz="1905"/>
            </a:p>
          </p:txBody>
        </p:sp>
        <p:grpSp>
          <p:nvGrpSpPr>
            <p:cNvPr id="31" name="Graphic 13">
              <a:extLst>
                <a:ext uri="{FF2B5EF4-FFF2-40B4-BE49-F238E27FC236}">
                  <a16:creationId xmlns:a16="http://schemas.microsoft.com/office/drawing/2014/main" id="{68D06D50-A541-C448-B5A3-276B64E2D4C1}"/>
                </a:ext>
              </a:extLst>
            </p:cNvPr>
            <p:cNvGrpSpPr/>
            <p:nvPr/>
          </p:nvGrpSpPr>
          <p:grpSpPr>
            <a:xfrm>
              <a:off x="1946055" y="5811024"/>
              <a:ext cx="110282" cy="59918"/>
              <a:chOff x="1946055" y="5811024"/>
              <a:chExt cx="110282" cy="59918"/>
            </a:xfrm>
            <a:solidFill>
              <a:srgbClr val="CFD4D9"/>
            </a:solidFill>
          </p:grpSpPr>
          <p:sp>
            <p:nvSpPr>
              <p:cNvPr id="53" name="Freeform 52">
                <a:extLst>
                  <a:ext uri="{FF2B5EF4-FFF2-40B4-BE49-F238E27FC236}">
                    <a16:creationId xmlns:a16="http://schemas.microsoft.com/office/drawing/2014/main" id="{07959E70-C873-A843-8416-EFC12CA91A5C}"/>
                  </a:ext>
                </a:extLst>
              </p:cNvPr>
              <p:cNvSpPr/>
              <p:nvPr/>
            </p:nvSpPr>
            <p:spPr>
              <a:xfrm>
                <a:off x="1946055" y="5812155"/>
                <a:ext cx="45410" cy="57657"/>
              </a:xfrm>
              <a:custGeom>
                <a:avLst/>
                <a:gdLst>
                  <a:gd name="connsiteX0" fmla="*/ 26231 w 45410"/>
                  <a:gd name="connsiteY0" fmla="*/ 32220 h 57657"/>
                  <a:gd name="connsiteX1" fmla="*/ 9308 w 45410"/>
                  <a:gd name="connsiteY1" fmla="*/ 32220 h 57657"/>
                  <a:gd name="connsiteX2" fmla="*/ 9308 w 45410"/>
                  <a:gd name="connsiteY2" fmla="*/ 49178 h 57657"/>
                  <a:gd name="connsiteX3" fmla="*/ 26231 w 45410"/>
                  <a:gd name="connsiteY3" fmla="*/ 49178 h 57657"/>
                  <a:gd name="connsiteX4" fmla="*/ 34128 w 45410"/>
                  <a:gd name="connsiteY4" fmla="*/ 46917 h 57657"/>
                  <a:gd name="connsiteX5" fmla="*/ 36385 w 45410"/>
                  <a:gd name="connsiteY5" fmla="*/ 40699 h 57657"/>
                  <a:gd name="connsiteX6" fmla="*/ 33846 w 45410"/>
                  <a:gd name="connsiteY6" fmla="*/ 34199 h 57657"/>
                  <a:gd name="connsiteX7" fmla="*/ 26231 w 45410"/>
                  <a:gd name="connsiteY7" fmla="*/ 32220 h 57657"/>
                  <a:gd name="connsiteX8" fmla="*/ 24538 w 45410"/>
                  <a:gd name="connsiteY8" fmla="*/ 8196 h 57657"/>
                  <a:gd name="connsiteX9" fmla="*/ 9308 w 45410"/>
                  <a:gd name="connsiteY9" fmla="*/ 8196 h 57657"/>
                  <a:gd name="connsiteX10" fmla="*/ 9308 w 45410"/>
                  <a:gd name="connsiteY10" fmla="*/ 24307 h 57657"/>
                  <a:gd name="connsiteX11" fmla="*/ 25385 w 45410"/>
                  <a:gd name="connsiteY11" fmla="*/ 24307 h 57657"/>
                  <a:gd name="connsiteX12" fmla="*/ 32436 w 45410"/>
                  <a:gd name="connsiteY12" fmla="*/ 22328 h 57657"/>
                  <a:gd name="connsiteX13" fmla="*/ 34692 w 45410"/>
                  <a:gd name="connsiteY13" fmla="*/ 16110 h 57657"/>
                  <a:gd name="connsiteX14" fmla="*/ 32436 w 45410"/>
                  <a:gd name="connsiteY14" fmla="*/ 9892 h 57657"/>
                  <a:gd name="connsiteX15" fmla="*/ 24538 w 45410"/>
                  <a:gd name="connsiteY15" fmla="*/ 8196 h 57657"/>
                  <a:gd name="connsiteX16" fmla="*/ 0 w 45410"/>
                  <a:gd name="connsiteY16" fmla="*/ 57375 h 57657"/>
                  <a:gd name="connsiteX17" fmla="*/ 0 w 45410"/>
                  <a:gd name="connsiteY17" fmla="*/ 0 h 57657"/>
                  <a:gd name="connsiteX18" fmla="*/ 24538 w 45410"/>
                  <a:gd name="connsiteY18" fmla="*/ 0 h 57657"/>
                  <a:gd name="connsiteX19" fmla="*/ 38923 w 45410"/>
                  <a:gd name="connsiteY19" fmla="*/ 3957 h 57657"/>
                  <a:gd name="connsiteX20" fmla="*/ 44000 w 45410"/>
                  <a:gd name="connsiteY20" fmla="*/ 15545 h 57657"/>
                  <a:gd name="connsiteX21" fmla="*/ 42308 w 45410"/>
                  <a:gd name="connsiteY21" fmla="*/ 22328 h 57657"/>
                  <a:gd name="connsiteX22" fmla="*/ 35821 w 45410"/>
                  <a:gd name="connsiteY22" fmla="*/ 27698 h 57657"/>
                  <a:gd name="connsiteX23" fmla="*/ 43154 w 45410"/>
                  <a:gd name="connsiteY23" fmla="*/ 32786 h 57657"/>
                  <a:gd name="connsiteX24" fmla="*/ 45410 w 45410"/>
                  <a:gd name="connsiteY24" fmla="*/ 41265 h 57657"/>
                  <a:gd name="connsiteX25" fmla="*/ 40898 w 45410"/>
                  <a:gd name="connsiteY25" fmla="*/ 53135 h 57657"/>
                  <a:gd name="connsiteX26" fmla="*/ 26231 w 45410"/>
                  <a:gd name="connsiteY26" fmla="*/ 57657 h 57657"/>
                  <a:gd name="connsiteX27" fmla="*/ 0 w 45410"/>
                  <a:gd name="connsiteY27" fmla="*/ 57657 h 57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5410" h="57657">
                    <a:moveTo>
                      <a:pt x="26231" y="32220"/>
                    </a:moveTo>
                    <a:lnTo>
                      <a:pt x="9308" y="32220"/>
                    </a:lnTo>
                    <a:lnTo>
                      <a:pt x="9308" y="49178"/>
                    </a:lnTo>
                    <a:lnTo>
                      <a:pt x="26231" y="49178"/>
                    </a:lnTo>
                    <a:cubicBezTo>
                      <a:pt x="29897" y="49178"/>
                      <a:pt x="32436" y="48330"/>
                      <a:pt x="34128" y="46917"/>
                    </a:cubicBezTo>
                    <a:cubicBezTo>
                      <a:pt x="35538" y="45504"/>
                      <a:pt x="36385" y="43526"/>
                      <a:pt x="36385" y="40699"/>
                    </a:cubicBezTo>
                    <a:cubicBezTo>
                      <a:pt x="36385" y="37590"/>
                      <a:pt x="35538" y="35612"/>
                      <a:pt x="33846" y="34199"/>
                    </a:cubicBezTo>
                    <a:cubicBezTo>
                      <a:pt x="32436" y="33068"/>
                      <a:pt x="29897" y="32220"/>
                      <a:pt x="26231" y="32220"/>
                    </a:cubicBezTo>
                    <a:moveTo>
                      <a:pt x="24538" y="8196"/>
                    </a:moveTo>
                    <a:lnTo>
                      <a:pt x="9308" y="8196"/>
                    </a:lnTo>
                    <a:lnTo>
                      <a:pt x="9308" y="24307"/>
                    </a:lnTo>
                    <a:lnTo>
                      <a:pt x="25385" y="24307"/>
                    </a:lnTo>
                    <a:cubicBezTo>
                      <a:pt x="28487" y="24307"/>
                      <a:pt x="31026" y="23741"/>
                      <a:pt x="32436" y="22328"/>
                    </a:cubicBezTo>
                    <a:cubicBezTo>
                      <a:pt x="34128" y="20915"/>
                      <a:pt x="34692" y="18937"/>
                      <a:pt x="34692" y="16110"/>
                    </a:cubicBezTo>
                    <a:cubicBezTo>
                      <a:pt x="34692" y="13284"/>
                      <a:pt x="33846" y="11305"/>
                      <a:pt x="32436" y="9892"/>
                    </a:cubicBezTo>
                    <a:cubicBezTo>
                      <a:pt x="31308" y="9044"/>
                      <a:pt x="28487" y="8196"/>
                      <a:pt x="24538" y="8196"/>
                    </a:cubicBezTo>
                    <a:moveTo>
                      <a:pt x="0" y="57375"/>
                    </a:moveTo>
                    <a:lnTo>
                      <a:pt x="0" y="0"/>
                    </a:lnTo>
                    <a:lnTo>
                      <a:pt x="24538" y="0"/>
                    </a:lnTo>
                    <a:cubicBezTo>
                      <a:pt x="30744" y="0"/>
                      <a:pt x="35538" y="1413"/>
                      <a:pt x="38923" y="3957"/>
                    </a:cubicBezTo>
                    <a:cubicBezTo>
                      <a:pt x="42308" y="6501"/>
                      <a:pt x="44000" y="10457"/>
                      <a:pt x="44000" y="15545"/>
                    </a:cubicBezTo>
                    <a:cubicBezTo>
                      <a:pt x="44000" y="17806"/>
                      <a:pt x="43436" y="20067"/>
                      <a:pt x="42308" y="22328"/>
                    </a:cubicBezTo>
                    <a:cubicBezTo>
                      <a:pt x="41179" y="24589"/>
                      <a:pt x="39205" y="26568"/>
                      <a:pt x="35821" y="27698"/>
                    </a:cubicBezTo>
                    <a:cubicBezTo>
                      <a:pt x="39205" y="28829"/>
                      <a:pt x="41744" y="30524"/>
                      <a:pt x="43154" y="32786"/>
                    </a:cubicBezTo>
                    <a:cubicBezTo>
                      <a:pt x="44564" y="35047"/>
                      <a:pt x="45410" y="37873"/>
                      <a:pt x="45410" y="41265"/>
                    </a:cubicBezTo>
                    <a:cubicBezTo>
                      <a:pt x="45410" y="46069"/>
                      <a:pt x="44000" y="50026"/>
                      <a:pt x="40898" y="53135"/>
                    </a:cubicBezTo>
                    <a:cubicBezTo>
                      <a:pt x="37795" y="55962"/>
                      <a:pt x="33000" y="57657"/>
                      <a:pt x="26231" y="57657"/>
                    </a:cubicBezTo>
                    <a:lnTo>
                      <a:pt x="0" y="57657"/>
                    </a:lnTo>
                    <a:close/>
                  </a:path>
                </a:pathLst>
              </a:custGeom>
              <a:solidFill>
                <a:srgbClr val="7F8183"/>
              </a:solidFill>
              <a:ln w="2790" cap="flat">
                <a:noFill/>
                <a:prstDash val="solid"/>
                <a:miter/>
              </a:ln>
            </p:spPr>
            <p:txBody>
              <a:bodyPr rtlCol="0" anchor="ctr"/>
              <a:lstStyle/>
              <a:p>
                <a:endParaRPr lang="x-none" sz="1905"/>
              </a:p>
            </p:txBody>
          </p:sp>
          <p:sp>
            <p:nvSpPr>
              <p:cNvPr id="54" name="Freeform 53">
                <a:extLst>
                  <a:ext uri="{FF2B5EF4-FFF2-40B4-BE49-F238E27FC236}">
                    <a16:creationId xmlns:a16="http://schemas.microsoft.com/office/drawing/2014/main" id="{AEDA4857-1DEE-9942-8A97-47957F90C298}"/>
                  </a:ext>
                </a:extLst>
              </p:cNvPr>
              <p:cNvSpPr/>
              <p:nvPr/>
            </p:nvSpPr>
            <p:spPr>
              <a:xfrm>
                <a:off x="2002465" y="5811024"/>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487" y="49461"/>
                      <a:pt x="21718"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764"/>
                      <a:pt x="0" y="29959"/>
                    </a:cubicBezTo>
                    <a:cubicBezTo>
                      <a:pt x="0" y="20350"/>
                      <a:pt x="2538" y="13001"/>
                      <a:pt x="7615" y="7914"/>
                    </a:cubicBezTo>
                    <a:cubicBezTo>
                      <a:pt x="12692" y="2826"/>
                      <a:pt x="19179" y="0"/>
                      <a:pt x="27359" y="0"/>
                    </a:cubicBezTo>
                    <a:cubicBezTo>
                      <a:pt x="35256" y="0"/>
                      <a:pt x="41744" y="2544"/>
                      <a:pt x="46539" y="7914"/>
                    </a:cubicBezTo>
                    <a:cubicBezTo>
                      <a:pt x="51333" y="13001"/>
                      <a:pt x="53872" y="20350"/>
                      <a:pt x="53872" y="29959"/>
                    </a:cubicBezTo>
                    <a:cubicBezTo>
                      <a:pt x="53872" y="39286"/>
                      <a:pt x="51333" y="46635"/>
                      <a:pt x="46539" y="52005"/>
                    </a:cubicBezTo>
                    <a:cubicBezTo>
                      <a:pt x="41462" y="57092"/>
                      <a:pt x="35256" y="59919"/>
                      <a:pt x="27359" y="59919"/>
                    </a:cubicBezTo>
                  </a:path>
                </a:pathLst>
              </a:custGeom>
              <a:solidFill>
                <a:srgbClr val="7F8183"/>
              </a:solidFill>
              <a:ln w="2790" cap="flat">
                <a:noFill/>
                <a:prstDash val="solid"/>
                <a:miter/>
              </a:ln>
            </p:spPr>
            <p:txBody>
              <a:bodyPr rtlCol="0" anchor="ctr"/>
              <a:lstStyle/>
              <a:p>
                <a:endParaRPr lang="x-none" sz="1905"/>
              </a:p>
            </p:txBody>
          </p:sp>
        </p:grpSp>
        <p:sp>
          <p:nvSpPr>
            <p:cNvPr id="32" name="Freeform 31">
              <a:extLst>
                <a:ext uri="{FF2B5EF4-FFF2-40B4-BE49-F238E27FC236}">
                  <a16:creationId xmlns:a16="http://schemas.microsoft.com/office/drawing/2014/main" id="{E0F4E977-DC47-CD42-90E3-8E69C5C4F26F}"/>
                </a:ext>
              </a:extLst>
            </p:cNvPr>
            <p:cNvSpPr/>
            <p:nvPr/>
          </p:nvSpPr>
          <p:spPr>
            <a:xfrm>
              <a:off x="1266593" y="5935383"/>
              <a:ext cx="48230" cy="57374"/>
            </a:xfrm>
            <a:custGeom>
              <a:avLst/>
              <a:gdLst>
                <a:gd name="connsiteX0" fmla="*/ 0 w 48230"/>
                <a:gd name="connsiteY0" fmla="*/ 57375 h 57374"/>
                <a:gd name="connsiteX1" fmla="*/ 0 w 48230"/>
                <a:gd name="connsiteY1" fmla="*/ 0 h 57374"/>
                <a:gd name="connsiteX2" fmla="*/ 48231 w 48230"/>
                <a:gd name="connsiteY2" fmla="*/ 0 h 57374"/>
                <a:gd name="connsiteX3" fmla="*/ 48231 w 48230"/>
                <a:gd name="connsiteY3" fmla="*/ 57375 h 57374"/>
                <a:gd name="connsiteX4" fmla="*/ 38641 w 48230"/>
                <a:gd name="connsiteY4" fmla="*/ 57375 h 57374"/>
                <a:gd name="connsiteX5" fmla="*/ 38641 w 48230"/>
                <a:gd name="connsiteY5" fmla="*/ 9044 h 57374"/>
                <a:gd name="connsiteX6" fmla="*/ 9308 w 48230"/>
                <a:gd name="connsiteY6" fmla="*/ 9044 h 57374"/>
                <a:gd name="connsiteX7" fmla="*/ 9308 w 48230"/>
                <a:gd name="connsiteY7"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230" h="57374">
                  <a:moveTo>
                    <a:pt x="0" y="57375"/>
                  </a:moveTo>
                  <a:lnTo>
                    <a:pt x="0" y="0"/>
                  </a:lnTo>
                  <a:lnTo>
                    <a:pt x="48231" y="0"/>
                  </a:lnTo>
                  <a:lnTo>
                    <a:pt x="48231" y="57375"/>
                  </a:lnTo>
                  <a:lnTo>
                    <a:pt x="38641" y="57375"/>
                  </a:lnTo>
                  <a:lnTo>
                    <a:pt x="38641" y="9044"/>
                  </a:lnTo>
                  <a:lnTo>
                    <a:pt x="9308" y="9044"/>
                  </a:lnTo>
                  <a:lnTo>
                    <a:pt x="9308" y="57375"/>
                  </a:lnTo>
                  <a:close/>
                </a:path>
              </a:pathLst>
            </a:custGeom>
            <a:solidFill>
              <a:srgbClr val="7F8183"/>
            </a:solidFill>
            <a:ln w="2790" cap="flat">
              <a:noFill/>
              <a:prstDash val="solid"/>
              <a:miter/>
            </a:ln>
          </p:spPr>
          <p:txBody>
            <a:bodyPr rtlCol="0" anchor="ctr"/>
            <a:lstStyle/>
            <a:p>
              <a:endParaRPr lang="x-none" sz="1905"/>
            </a:p>
          </p:txBody>
        </p:sp>
        <p:grpSp>
          <p:nvGrpSpPr>
            <p:cNvPr id="33" name="Graphic 13">
              <a:extLst>
                <a:ext uri="{FF2B5EF4-FFF2-40B4-BE49-F238E27FC236}">
                  <a16:creationId xmlns:a16="http://schemas.microsoft.com/office/drawing/2014/main" id="{AFB85BBB-793A-B74B-8260-45E6030D7FD9}"/>
                </a:ext>
              </a:extLst>
            </p:cNvPr>
            <p:cNvGrpSpPr/>
            <p:nvPr/>
          </p:nvGrpSpPr>
          <p:grpSpPr>
            <a:xfrm>
              <a:off x="1332593" y="5933970"/>
              <a:ext cx="245948" cy="82246"/>
              <a:chOff x="1332593" y="5933970"/>
              <a:chExt cx="245948" cy="82246"/>
            </a:xfrm>
            <a:solidFill>
              <a:srgbClr val="CFD4D9"/>
            </a:solidFill>
          </p:grpSpPr>
          <p:sp>
            <p:nvSpPr>
              <p:cNvPr id="49" name="Freeform 48">
                <a:extLst>
                  <a:ext uri="{FF2B5EF4-FFF2-40B4-BE49-F238E27FC236}">
                    <a16:creationId xmlns:a16="http://schemas.microsoft.com/office/drawing/2014/main" id="{45005C72-3836-864B-AF7B-93A10AAB71EC}"/>
                  </a:ext>
                </a:extLst>
              </p:cNvPr>
              <p:cNvSpPr/>
              <p:nvPr/>
            </p:nvSpPr>
            <p:spPr>
              <a:xfrm>
                <a:off x="1332593" y="5933970"/>
                <a:ext cx="54153" cy="82246"/>
              </a:xfrm>
              <a:custGeom>
                <a:avLst/>
                <a:gdLst>
                  <a:gd name="connsiteX0" fmla="*/ 9590 w 54153"/>
                  <a:gd name="connsiteY0" fmla="*/ 34764 h 82246"/>
                  <a:gd name="connsiteX1" fmla="*/ 14949 w 54153"/>
                  <a:gd name="connsiteY1" fmla="*/ 46917 h 82246"/>
                  <a:gd name="connsiteX2" fmla="*/ 27641 w 54153"/>
                  <a:gd name="connsiteY2" fmla="*/ 51439 h 82246"/>
                  <a:gd name="connsiteX3" fmla="*/ 40051 w 54153"/>
                  <a:gd name="connsiteY3" fmla="*/ 45504 h 82246"/>
                  <a:gd name="connsiteX4" fmla="*/ 44564 w 54153"/>
                  <a:gd name="connsiteY4" fmla="*/ 29677 h 82246"/>
                  <a:gd name="connsiteX5" fmla="*/ 40051 w 54153"/>
                  <a:gd name="connsiteY5" fmla="*/ 14414 h 82246"/>
                  <a:gd name="connsiteX6" fmla="*/ 27359 w 54153"/>
                  <a:gd name="connsiteY6" fmla="*/ 8479 h 82246"/>
                  <a:gd name="connsiteX7" fmla="*/ 20872 w 54153"/>
                  <a:gd name="connsiteY7" fmla="*/ 9610 h 82246"/>
                  <a:gd name="connsiteX8" fmla="*/ 15231 w 54153"/>
                  <a:gd name="connsiteY8" fmla="*/ 13284 h 82246"/>
                  <a:gd name="connsiteX9" fmla="*/ 11282 w 54153"/>
                  <a:gd name="connsiteY9" fmla="*/ 19219 h 82246"/>
                  <a:gd name="connsiteX10" fmla="*/ 9872 w 54153"/>
                  <a:gd name="connsiteY10" fmla="*/ 27416 h 82246"/>
                  <a:gd name="connsiteX11" fmla="*/ 9872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590" y="34764"/>
                    </a:moveTo>
                    <a:cubicBezTo>
                      <a:pt x="9590" y="40134"/>
                      <a:pt x="11282" y="44091"/>
                      <a:pt x="14949" y="46917"/>
                    </a:cubicBezTo>
                    <a:cubicBezTo>
                      <a:pt x="18615" y="49744"/>
                      <a:pt x="22846" y="51439"/>
                      <a:pt x="27641" y="51439"/>
                    </a:cubicBezTo>
                    <a:cubicBezTo>
                      <a:pt x="33000" y="51439"/>
                      <a:pt x="36949" y="49461"/>
                      <a:pt x="40051" y="45504"/>
                    </a:cubicBezTo>
                    <a:cubicBezTo>
                      <a:pt x="43154" y="41547"/>
                      <a:pt x="44564" y="36460"/>
                      <a:pt x="44564" y="29677"/>
                    </a:cubicBezTo>
                    <a:cubicBezTo>
                      <a:pt x="44564" y="23459"/>
                      <a:pt x="43154" y="18371"/>
                      <a:pt x="40051" y="14414"/>
                    </a:cubicBezTo>
                    <a:cubicBezTo>
                      <a:pt x="36949" y="10457"/>
                      <a:pt x="32718" y="8479"/>
                      <a:pt x="27359" y="8479"/>
                    </a:cubicBezTo>
                    <a:cubicBezTo>
                      <a:pt x="25103" y="8479"/>
                      <a:pt x="22846" y="8762"/>
                      <a:pt x="20872" y="9610"/>
                    </a:cubicBezTo>
                    <a:cubicBezTo>
                      <a:pt x="18897" y="10457"/>
                      <a:pt x="16923" y="11588"/>
                      <a:pt x="15231" y="13284"/>
                    </a:cubicBezTo>
                    <a:cubicBezTo>
                      <a:pt x="13538" y="14980"/>
                      <a:pt x="12128" y="16958"/>
                      <a:pt x="11282" y="19219"/>
                    </a:cubicBezTo>
                    <a:cubicBezTo>
                      <a:pt x="10154" y="21763"/>
                      <a:pt x="9872" y="24307"/>
                      <a:pt x="9872" y="27416"/>
                    </a:cubicBezTo>
                    <a:lnTo>
                      <a:pt x="9872" y="34764"/>
                    </a:lnTo>
                    <a:close/>
                    <a:moveTo>
                      <a:pt x="0" y="82247"/>
                    </a:moveTo>
                    <a:lnTo>
                      <a:pt x="0" y="1413"/>
                    </a:lnTo>
                    <a:lnTo>
                      <a:pt x="9590" y="1413"/>
                    </a:lnTo>
                    <a:lnTo>
                      <a:pt x="9590" y="9044"/>
                    </a:lnTo>
                    <a:cubicBezTo>
                      <a:pt x="11564" y="5935"/>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sp>
            <p:nvSpPr>
              <p:cNvPr id="50" name="Freeform 49">
                <a:extLst>
                  <a:ext uri="{FF2B5EF4-FFF2-40B4-BE49-F238E27FC236}">
                    <a16:creationId xmlns:a16="http://schemas.microsoft.com/office/drawing/2014/main" id="{A2D3332B-B7D8-9C48-9592-EC48FF7DA69E}"/>
                  </a:ext>
                </a:extLst>
              </p:cNvPr>
              <p:cNvSpPr/>
              <p:nvPr/>
            </p:nvSpPr>
            <p:spPr>
              <a:xfrm>
                <a:off x="1397747" y="5934253"/>
                <a:ext cx="53871" cy="59918"/>
              </a:xfrm>
              <a:custGeom>
                <a:avLst/>
                <a:gdLst>
                  <a:gd name="connsiteX0" fmla="*/ 27359 w 53871"/>
                  <a:gd name="connsiteY0" fmla="*/ 51157 h 59918"/>
                  <a:gd name="connsiteX1" fmla="*/ 40333 w 53871"/>
                  <a:gd name="connsiteY1" fmla="*/ 45504 h 59918"/>
                  <a:gd name="connsiteX2" fmla="*/ 44564 w 53871"/>
                  <a:gd name="connsiteY2" fmla="*/ 29677 h 59918"/>
                  <a:gd name="connsiteX3" fmla="*/ 40333 w 53871"/>
                  <a:gd name="connsiteY3" fmla="*/ 13849 h 59918"/>
                  <a:gd name="connsiteX4" fmla="*/ 27359 w 53871"/>
                  <a:gd name="connsiteY4" fmla="*/ 8196 h 59918"/>
                  <a:gd name="connsiteX5" fmla="*/ 14385 w 53871"/>
                  <a:gd name="connsiteY5" fmla="*/ 13849 h 59918"/>
                  <a:gd name="connsiteX6" fmla="*/ 9872 w 53871"/>
                  <a:gd name="connsiteY6" fmla="*/ 29677 h 59918"/>
                  <a:gd name="connsiteX7" fmla="*/ 14667 w 53871"/>
                  <a:gd name="connsiteY7" fmla="*/ 45504 h 59918"/>
                  <a:gd name="connsiteX8" fmla="*/ 27359 w 53871"/>
                  <a:gd name="connsiteY8" fmla="*/ 51157 h 59918"/>
                  <a:gd name="connsiteX9" fmla="*/ 27359 w 53871"/>
                  <a:gd name="connsiteY9" fmla="*/ 59919 h 59918"/>
                  <a:gd name="connsiteX10" fmla="*/ 16359 w 53871"/>
                  <a:gd name="connsiteY10" fmla="*/ 57940 h 59918"/>
                  <a:gd name="connsiteX11" fmla="*/ 7615 w 53871"/>
                  <a:gd name="connsiteY11" fmla="*/ 52287 h 59918"/>
                  <a:gd name="connsiteX12" fmla="*/ 1974 w 53871"/>
                  <a:gd name="connsiteY12" fmla="*/ 42678 h 59918"/>
                  <a:gd name="connsiteX13" fmla="*/ 0 w 53871"/>
                  <a:gd name="connsiteY13" fmla="*/ 29959 h 59918"/>
                  <a:gd name="connsiteX14" fmla="*/ 7615 w 53871"/>
                  <a:gd name="connsiteY14" fmla="*/ 7914 h 59918"/>
                  <a:gd name="connsiteX15" fmla="*/ 27359 w 53871"/>
                  <a:gd name="connsiteY15" fmla="*/ 0 h 59918"/>
                  <a:gd name="connsiteX16" fmla="*/ 46539 w 53871"/>
                  <a:gd name="connsiteY16" fmla="*/ 7914 h 59918"/>
                  <a:gd name="connsiteX17" fmla="*/ 53872 w 53871"/>
                  <a:gd name="connsiteY17" fmla="*/ 29959 h 59918"/>
                  <a:gd name="connsiteX18" fmla="*/ 46539 w 53871"/>
                  <a:gd name="connsiteY18" fmla="*/ 52005 h 59918"/>
                  <a:gd name="connsiteX19" fmla="*/ 27359 w 53871"/>
                  <a:gd name="connsiteY19" fmla="*/ 59919 h 5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871" h="59918">
                    <a:moveTo>
                      <a:pt x="27359" y="51157"/>
                    </a:moveTo>
                    <a:cubicBezTo>
                      <a:pt x="33000" y="51157"/>
                      <a:pt x="37231" y="49178"/>
                      <a:pt x="40333" y="45504"/>
                    </a:cubicBezTo>
                    <a:cubicBezTo>
                      <a:pt x="43154" y="41547"/>
                      <a:pt x="44564" y="36460"/>
                      <a:pt x="44564" y="29677"/>
                    </a:cubicBezTo>
                    <a:cubicBezTo>
                      <a:pt x="44564" y="22893"/>
                      <a:pt x="43154" y="17806"/>
                      <a:pt x="40333" y="13849"/>
                    </a:cubicBezTo>
                    <a:cubicBezTo>
                      <a:pt x="37513" y="10175"/>
                      <a:pt x="33282" y="8196"/>
                      <a:pt x="27359" y="8196"/>
                    </a:cubicBezTo>
                    <a:cubicBezTo>
                      <a:pt x="21718" y="8196"/>
                      <a:pt x="17487" y="10175"/>
                      <a:pt x="14385" y="13849"/>
                    </a:cubicBezTo>
                    <a:cubicBezTo>
                      <a:pt x="11282" y="17523"/>
                      <a:pt x="9872" y="22893"/>
                      <a:pt x="9872" y="29677"/>
                    </a:cubicBezTo>
                    <a:cubicBezTo>
                      <a:pt x="9872" y="36460"/>
                      <a:pt x="11564" y="41547"/>
                      <a:pt x="14667" y="45504"/>
                    </a:cubicBezTo>
                    <a:cubicBezTo>
                      <a:pt x="17487" y="49461"/>
                      <a:pt x="22000" y="51157"/>
                      <a:pt x="27359" y="51157"/>
                    </a:cubicBezTo>
                    <a:moveTo>
                      <a:pt x="27359" y="59919"/>
                    </a:moveTo>
                    <a:cubicBezTo>
                      <a:pt x="23410" y="59919"/>
                      <a:pt x="19744" y="59353"/>
                      <a:pt x="16359" y="57940"/>
                    </a:cubicBezTo>
                    <a:cubicBezTo>
                      <a:pt x="12974" y="56527"/>
                      <a:pt x="10154" y="54548"/>
                      <a:pt x="7615" y="52287"/>
                    </a:cubicBezTo>
                    <a:cubicBezTo>
                      <a:pt x="5359" y="49744"/>
                      <a:pt x="3385" y="46635"/>
                      <a:pt x="1974" y="42678"/>
                    </a:cubicBezTo>
                    <a:cubicBezTo>
                      <a:pt x="564" y="39004"/>
                      <a:pt x="0" y="34481"/>
                      <a:pt x="0" y="29959"/>
                    </a:cubicBezTo>
                    <a:cubicBezTo>
                      <a:pt x="0" y="20350"/>
                      <a:pt x="2538" y="13001"/>
                      <a:pt x="7615" y="7914"/>
                    </a:cubicBezTo>
                    <a:cubicBezTo>
                      <a:pt x="12692" y="2826"/>
                      <a:pt x="19180" y="0"/>
                      <a:pt x="27359" y="0"/>
                    </a:cubicBezTo>
                    <a:cubicBezTo>
                      <a:pt x="35256" y="0"/>
                      <a:pt x="41744" y="2544"/>
                      <a:pt x="46539" y="7914"/>
                    </a:cubicBezTo>
                    <a:cubicBezTo>
                      <a:pt x="51333" y="13001"/>
                      <a:pt x="53872" y="20350"/>
                      <a:pt x="53872" y="29959"/>
                    </a:cubicBezTo>
                    <a:cubicBezTo>
                      <a:pt x="53872" y="39286"/>
                      <a:pt x="51333" y="46635"/>
                      <a:pt x="46539" y="52005"/>
                    </a:cubicBezTo>
                    <a:cubicBezTo>
                      <a:pt x="41744" y="57092"/>
                      <a:pt x="35256" y="59919"/>
                      <a:pt x="27359" y="59919"/>
                    </a:cubicBezTo>
                  </a:path>
                </a:pathLst>
              </a:custGeom>
              <a:solidFill>
                <a:srgbClr val="7F8183"/>
              </a:solidFill>
              <a:ln w="2790" cap="flat">
                <a:noFill/>
                <a:prstDash val="solid"/>
                <a:miter/>
              </a:ln>
            </p:spPr>
            <p:txBody>
              <a:bodyPr rtlCol="0" anchor="ctr"/>
              <a:lstStyle/>
              <a:p>
                <a:endParaRPr lang="x-none" sz="1905"/>
              </a:p>
            </p:txBody>
          </p:sp>
          <p:sp>
            <p:nvSpPr>
              <p:cNvPr id="51" name="Freeform 50">
                <a:extLst>
                  <a:ext uri="{FF2B5EF4-FFF2-40B4-BE49-F238E27FC236}">
                    <a16:creationId xmlns:a16="http://schemas.microsoft.com/office/drawing/2014/main" id="{210E65D4-A347-5048-AABF-494A7E316FDF}"/>
                  </a:ext>
                </a:extLst>
              </p:cNvPr>
              <p:cNvSpPr/>
              <p:nvPr/>
            </p:nvSpPr>
            <p:spPr>
              <a:xfrm>
                <a:off x="1456696" y="5935383"/>
                <a:ext cx="63461" cy="73767"/>
              </a:xfrm>
              <a:custGeom>
                <a:avLst/>
                <a:gdLst>
                  <a:gd name="connsiteX0" fmla="*/ 22282 w 63461"/>
                  <a:gd name="connsiteY0" fmla="*/ 33068 h 73767"/>
                  <a:gd name="connsiteX1" fmla="*/ 20308 w 63461"/>
                  <a:gd name="connsiteY1" fmla="*/ 41830 h 73767"/>
                  <a:gd name="connsiteX2" fmla="*/ 16923 w 63461"/>
                  <a:gd name="connsiteY2" fmla="*/ 48331 h 73767"/>
                  <a:gd name="connsiteX3" fmla="*/ 44846 w 63461"/>
                  <a:gd name="connsiteY3" fmla="*/ 48331 h 73767"/>
                  <a:gd name="connsiteX4" fmla="*/ 44846 w 63461"/>
                  <a:gd name="connsiteY4" fmla="*/ 8762 h 73767"/>
                  <a:gd name="connsiteX5" fmla="*/ 23128 w 63461"/>
                  <a:gd name="connsiteY5" fmla="*/ 8762 h 73767"/>
                  <a:gd name="connsiteX6" fmla="*/ 23128 w 63461"/>
                  <a:gd name="connsiteY6" fmla="*/ 23176 h 73767"/>
                  <a:gd name="connsiteX7" fmla="*/ 22282 w 63461"/>
                  <a:gd name="connsiteY7" fmla="*/ 33068 h 73767"/>
                  <a:gd name="connsiteX8" fmla="*/ 0 w 63461"/>
                  <a:gd name="connsiteY8" fmla="*/ 48613 h 73767"/>
                  <a:gd name="connsiteX9" fmla="*/ 5923 w 63461"/>
                  <a:gd name="connsiteY9" fmla="*/ 48613 h 73767"/>
                  <a:gd name="connsiteX10" fmla="*/ 11000 w 63461"/>
                  <a:gd name="connsiteY10" fmla="*/ 41547 h 73767"/>
                  <a:gd name="connsiteX11" fmla="*/ 13256 w 63461"/>
                  <a:gd name="connsiteY11" fmla="*/ 31938 h 73767"/>
                  <a:gd name="connsiteX12" fmla="*/ 13538 w 63461"/>
                  <a:gd name="connsiteY12" fmla="*/ 27416 h 73767"/>
                  <a:gd name="connsiteX13" fmla="*/ 13821 w 63461"/>
                  <a:gd name="connsiteY13" fmla="*/ 21198 h 73767"/>
                  <a:gd name="connsiteX14" fmla="*/ 13821 w 63461"/>
                  <a:gd name="connsiteY14" fmla="*/ 12436 h 73767"/>
                  <a:gd name="connsiteX15" fmla="*/ 13821 w 63461"/>
                  <a:gd name="connsiteY15" fmla="*/ 0 h 73767"/>
                  <a:gd name="connsiteX16" fmla="*/ 54154 w 63461"/>
                  <a:gd name="connsiteY16" fmla="*/ 0 h 73767"/>
                  <a:gd name="connsiteX17" fmla="*/ 54154 w 63461"/>
                  <a:gd name="connsiteY17" fmla="*/ 48613 h 73767"/>
                  <a:gd name="connsiteX18" fmla="*/ 63462 w 63461"/>
                  <a:gd name="connsiteY18" fmla="*/ 48613 h 73767"/>
                  <a:gd name="connsiteX19" fmla="*/ 63462 w 63461"/>
                  <a:gd name="connsiteY19" fmla="*/ 73768 h 73767"/>
                  <a:gd name="connsiteX20" fmla="*/ 54154 w 63461"/>
                  <a:gd name="connsiteY20" fmla="*/ 73768 h 73767"/>
                  <a:gd name="connsiteX21" fmla="*/ 54154 w 63461"/>
                  <a:gd name="connsiteY21" fmla="*/ 57657 h 73767"/>
                  <a:gd name="connsiteX22" fmla="*/ 9308 w 63461"/>
                  <a:gd name="connsiteY22" fmla="*/ 57657 h 73767"/>
                  <a:gd name="connsiteX23" fmla="*/ 9308 w 63461"/>
                  <a:gd name="connsiteY23" fmla="*/ 73768 h 73767"/>
                  <a:gd name="connsiteX24" fmla="*/ 0 w 63461"/>
                  <a:gd name="connsiteY24" fmla="*/ 73768 h 73767"/>
                  <a:gd name="connsiteX25" fmla="*/ 0 w 63461"/>
                  <a:gd name="connsiteY25" fmla="*/ 48613 h 7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3461" h="73767">
                    <a:moveTo>
                      <a:pt x="22282" y="33068"/>
                    </a:moveTo>
                    <a:cubicBezTo>
                      <a:pt x="22000" y="36460"/>
                      <a:pt x="21154" y="39286"/>
                      <a:pt x="20308" y="41830"/>
                    </a:cubicBezTo>
                    <a:cubicBezTo>
                      <a:pt x="19180" y="44374"/>
                      <a:pt x="18051" y="46635"/>
                      <a:pt x="16923" y="48331"/>
                    </a:cubicBezTo>
                    <a:lnTo>
                      <a:pt x="44846" y="48331"/>
                    </a:lnTo>
                    <a:lnTo>
                      <a:pt x="44846" y="8762"/>
                    </a:lnTo>
                    <a:lnTo>
                      <a:pt x="23128" y="8762"/>
                    </a:lnTo>
                    <a:cubicBezTo>
                      <a:pt x="23128" y="14414"/>
                      <a:pt x="23128" y="19219"/>
                      <a:pt x="23128" y="23176"/>
                    </a:cubicBezTo>
                    <a:cubicBezTo>
                      <a:pt x="22564" y="27698"/>
                      <a:pt x="22564" y="30807"/>
                      <a:pt x="22282" y="33068"/>
                    </a:cubicBezTo>
                    <a:moveTo>
                      <a:pt x="0" y="48613"/>
                    </a:moveTo>
                    <a:lnTo>
                      <a:pt x="5923" y="48613"/>
                    </a:lnTo>
                    <a:cubicBezTo>
                      <a:pt x="7897" y="46917"/>
                      <a:pt x="9590" y="44656"/>
                      <a:pt x="11000" y="41547"/>
                    </a:cubicBezTo>
                    <a:cubicBezTo>
                      <a:pt x="12410" y="38438"/>
                      <a:pt x="13256" y="35329"/>
                      <a:pt x="13256" y="31938"/>
                    </a:cubicBezTo>
                    <a:cubicBezTo>
                      <a:pt x="13256" y="30525"/>
                      <a:pt x="13538" y="29111"/>
                      <a:pt x="13538" y="27416"/>
                    </a:cubicBezTo>
                    <a:cubicBezTo>
                      <a:pt x="13538" y="25720"/>
                      <a:pt x="13538" y="23741"/>
                      <a:pt x="13821" y="21198"/>
                    </a:cubicBezTo>
                    <a:cubicBezTo>
                      <a:pt x="13821" y="18654"/>
                      <a:pt x="13821" y="15828"/>
                      <a:pt x="13821" y="12436"/>
                    </a:cubicBezTo>
                    <a:cubicBezTo>
                      <a:pt x="13821" y="9044"/>
                      <a:pt x="13821" y="4805"/>
                      <a:pt x="13821" y="0"/>
                    </a:cubicBezTo>
                    <a:lnTo>
                      <a:pt x="54154" y="0"/>
                    </a:lnTo>
                    <a:lnTo>
                      <a:pt x="54154" y="48613"/>
                    </a:lnTo>
                    <a:lnTo>
                      <a:pt x="63462" y="48613"/>
                    </a:lnTo>
                    <a:lnTo>
                      <a:pt x="63462" y="73768"/>
                    </a:lnTo>
                    <a:lnTo>
                      <a:pt x="54154" y="73768"/>
                    </a:lnTo>
                    <a:lnTo>
                      <a:pt x="54154" y="57657"/>
                    </a:lnTo>
                    <a:lnTo>
                      <a:pt x="9308" y="57657"/>
                    </a:lnTo>
                    <a:lnTo>
                      <a:pt x="9308" y="73768"/>
                    </a:lnTo>
                    <a:lnTo>
                      <a:pt x="0" y="73768"/>
                    </a:lnTo>
                    <a:lnTo>
                      <a:pt x="0" y="48613"/>
                    </a:lnTo>
                    <a:close/>
                  </a:path>
                </a:pathLst>
              </a:custGeom>
              <a:solidFill>
                <a:srgbClr val="7F8183"/>
              </a:solidFill>
              <a:ln w="2790" cap="flat">
                <a:noFill/>
                <a:prstDash val="solid"/>
                <a:miter/>
              </a:ln>
            </p:spPr>
            <p:txBody>
              <a:bodyPr rtlCol="0" anchor="ctr"/>
              <a:lstStyle/>
              <a:p>
                <a:endParaRPr lang="x-none" sz="1905"/>
              </a:p>
            </p:txBody>
          </p:sp>
          <p:sp>
            <p:nvSpPr>
              <p:cNvPr id="52" name="Freeform 51">
                <a:extLst>
                  <a:ext uri="{FF2B5EF4-FFF2-40B4-BE49-F238E27FC236}">
                    <a16:creationId xmlns:a16="http://schemas.microsoft.com/office/drawing/2014/main" id="{85F68474-1C77-FC4A-A55B-D80FB770F4C3}"/>
                  </a:ext>
                </a:extLst>
              </p:cNvPr>
              <p:cNvSpPr/>
              <p:nvPr/>
            </p:nvSpPr>
            <p:spPr>
              <a:xfrm>
                <a:off x="1522978" y="5935383"/>
                <a:ext cx="55564" cy="80833"/>
              </a:xfrm>
              <a:custGeom>
                <a:avLst/>
                <a:gdLst>
                  <a:gd name="connsiteX0" fmla="*/ 29615 w 55564"/>
                  <a:gd name="connsiteY0" fmla="*/ 66419 h 80833"/>
                  <a:gd name="connsiteX1" fmla="*/ 22000 w 55564"/>
                  <a:gd name="connsiteY1" fmla="*/ 77724 h 80833"/>
                  <a:gd name="connsiteX2" fmla="*/ 11282 w 55564"/>
                  <a:gd name="connsiteY2" fmla="*/ 80833 h 80833"/>
                  <a:gd name="connsiteX3" fmla="*/ 5923 w 55564"/>
                  <a:gd name="connsiteY3" fmla="*/ 80833 h 80833"/>
                  <a:gd name="connsiteX4" fmla="*/ 5923 w 55564"/>
                  <a:gd name="connsiteY4" fmla="*/ 71789 h 80833"/>
                  <a:gd name="connsiteX5" fmla="*/ 9590 w 55564"/>
                  <a:gd name="connsiteY5" fmla="*/ 71789 h 80833"/>
                  <a:gd name="connsiteX6" fmla="*/ 16641 w 55564"/>
                  <a:gd name="connsiteY6" fmla="*/ 70093 h 80833"/>
                  <a:gd name="connsiteX7" fmla="*/ 21436 w 55564"/>
                  <a:gd name="connsiteY7" fmla="*/ 63310 h 80833"/>
                  <a:gd name="connsiteX8" fmla="*/ 23974 w 55564"/>
                  <a:gd name="connsiteY8" fmla="*/ 57092 h 80833"/>
                  <a:gd name="connsiteX9" fmla="*/ 0 w 55564"/>
                  <a:gd name="connsiteY9" fmla="*/ 0 h 80833"/>
                  <a:gd name="connsiteX10" fmla="*/ 10436 w 55564"/>
                  <a:gd name="connsiteY10" fmla="*/ 0 h 80833"/>
                  <a:gd name="connsiteX11" fmla="*/ 29051 w 55564"/>
                  <a:gd name="connsiteY11" fmla="*/ 45504 h 80833"/>
                  <a:gd name="connsiteX12" fmla="*/ 45692 w 55564"/>
                  <a:gd name="connsiteY12" fmla="*/ 0 h 80833"/>
                  <a:gd name="connsiteX13" fmla="*/ 55564 w 55564"/>
                  <a:gd name="connsiteY13" fmla="*/ 0 h 80833"/>
                  <a:gd name="connsiteX14" fmla="*/ 29615 w 55564"/>
                  <a:gd name="connsiteY14" fmla="*/ 66419 h 80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564" h="80833">
                    <a:moveTo>
                      <a:pt x="29615" y="66419"/>
                    </a:moveTo>
                    <a:cubicBezTo>
                      <a:pt x="27359" y="71789"/>
                      <a:pt x="25103" y="75746"/>
                      <a:pt x="22000" y="77724"/>
                    </a:cubicBezTo>
                    <a:cubicBezTo>
                      <a:pt x="19180" y="79986"/>
                      <a:pt x="15513" y="80833"/>
                      <a:pt x="11282" y="80833"/>
                    </a:cubicBezTo>
                    <a:lnTo>
                      <a:pt x="5923" y="80833"/>
                    </a:lnTo>
                    <a:lnTo>
                      <a:pt x="5923" y="71789"/>
                    </a:lnTo>
                    <a:lnTo>
                      <a:pt x="9590" y="71789"/>
                    </a:lnTo>
                    <a:cubicBezTo>
                      <a:pt x="12410" y="71789"/>
                      <a:pt x="14667" y="71224"/>
                      <a:pt x="16641" y="70093"/>
                    </a:cubicBezTo>
                    <a:cubicBezTo>
                      <a:pt x="18615" y="68963"/>
                      <a:pt x="20308" y="66702"/>
                      <a:pt x="21436" y="63310"/>
                    </a:cubicBezTo>
                    <a:lnTo>
                      <a:pt x="23974" y="57092"/>
                    </a:lnTo>
                    <a:lnTo>
                      <a:pt x="0" y="0"/>
                    </a:lnTo>
                    <a:lnTo>
                      <a:pt x="10436" y="0"/>
                    </a:lnTo>
                    <a:lnTo>
                      <a:pt x="29051" y="45504"/>
                    </a:lnTo>
                    <a:lnTo>
                      <a:pt x="45692" y="0"/>
                    </a:lnTo>
                    <a:lnTo>
                      <a:pt x="55564" y="0"/>
                    </a:lnTo>
                    <a:lnTo>
                      <a:pt x="29615" y="66419"/>
                    </a:lnTo>
                    <a:close/>
                  </a:path>
                </a:pathLst>
              </a:custGeom>
              <a:solidFill>
                <a:srgbClr val="7F8183"/>
              </a:solidFill>
              <a:ln w="2790" cap="flat">
                <a:noFill/>
                <a:prstDash val="solid"/>
                <a:miter/>
              </a:ln>
            </p:spPr>
            <p:txBody>
              <a:bodyPr rtlCol="0" anchor="ctr"/>
              <a:lstStyle/>
              <a:p>
                <a:endParaRPr lang="x-none" sz="1905"/>
              </a:p>
            </p:txBody>
          </p:sp>
        </p:grpSp>
        <p:sp>
          <p:nvSpPr>
            <p:cNvPr id="34" name="Freeform 33">
              <a:extLst>
                <a:ext uri="{FF2B5EF4-FFF2-40B4-BE49-F238E27FC236}">
                  <a16:creationId xmlns:a16="http://schemas.microsoft.com/office/drawing/2014/main" id="{A397C7BE-F388-7D4A-9EC7-D85F3562CAB6}"/>
                </a:ext>
              </a:extLst>
            </p:cNvPr>
            <p:cNvSpPr/>
            <p:nvPr/>
          </p:nvSpPr>
          <p:spPr>
            <a:xfrm>
              <a:off x="1588414" y="5935383"/>
              <a:ext cx="66282" cy="57374"/>
            </a:xfrm>
            <a:custGeom>
              <a:avLst/>
              <a:gdLst>
                <a:gd name="connsiteX0" fmla="*/ 0 w 66282"/>
                <a:gd name="connsiteY0" fmla="*/ 57375 h 57374"/>
                <a:gd name="connsiteX1" fmla="*/ 0 w 66282"/>
                <a:gd name="connsiteY1" fmla="*/ 0 h 57374"/>
                <a:gd name="connsiteX2" fmla="*/ 14103 w 66282"/>
                <a:gd name="connsiteY2" fmla="*/ 0 h 57374"/>
                <a:gd name="connsiteX3" fmla="*/ 33282 w 66282"/>
                <a:gd name="connsiteY3" fmla="*/ 48048 h 57374"/>
                <a:gd name="connsiteX4" fmla="*/ 52744 w 66282"/>
                <a:gd name="connsiteY4" fmla="*/ 0 h 57374"/>
                <a:gd name="connsiteX5" fmla="*/ 66282 w 66282"/>
                <a:gd name="connsiteY5" fmla="*/ 0 h 57374"/>
                <a:gd name="connsiteX6" fmla="*/ 66282 w 66282"/>
                <a:gd name="connsiteY6" fmla="*/ 57375 h 57374"/>
                <a:gd name="connsiteX7" fmla="*/ 56974 w 66282"/>
                <a:gd name="connsiteY7" fmla="*/ 57375 h 57374"/>
                <a:gd name="connsiteX8" fmla="*/ 56974 w 66282"/>
                <a:gd name="connsiteY8" fmla="*/ 10457 h 57374"/>
                <a:gd name="connsiteX9" fmla="*/ 37795 w 66282"/>
                <a:gd name="connsiteY9" fmla="*/ 57375 h 57374"/>
                <a:gd name="connsiteX10" fmla="*/ 27923 w 66282"/>
                <a:gd name="connsiteY10" fmla="*/ 57375 h 57374"/>
                <a:gd name="connsiteX11" fmla="*/ 8744 w 66282"/>
                <a:gd name="connsiteY11" fmla="*/ 10457 h 57374"/>
                <a:gd name="connsiteX12" fmla="*/ 8744 w 66282"/>
                <a:gd name="connsiteY12"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282" h="57374">
                  <a:moveTo>
                    <a:pt x="0" y="57375"/>
                  </a:moveTo>
                  <a:lnTo>
                    <a:pt x="0" y="0"/>
                  </a:lnTo>
                  <a:lnTo>
                    <a:pt x="14103" y="0"/>
                  </a:lnTo>
                  <a:lnTo>
                    <a:pt x="33282" y="48048"/>
                  </a:lnTo>
                  <a:lnTo>
                    <a:pt x="52744" y="0"/>
                  </a:lnTo>
                  <a:lnTo>
                    <a:pt x="66282" y="0"/>
                  </a:lnTo>
                  <a:lnTo>
                    <a:pt x="66282" y="57375"/>
                  </a:lnTo>
                  <a:lnTo>
                    <a:pt x="56974" y="57375"/>
                  </a:lnTo>
                  <a:lnTo>
                    <a:pt x="56974" y="10457"/>
                  </a:lnTo>
                  <a:lnTo>
                    <a:pt x="37795" y="57375"/>
                  </a:lnTo>
                  <a:lnTo>
                    <a:pt x="27923" y="57375"/>
                  </a:lnTo>
                  <a:lnTo>
                    <a:pt x="8744" y="10457"/>
                  </a:lnTo>
                  <a:lnTo>
                    <a:pt x="8744" y="57375"/>
                  </a:lnTo>
                  <a:close/>
                </a:path>
              </a:pathLst>
            </a:custGeom>
            <a:solidFill>
              <a:srgbClr val="7F8183"/>
            </a:solidFill>
            <a:ln w="2790" cap="flat">
              <a:noFill/>
              <a:prstDash val="solid"/>
              <a:miter/>
            </a:ln>
          </p:spPr>
          <p:txBody>
            <a:bodyPr rtlCol="0" anchor="ctr"/>
            <a:lstStyle/>
            <a:p>
              <a:endParaRPr lang="x-none" sz="1905"/>
            </a:p>
          </p:txBody>
        </p:sp>
        <p:sp>
          <p:nvSpPr>
            <p:cNvPr id="35" name="Freeform 34">
              <a:extLst>
                <a:ext uri="{FF2B5EF4-FFF2-40B4-BE49-F238E27FC236}">
                  <a16:creationId xmlns:a16="http://schemas.microsoft.com/office/drawing/2014/main" id="{C5DAA932-1209-AA4C-BCA7-A81CC2B627CA}"/>
                </a:ext>
              </a:extLst>
            </p:cNvPr>
            <p:cNvSpPr/>
            <p:nvPr/>
          </p:nvSpPr>
          <p:spPr>
            <a:xfrm>
              <a:off x="1669926" y="5934253"/>
              <a:ext cx="46820" cy="59635"/>
            </a:xfrm>
            <a:custGeom>
              <a:avLst/>
              <a:gdLst>
                <a:gd name="connsiteX0" fmla="*/ 37513 w 46820"/>
                <a:gd name="connsiteY0" fmla="*/ 33068 h 59635"/>
                <a:gd name="connsiteX1" fmla="*/ 29897 w 46820"/>
                <a:gd name="connsiteY1" fmla="*/ 33068 h 59635"/>
                <a:gd name="connsiteX2" fmla="*/ 21718 w 46820"/>
                <a:gd name="connsiteY2" fmla="*/ 33068 h 59635"/>
                <a:gd name="connsiteX3" fmla="*/ 12692 w 46820"/>
                <a:gd name="connsiteY3" fmla="*/ 35612 h 59635"/>
                <a:gd name="connsiteX4" fmla="*/ 9590 w 46820"/>
                <a:gd name="connsiteY4" fmla="*/ 42395 h 59635"/>
                <a:gd name="connsiteX5" fmla="*/ 12410 w 46820"/>
                <a:gd name="connsiteY5" fmla="*/ 48896 h 59635"/>
                <a:gd name="connsiteX6" fmla="*/ 20308 w 46820"/>
                <a:gd name="connsiteY6" fmla="*/ 51439 h 59635"/>
                <a:gd name="connsiteX7" fmla="*/ 32436 w 46820"/>
                <a:gd name="connsiteY7" fmla="*/ 47765 h 59635"/>
                <a:gd name="connsiteX8" fmla="*/ 37513 w 46820"/>
                <a:gd name="connsiteY8" fmla="*/ 38438 h 59635"/>
                <a:gd name="connsiteX9" fmla="*/ 37513 w 46820"/>
                <a:gd name="connsiteY9" fmla="*/ 33068 h 59635"/>
                <a:gd name="connsiteX10" fmla="*/ 38077 w 46820"/>
                <a:gd name="connsiteY10" fmla="*/ 58505 h 59635"/>
                <a:gd name="connsiteX11" fmla="*/ 38077 w 46820"/>
                <a:gd name="connsiteY11" fmla="*/ 51722 h 59635"/>
                <a:gd name="connsiteX12" fmla="*/ 30744 w 46820"/>
                <a:gd name="connsiteY12" fmla="*/ 57375 h 59635"/>
                <a:gd name="connsiteX13" fmla="*/ 20026 w 46820"/>
                <a:gd name="connsiteY13" fmla="*/ 59636 h 59635"/>
                <a:gd name="connsiteX14" fmla="*/ 5359 w 46820"/>
                <a:gd name="connsiteY14" fmla="*/ 55114 h 59635"/>
                <a:gd name="connsiteX15" fmla="*/ 0 w 46820"/>
                <a:gd name="connsiteY15" fmla="*/ 42678 h 59635"/>
                <a:gd name="connsiteX16" fmla="*/ 5923 w 46820"/>
                <a:gd name="connsiteY16" fmla="*/ 29677 h 59635"/>
                <a:gd name="connsiteX17" fmla="*/ 21718 w 46820"/>
                <a:gd name="connsiteY17" fmla="*/ 25437 h 59635"/>
                <a:gd name="connsiteX18" fmla="*/ 29897 w 46820"/>
                <a:gd name="connsiteY18" fmla="*/ 25437 h 59635"/>
                <a:gd name="connsiteX19" fmla="*/ 37513 w 46820"/>
                <a:gd name="connsiteY19" fmla="*/ 25720 h 59635"/>
                <a:gd name="connsiteX20" fmla="*/ 37513 w 46820"/>
                <a:gd name="connsiteY20" fmla="*/ 20632 h 59635"/>
                <a:gd name="connsiteX21" fmla="*/ 33846 w 46820"/>
                <a:gd name="connsiteY21" fmla="*/ 11588 h 59635"/>
                <a:gd name="connsiteX22" fmla="*/ 24821 w 46820"/>
                <a:gd name="connsiteY22" fmla="*/ 8762 h 59635"/>
                <a:gd name="connsiteX23" fmla="*/ 15513 w 46820"/>
                <a:gd name="connsiteY23" fmla="*/ 11871 h 59635"/>
                <a:gd name="connsiteX24" fmla="*/ 11000 w 46820"/>
                <a:gd name="connsiteY24" fmla="*/ 19219 h 59635"/>
                <a:gd name="connsiteX25" fmla="*/ 1974 w 46820"/>
                <a:gd name="connsiteY25" fmla="*/ 17241 h 59635"/>
                <a:gd name="connsiteX26" fmla="*/ 9590 w 46820"/>
                <a:gd name="connsiteY26" fmla="*/ 4805 h 59635"/>
                <a:gd name="connsiteX27" fmla="*/ 24821 w 46820"/>
                <a:gd name="connsiteY27" fmla="*/ 0 h 59635"/>
                <a:gd name="connsiteX28" fmla="*/ 40615 w 46820"/>
                <a:gd name="connsiteY28" fmla="*/ 4805 h 59635"/>
                <a:gd name="connsiteX29" fmla="*/ 46821 w 46820"/>
                <a:gd name="connsiteY29" fmla="*/ 20067 h 59635"/>
                <a:gd name="connsiteX30" fmla="*/ 46821 w 46820"/>
                <a:gd name="connsiteY30" fmla="*/ 58505 h 59635"/>
                <a:gd name="connsiteX31" fmla="*/ 38077 w 46820"/>
                <a:gd name="connsiteY31" fmla="*/ 58505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6820" h="59635">
                  <a:moveTo>
                    <a:pt x="37513" y="33068"/>
                  </a:moveTo>
                  <a:cubicBezTo>
                    <a:pt x="35256" y="33068"/>
                    <a:pt x="32718" y="33068"/>
                    <a:pt x="29897" y="33068"/>
                  </a:cubicBezTo>
                  <a:cubicBezTo>
                    <a:pt x="27359" y="33068"/>
                    <a:pt x="24538" y="33068"/>
                    <a:pt x="21718" y="33068"/>
                  </a:cubicBezTo>
                  <a:cubicBezTo>
                    <a:pt x="17769" y="33351"/>
                    <a:pt x="14667" y="34199"/>
                    <a:pt x="12692" y="35612"/>
                  </a:cubicBezTo>
                  <a:cubicBezTo>
                    <a:pt x="10718" y="37308"/>
                    <a:pt x="9590" y="39569"/>
                    <a:pt x="9590" y="42395"/>
                  </a:cubicBezTo>
                  <a:cubicBezTo>
                    <a:pt x="9590" y="45222"/>
                    <a:pt x="10436" y="47200"/>
                    <a:pt x="12410" y="48896"/>
                  </a:cubicBezTo>
                  <a:cubicBezTo>
                    <a:pt x="14385" y="50592"/>
                    <a:pt x="16923" y="51439"/>
                    <a:pt x="20308" y="51439"/>
                  </a:cubicBezTo>
                  <a:cubicBezTo>
                    <a:pt x="25103" y="51439"/>
                    <a:pt x="29051" y="50309"/>
                    <a:pt x="32436" y="47765"/>
                  </a:cubicBezTo>
                  <a:cubicBezTo>
                    <a:pt x="35821" y="45504"/>
                    <a:pt x="37513" y="42395"/>
                    <a:pt x="37513" y="38438"/>
                  </a:cubicBezTo>
                  <a:lnTo>
                    <a:pt x="37513" y="33068"/>
                  </a:lnTo>
                  <a:close/>
                  <a:moveTo>
                    <a:pt x="38077" y="58505"/>
                  </a:moveTo>
                  <a:lnTo>
                    <a:pt x="38077" y="51722"/>
                  </a:lnTo>
                  <a:cubicBezTo>
                    <a:pt x="36385" y="53983"/>
                    <a:pt x="33846" y="55962"/>
                    <a:pt x="30744" y="57375"/>
                  </a:cubicBezTo>
                  <a:cubicBezTo>
                    <a:pt x="27641" y="58788"/>
                    <a:pt x="24256" y="59636"/>
                    <a:pt x="20026" y="59636"/>
                  </a:cubicBezTo>
                  <a:cubicBezTo>
                    <a:pt x="13821" y="59636"/>
                    <a:pt x="9026" y="58223"/>
                    <a:pt x="5359" y="55114"/>
                  </a:cubicBezTo>
                  <a:cubicBezTo>
                    <a:pt x="1692" y="52005"/>
                    <a:pt x="0" y="47765"/>
                    <a:pt x="0" y="42678"/>
                  </a:cubicBezTo>
                  <a:cubicBezTo>
                    <a:pt x="0" y="36742"/>
                    <a:pt x="1974" y="32503"/>
                    <a:pt x="5923" y="29677"/>
                  </a:cubicBezTo>
                  <a:cubicBezTo>
                    <a:pt x="9872" y="27133"/>
                    <a:pt x="14949" y="25437"/>
                    <a:pt x="21718" y="25437"/>
                  </a:cubicBezTo>
                  <a:cubicBezTo>
                    <a:pt x="24538" y="25437"/>
                    <a:pt x="27359" y="25437"/>
                    <a:pt x="29897" y="25437"/>
                  </a:cubicBezTo>
                  <a:cubicBezTo>
                    <a:pt x="32436" y="25437"/>
                    <a:pt x="34974" y="25437"/>
                    <a:pt x="37513" y="25720"/>
                  </a:cubicBezTo>
                  <a:lnTo>
                    <a:pt x="37513" y="20632"/>
                  </a:lnTo>
                  <a:cubicBezTo>
                    <a:pt x="37513" y="16393"/>
                    <a:pt x="36385" y="13284"/>
                    <a:pt x="33846" y="11588"/>
                  </a:cubicBezTo>
                  <a:cubicBezTo>
                    <a:pt x="31590" y="9610"/>
                    <a:pt x="28487" y="8762"/>
                    <a:pt x="24821" y="8762"/>
                  </a:cubicBezTo>
                  <a:cubicBezTo>
                    <a:pt x="20872" y="8762"/>
                    <a:pt x="17769" y="9892"/>
                    <a:pt x="15513" y="11871"/>
                  </a:cubicBezTo>
                  <a:cubicBezTo>
                    <a:pt x="13538" y="13849"/>
                    <a:pt x="11846" y="16393"/>
                    <a:pt x="11000" y="19219"/>
                  </a:cubicBezTo>
                  <a:lnTo>
                    <a:pt x="1974" y="17241"/>
                  </a:lnTo>
                  <a:cubicBezTo>
                    <a:pt x="3103" y="12153"/>
                    <a:pt x="5641" y="8196"/>
                    <a:pt x="9590" y="4805"/>
                  </a:cubicBezTo>
                  <a:cubicBezTo>
                    <a:pt x="13538" y="1696"/>
                    <a:pt x="18615" y="0"/>
                    <a:pt x="24821" y="0"/>
                  </a:cubicBezTo>
                  <a:cubicBezTo>
                    <a:pt x="31308" y="0"/>
                    <a:pt x="36667" y="1696"/>
                    <a:pt x="40615" y="4805"/>
                  </a:cubicBezTo>
                  <a:cubicBezTo>
                    <a:pt x="44846" y="8196"/>
                    <a:pt x="46821" y="13284"/>
                    <a:pt x="46821" y="20067"/>
                  </a:cubicBezTo>
                  <a:lnTo>
                    <a:pt x="46821" y="58505"/>
                  </a:lnTo>
                  <a:lnTo>
                    <a:pt x="38077" y="58505"/>
                  </a:lnTo>
                  <a:close/>
                </a:path>
              </a:pathLst>
            </a:custGeom>
            <a:solidFill>
              <a:srgbClr val="7F8183"/>
            </a:solidFill>
            <a:ln w="2790" cap="flat">
              <a:noFill/>
              <a:prstDash val="solid"/>
              <a:miter/>
            </a:ln>
          </p:spPr>
          <p:txBody>
            <a:bodyPr rtlCol="0" anchor="ctr"/>
            <a:lstStyle/>
            <a:p>
              <a:endParaRPr lang="x-none" sz="1905"/>
            </a:p>
          </p:txBody>
        </p:sp>
        <p:sp>
          <p:nvSpPr>
            <p:cNvPr id="36" name="Freeform 35">
              <a:extLst>
                <a:ext uri="{FF2B5EF4-FFF2-40B4-BE49-F238E27FC236}">
                  <a16:creationId xmlns:a16="http://schemas.microsoft.com/office/drawing/2014/main" id="{33B05C48-04C5-AB40-8AA6-D709FA4E3EBE}"/>
                </a:ext>
              </a:extLst>
            </p:cNvPr>
            <p:cNvSpPr/>
            <p:nvPr/>
          </p:nvSpPr>
          <p:spPr>
            <a:xfrm>
              <a:off x="1734234" y="5935383"/>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37" name="Freeform 36">
              <a:extLst>
                <a:ext uri="{FF2B5EF4-FFF2-40B4-BE49-F238E27FC236}">
                  <a16:creationId xmlns:a16="http://schemas.microsoft.com/office/drawing/2014/main" id="{9F6D605A-1F55-E447-831C-1BDAD4AA188C}"/>
                </a:ext>
              </a:extLst>
            </p:cNvPr>
            <p:cNvSpPr/>
            <p:nvPr/>
          </p:nvSpPr>
          <p:spPr>
            <a:xfrm>
              <a:off x="1801362" y="5935383"/>
              <a:ext cx="49359" cy="57374"/>
            </a:xfrm>
            <a:custGeom>
              <a:avLst/>
              <a:gdLst>
                <a:gd name="connsiteX0" fmla="*/ 0 w 49359"/>
                <a:gd name="connsiteY0" fmla="*/ 57375 h 57374"/>
                <a:gd name="connsiteX1" fmla="*/ 0 w 49359"/>
                <a:gd name="connsiteY1" fmla="*/ 0 h 57374"/>
                <a:gd name="connsiteX2" fmla="*/ 9590 w 49359"/>
                <a:gd name="connsiteY2" fmla="*/ 0 h 57374"/>
                <a:gd name="connsiteX3" fmla="*/ 9590 w 49359"/>
                <a:gd name="connsiteY3" fmla="*/ 23459 h 57374"/>
                <a:gd name="connsiteX4" fmla="*/ 39769 w 49359"/>
                <a:gd name="connsiteY4" fmla="*/ 23459 h 57374"/>
                <a:gd name="connsiteX5" fmla="*/ 39769 w 49359"/>
                <a:gd name="connsiteY5" fmla="*/ 0 h 57374"/>
                <a:gd name="connsiteX6" fmla="*/ 49359 w 49359"/>
                <a:gd name="connsiteY6" fmla="*/ 0 h 57374"/>
                <a:gd name="connsiteX7" fmla="*/ 49359 w 49359"/>
                <a:gd name="connsiteY7" fmla="*/ 57375 h 57374"/>
                <a:gd name="connsiteX8" fmla="*/ 39769 w 49359"/>
                <a:gd name="connsiteY8" fmla="*/ 57375 h 57374"/>
                <a:gd name="connsiteX9" fmla="*/ 39769 w 49359"/>
                <a:gd name="connsiteY9" fmla="*/ 32503 h 57374"/>
                <a:gd name="connsiteX10" fmla="*/ 9590 w 49359"/>
                <a:gd name="connsiteY10" fmla="*/ 32503 h 57374"/>
                <a:gd name="connsiteX11" fmla="*/ 9590 w 49359"/>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359" h="57374">
                  <a:moveTo>
                    <a:pt x="0" y="57375"/>
                  </a:moveTo>
                  <a:lnTo>
                    <a:pt x="0" y="0"/>
                  </a:lnTo>
                  <a:lnTo>
                    <a:pt x="9590" y="0"/>
                  </a:lnTo>
                  <a:lnTo>
                    <a:pt x="9590" y="23459"/>
                  </a:lnTo>
                  <a:lnTo>
                    <a:pt x="39769" y="23459"/>
                  </a:lnTo>
                  <a:lnTo>
                    <a:pt x="39769" y="0"/>
                  </a:lnTo>
                  <a:lnTo>
                    <a:pt x="49359" y="0"/>
                  </a:lnTo>
                  <a:lnTo>
                    <a:pt x="49359" y="57375"/>
                  </a:lnTo>
                  <a:lnTo>
                    <a:pt x="39769" y="57375"/>
                  </a:lnTo>
                  <a:lnTo>
                    <a:pt x="39769" y="32503"/>
                  </a:lnTo>
                  <a:lnTo>
                    <a:pt x="9590" y="32503"/>
                  </a:lnTo>
                  <a:lnTo>
                    <a:pt x="9590" y="57375"/>
                  </a:lnTo>
                  <a:close/>
                </a:path>
              </a:pathLst>
            </a:custGeom>
            <a:solidFill>
              <a:srgbClr val="7F8183"/>
            </a:solidFill>
            <a:ln w="2790" cap="flat">
              <a:noFill/>
              <a:prstDash val="solid"/>
              <a:miter/>
            </a:ln>
          </p:spPr>
          <p:txBody>
            <a:bodyPr rtlCol="0" anchor="ctr"/>
            <a:lstStyle/>
            <a:p>
              <a:endParaRPr lang="x-none" sz="1905"/>
            </a:p>
          </p:txBody>
        </p:sp>
        <p:sp>
          <p:nvSpPr>
            <p:cNvPr id="38" name="Freeform 37">
              <a:extLst>
                <a:ext uri="{FF2B5EF4-FFF2-40B4-BE49-F238E27FC236}">
                  <a16:creationId xmlns:a16="http://schemas.microsoft.com/office/drawing/2014/main" id="{91FC9B31-E37F-BE4B-A0BF-EE73657BE81F}"/>
                </a:ext>
              </a:extLst>
            </p:cNvPr>
            <p:cNvSpPr/>
            <p:nvPr/>
          </p:nvSpPr>
          <p:spPr>
            <a:xfrm>
              <a:off x="1868491" y="5935383"/>
              <a:ext cx="62333" cy="57374"/>
            </a:xfrm>
            <a:custGeom>
              <a:avLst/>
              <a:gdLst>
                <a:gd name="connsiteX0" fmla="*/ 52744 w 62333"/>
                <a:gd name="connsiteY0" fmla="*/ 0 h 57374"/>
                <a:gd name="connsiteX1" fmla="*/ 62333 w 62333"/>
                <a:gd name="connsiteY1" fmla="*/ 0 h 57374"/>
                <a:gd name="connsiteX2" fmla="*/ 62333 w 62333"/>
                <a:gd name="connsiteY2" fmla="*/ 57375 h 57374"/>
                <a:gd name="connsiteX3" fmla="*/ 52744 w 62333"/>
                <a:gd name="connsiteY3" fmla="*/ 57375 h 57374"/>
                <a:gd name="connsiteX4" fmla="*/ 52744 w 62333"/>
                <a:gd name="connsiteY4" fmla="*/ 0 h 57374"/>
                <a:gd name="connsiteX5" fmla="*/ 24256 w 62333"/>
                <a:gd name="connsiteY5" fmla="*/ 28546 h 57374"/>
                <a:gd name="connsiteX6" fmla="*/ 9590 w 62333"/>
                <a:gd name="connsiteY6" fmla="*/ 28546 h 57374"/>
                <a:gd name="connsiteX7" fmla="*/ 9590 w 62333"/>
                <a:gd name="connsiteY7" fmla="*/ 48896 h 57374"/>
                <a:gd name="connsiteX8" fmla="*/ 24256 w 62333"/>
                <a:gd name="connsiteY8" fmla="*/ 48896 h 57374"/>
                <a:gd name="connsiteX9" fmla="*/ 33000 w 62333"/>
                <a:gd name="connsiteY9" fmla="*/ 46069 h 57374"/>
                <a:gd name="connsiteX10" fmla="*/ 35256 w 62333"/>
                <a:gd name="connsiteY10" fmla="*/ 38438 h 57374"/>
                <a:gd name="connsiteX11" fmla="*/ 33000 w 62333"/>
                <a:gd name="connsiteY11" fmla="*/ 31090 h 57374"/>
                <a:gd name="connsiteX12" fmla="*/ 24256 w 62333"/>
                <a:gd name="connsiteY12" fmla="*/ 28546 h 57374"/>
                <a:gd name="connsiteX13" fmla="*/ 0 w 62333"/>
                <a:gd name="connsiteY13" fmla="*/ 57375 h 57374"/>
                <a:gd name="connsiteX14" fmla="*/ 0 w 62333"/>
                <a:gd name="connsiteY14" fmla="*/ 0 h 57374"/>
                <a:gd name="connsiteX15" fmla="*/ 9590 w 62333"/>
                <a:gd name="connsiteY15" fmla="*/ 0 h 57374"/>
                <a:gd name="connsiteX16" fmla="*/ 9590 w 62333"/>
                <a:gd name="connsiteY16" fmla="*/ 19784 h 57374"/>
                <a:gd name="connsiteX17" fmla="*/ 24256 w 62333"/>
                <a:gd name="connsiteY17" fmla="*/ 19784 h 57374"/>
                <a:gd name="connsiteX18" fmla="*/ 39205 w 62333"/>
                <a:gd name="connsiteY18" fmla="*/ 24589 h 57374"/>
                <a:gd name="connsiteX19" fmla="*/ 44282 w 62333"/>
                <a:gd name="connsiteY19" fmla="*/ 38156 h 57374"/>
                <a:gd name="connsiteX20" fmla="*/ 39205 w 62333"/>
                <a:gd name="connsiteY20" fmla="*/ 52287 h 57374"/>
                <a:gd name="connsiteX21" fmla="*/ 23974 w 62333"/>
                <a:gd name="connsiteY21" fmla="*/ 57375 h 57374"/>
                <a:gd name="connsiteX22" fmla="*/ 0 w 62333"/>
                <a:gd name="connsiteY22"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333" h="57374">
                  <a:moveTo>
                    <a:pt x="52744" y="0"/>
                  </a:moveTo>
                  <a:lnTo>
                    <a:pt x="62333" y="0"/>
                  </a:lnTo>
                  <a:lnTo>
                    <a:pt x="62333" y="57375"/>
                  </a:lnTo>
                  <a:lnTo>
                    <a:pt x="52744" y="57375"/>
                  </a:lnTo>
                  <a:lnTo>
                    <a:pt x="52744" y="0"/>
                  </a:lnTo>
                  <a:close/>
                  <a:moveTo>
                    <a:pt x="24256" y="28546"/>
                  </a:moveTo>
                  <a:lnTo>
                    <a:pt x="9590" y="28546"/>
                  </a:lnTo>
                  <a:lnTo>
                    <a:pt x="9590" y="48896"/>
                  </a:lnTo>
                  <a:lnTo>
                    <a:pt x="24256" y="48896"/>
                  </a:lnTo>
                  <a:cubicBezTo>
                    <a:pt x="28487" y="48896"/>
                    <a:pt x="31590" y="47765"/>
                    <a:pt x="33000" y="46069"/>
                  </a:cubicBezTo>
                  <a:cubicBezTo>
                    <a:pt x="34692" y="44091"/>
                    <a:pt x="35256" y="41547"/>
                    <a:pt x="35256" y="38438"/>
                  </a:cubicBezTo>
                  <a:cubicBezTo>
                    <a:pt x="35256" y="35329"/>
                    <a:pt x="34410" y="32786"/>
                    <a:pt x="33000" y="31090"/>
                  </a:cubicBezTo>
                  <a:cubicBezTo>
                    <a:pt x="31590" y="29394"/>
                    <a:pt x="28769" y="28546"/>
                    <a:pt x="24256" y="28546"/>
                  </a:cubicBezTo>
                  <a:moveTo>
                    <a:pt x="0" y="57375"/>
                  </a:moveTo>
                  <a:lnTo>
                    <a:pt x="0" y="0"/>
                  </a:lnTo>
                  <a:lnTo>
                    <a:pt x="9590" y="0"/>
                  </a:lnTo>
                  <a:lnTo>
                    <a:pt x="9590" y="19784"/>
                  </a:lnTo>
                  <a:lnTo>
                    <a:pt x="24256" y="19784"/>
                  </a:lnTo>
                  <a:cubicBezTo>
                    <a:pt x="30744" y="19784"/>
                    <a:pt x="35821" y="21480"/>
                    <a:pt x="39205" y="24589"/>
                  </a:cubicBezTo>
                  <a:cubicBezTo>
                    <a:pt x="42590" y="27698"/>
                    <a:pt x="44282" y="32220"/>
                    <a:pt x="44282" y="38156"/>
                  </a:cubicBezTo>
                  <a:cubicBezTo>
                    <a:pt x="44282" y="44091"/>
                    <a:pt x="42590" y="48896"/>
                    <a:pt x="39205" y="52287"/>
                  </a:cubicBezTo>
                  <a:cubicBezTo>
                    <a:pt x="35821" y="55679"/>
                    <a:pt x="30744" y="57375"/>
                    <a:pt x="23974" y="57375"/>
                  </a:cubicBezTo>
                  <a:lnTo>
                    <a:pt x="0" y="57375"/>
                  </a:lnTo>
                  <a:close/>
                </a:path>
              </a:pathLst>
            </a:custGeom>
            <a:solidFill>
              <a:srgbClr val="7F8183"/>
            </a:solidFill>
            <a:ln w="2790" cap="flat">
              <a:noFill/>
              <a:prstDash val="solid"/>
              <a:miter/>
            </a:ln>
          </p:spPr>
          <p:txBody>
            <a:bodyPr rtlCol="0" anchor="ctr"/>
            <a:lstStyle/>
            <a:p>
              <a:endParaRPr lang="x-none" sz="1905"/>
            </a:p>
          </p:txBody>
        </p:sp>
        <p:sp>
          <p:nvSpPr>
            <p:cNvPr id="39" name="Freeform 38">
              <a:extLst>
                <a:ext uri="{FF2B5EF4-FFF2-40B4-BE49-F238E27FC236}">
                  <a16:creationId xmlns:a16="http://schemas.microsoft.com/office/drawing/2014/main" id="{BD78A59F-65ED-154F-9BB0-F3D1A7A2D934}"/>
                </a:ext>
              </a:extLst>
            </p:cNvPr>
            <p:cNvSpPr/>
            <p:nvPr/>
          </p:nvSpPr>
          <p:spPr>
            <a:xfrm>
              <a:off x="1941542" y="5935383"/>
              <a:ext cx="54435" cy="57374"/>
            </a:xfrm>
            <a:custGeom>
              <a:avLst/>
              <a:gdLst>
                <a:gd name="connsiteX0" fmla="*/ 42872 w 54435"/>
                <a:gd name="connsiteY0" fmla="*/ 57375 h 57374"/>
                <a:gd name="connsiteX1" fmla="*/ 26795 w 54435"/>
                <a:gd name="connsiteY1" fmla="*/ 34481 h 57374"/>
                <a:gd name="connsiteX2" fmla="*/ 11282 w 54435"/>
                <a:gd name="connsiteY2" fmla="*/ 57375 h 57374"/>
                <a:gd name="connsiteX3" fmla="*/ 0 w 54435"/>
                <a:gd name="connsiteY3" fmla="*/ 57375 h 57374"/>
                <a:gd name="connsiteX4" fmla="*/ 21154 w 54435"/>
                <a:gd name="connsiteY4" fmla="*/ 27981 h 57374"/>
                <a:gd name="connsiteX5" fmla="*/ 1410 w 54435"/>
                <a:gd name="connsiteY5" fmla="*/ 0 h 57374"/>
                <a:gd name="connsiteX6" fmla="*/ 12410 w 54435"/>
                <a:gd name="connsiteY6" fmla="*/ 0 h 57374"/>
                <a:gd name="connsiteX7" fmla="*/ 26795 w 54435"/>
                <a:gd name="connsiteY7" fmla="*/ 21198 h 57374"/>
                <a:gd name="connsiteX8" fmla="*/ 41462 w 54435"/>
                <a:gd name="connsiteY8" fmla="*/ 0 h 57374"/>
                <a:gd name="connsiteX9" fmla="*/ 52462 w 54435"/>
                <a:gd name="connsiteY9" fmla="*/ 0 h 57374"/>
                <a:gd name="connsiteX10" fmla="*/ 32436 w 54435"/>
                <a:gd name="connsiteY10" fmla="*/ 27416 h 57374"/>
                <a:gd name="connsiteX11" fmla="*/ 54436 w 54435"/>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435" h="57374">
                  <a:moveTo>
                    <a:pt x="42872" y="57375"/>
                  </a:moveTo>
                  <a:lnTo>
                    <a:pt x="26795" y="34481"/>
                  </a:lnTo>
                  <a:lnTo>
                    <a:pt x="11282" y="57375"/>
                  </a:lnTo>
                  <a:lnTo>
                    <a:pt x="0" y="57375"/>
                  </a:lnTo>
                  <a:lnTo>
                    <a:pt x="21154" y="27981"/>
                  </a:lnTo>
                  <a:lnTo>
                    <a:pt x="1410" y="0"/>
                  </a:lnTo>
                  <a:lnTo>
                    <a:pt x="12410" y="0"/>
                  </a:lnTo>
                  <a:lnTo>
                    <a:pt x="26795" y="21198"/>
                  </a:lnTo>
                  <a:lnTo>
                    <a:pt x="41462" y="0"/>
                  </a:lnTo>
                  <a:lnTo>
                    <a:pt x="52462" y="0"/>
                  </a:lnTo>
                  <a:lnTo>
                    <a:pt x="32436" y="27416"/>
                  </a:lnTo>
                  <a:lnTo>
                    <a:pt x="54436" y="57375"/>
                  </a:lnTo>
                  <a:close/>
                </a:path>
              </a:pathLst>
            </a:custGeom>
            <a:solidFill>
              <a:srgbClr val="7F8183"/>
            </a:solidFill>
            <a:ln w="2790" cap="flat">
              <a:noFill/>
              <a:prstDash val="solid"/>
              <a:miter/>
            </a:ln>
          </p:spPr>
          <p:txBody>
            <a:bodyPr rtlCol="0" anchor="ctr"/>
            <a:lstStyle/>
            <a:p>
              <a:endParaRPr lang="x-none" sz="1905"/>
            </a:p>
          </p:txBody>
        </p:sp>
        <p:grpSp>
          <p:nvGrpSpPr>
            <p:cNvPr id="40" name="Graphic 13">
              <a:extLst>
                <a:ext uri="{FF2B5EF4-FFF2-40B4-BE49-F238E27FC236}">
                  <a16:creationId xmlns:a16="http://schemas.microsoft.com/office/drawing/2014/main" id="{A3412EFB-25E5-F24C-9AA5-A8B3CDCDE57F}"/>
                </a:ext>
              </a:extLst>
            </p:cNvPr>
            <p:cNvGrpSpPr/>
            <p:nvPr/>
          </p:nvGrpSpPr>
          <p:grpSpPr>
            <a:xfrm>
              <a:off x="1266593" y="6057199"/>
              <a:ext cx="116205" cy="82246"/>
              <a:chOff x="1266593" y="6057199"/>
              <a:chExt cx="116205" cy="82246"/>
            </a:xfrm>
            <a:solidFill>
              <a:srgbClr val="CFD4D9"/>
            </a:solidFill>
          </p:grpSpPr>
          <p:sp>
            <p:nvSpPr>
              <p:cNvPr id="47" name="Freeform 46">
                <a:extLst>
                  <a:ext uri="{FF2B5EF4-FFF2-40B4-BE49-F238E27FC236}">
                    <a16:creationId xmlns:a16="http://schemas.microsoft.com/office/drawing/2014/main" id="{A54C67D7-4E2A-194D-8C27-C5B336C4882D}"/>
                  </a:ext>
                </a:extLst>
              </p:cNvPr>
              <p:cNvSpPr/>
              <p:nvPr/>
            </p:nvSpPr>
            <p:spPr>
              <a:xfrm>
                <a:off x="1266593" y="6057199"/>
                <a:ext cx="54153" cy="82246"/>
              </a:xfrm>
              <a:custGeom>
                <a:avLst/>
                <a:gdLst>
                  <a:gd name="connsiteX0" fmla="*/ 9308 w 54153"/>
                  <a:gd name="connsiteY0" fmla="*/ 34764 h 82246"/>
                  <a:gd name="connsiteX1" fmla="*/ 14667 w 54153"/>
                  <a:gd name="connsiteY1" fmla="*/ 46917 h 82246"/>
                  <a:gd name="connsiteX2" fmla="*/ 27359 w 54153"/>
                  <a:gd name="connsiteY2" fmla="*/ 51439 h 82246"/>
                  <a:gd name="connsiteX3" fmla="*/ 39769 w 54153"/>
                  <a:gd name="connsiteY3" fmla="*/ 45504 h 82246"/>
                  <a:gd name="connsiteX4" fmla="*/ 44282 w 54153"/>
                  <a:gd name="connsiteY4" fmla="*/ 29677 h 82246"/>
                  <a:gd name="connsiteX5" fmla="*/ 39769 w 54153"/>
                  <a:gd name="connsiteY5" fmla="*/ 14414 h 82246"/>
                  <a:gd name="connsiteX6" fmla="*/ 27077 w 54153"/>
                  <a:gd name="connsiteY6" fmla="*/ 8479 h 82246"/>
                  <a:gd name="connsiteX7" fmla="*/ 20590 w 54153"/>
                  <a:gd name="connsiteY7" fmla="*/ 9610 h 82246"/>
                  <a:gd name="connsiteX8" fmla="*/ 14949 w 54153"/>
                  <a:gd name="connsiteY8" fmla="*/ 13284 h 82246"/>
                  <a:gd name="connsiteX9" fmla="*/ 11000 w 54153"/>
                  <a:gd name="connsiteY9" fmla="*/ 19219 h 82246"/>
                  <a:gd name="connsiteX10" fmla="*/ 9590 w 54153"/>
                  <a:gd name="connsiteY10" fmla="*/ 27416 h 82246"/>
                  <a:gd name="connsiteX11" fmla="*/ 9590 w 54153"/>
                  <a:gd name="connsiteY11" fmla="*/ 34764 h 82246"/>
                  <a:gd name="connsiteX12" fmla="*/ 0 w 54153"/>
                  <a:gd name="connsiteY12" fmla="*/ 82247 h 82246"/>
                  <a:gd name="connsiteX13" fmla="*/ 0 w 54153"/>
                  <a:gd name="connsiteY13" fmla="*/ 1413 h 82246"/>
                  <a:gd name="connsiteX14" fmla="*/ 9590 w 54153"/>
                  <a:gd name="connsiteY14" fmla="*/ 1413 h 82246"/>
                  <a:gd name="connsiteX15" fmla="*/ 9590 w 54153"/>
                  <a:gd name="connsiteY15" fmla="*/ 9044 h 82246"/>
                  <a:gd name="connsiteX16" fmla="*/ 18051 w 54153"/>
                  <a:gd name="connsiteY16" fmla="*/ 2261 h 82246"/>
                  <a:gd name="connsiteX17" fmla="*/ 29051 w 54153"/>
                  <a:gd name="connsiteY17" fmla="*/ 0 h 82246"/>
                  <a:gd name="connsiteX18" fmla="*/ 38923 w 54153"/>
                  <a:gd name="connsiteY18" fmla="*/ 1978 h 82246"/>
                  <a:gd name="connsiteX19" fmla="*/ 46821 w 54153"/>
                  <a:gd name="connsiteY19" fmla="*/ 7631 h 82246"/>
                  <a:gd name="connsiteX20" fmla="*/ 52180 w 54153"/>
                  <a:gd name="connsiteY20" fmla="*/ 16958 h 82246"/>
                  <a:gd name="connsiteX21" fmla="*/ 54154 w 54153"/>
                  <a:gd name="connsiteY21" fmla="*/ 29677 h 82246"/>
                  <a:gd name="connsiteX22" fmla="*/ 46821 w 54153"/>
                  <a:gd name="connsiteY22" fmla="*/ 52005 h 82246"/>
                  <a:gd name="connsiteX23" fmla="*/ 27359 w 54153"/>
                  <a:gd name="connsiteY23" fmla="*/ 60201 h 82246"/>
                  <a:gd name="connsiteX24" fmla="*/ 17205 w 54153"/>
                  <a:gd name="connsiteY24" fmla="*/ 58223 h 82246"/>
                  <a:gd name="connsiteX25" fmla="*/ 9590 w 54153"/>
                  <a:gd name="connsiteY25" fmla="*/ 52570 h 82246"/>
                  <a:gd name="connsiteX26" fmla="*/ 9590 w 54153"/>
                  <a:gd name="connsiteY26" fmla="*/ 82247 h 82246"/>
                  <a:gd name="connsiteX27" fmla="*/ 0 w 54153"/>
                  <a:gd name="connsiteY27" fmla="*/ 82247 h 8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4153" h="82246">
                    <a:moveTo>
                      <a:pt x="9308" y="34764"/>
                    </a:moveTo>
                    <a:cubicBezTo>
                      <a:pt x="9308" y="40134"/>
                      <a:pt x="11000" y="44091"/>
                      <a:pt x="14667" y="46917"/>
                    </a:cubicBezTo>
                    <a:cubicBezTo>
                      <a:pt x="18333" y="49744"/>
                      <a:pt x="22564" y="51439"/>
                      <a:pt x="27359" y="51439"/>
                    </a:cubicBezTo>
                    <a:cubicBezTo>
                      <a:pt x="32718" y="51439"/>
                      <a:pt x="36667" y="49461"/>
                      <a:pt x="39769" y="45504"/>
                    </a:cubicBezTo>
                    <a:cubicBezTo>
                      <a:pt x="42872" y="41547"/>
                      <a:pt x="44282" y="36460"/>
                      <a:pt x="44282" y="29677"/>
                    </a:cubicBezTo>
                    <a:cubicBezTo>
                      <a:pt x="44282" y="23459"/>
                      <a:pt x="42872" y="18371"/>
                      <a:pt x="39769" y="14414"/>
                    </a:cubicBezTo>
                    <a:cubicBezTo>
                      <a:pt x="36667" y="10457"/>
                      <a:pt x="32436" y="8479"/>
                      <a:pt x="27077" y="8479"/>
                    </a:cubicBezTo>
                    <a:cubicBezTo>
                      <a:pt x="24821" y="8479"/>
                      <a:pt x="22564" y="8762"/>
                      <a:pt x="20590" y="9610"/>
                    </a:cubicBezTo>
                    <a:cubicBezTo>
                      <a:pt x="18615" y="10457"/>
                      <a:pt x="16641" y="11588"/>
                      <a:pt x="14949" y="13284"/>
                    </a:cubicBezTo>
                    <a:cubicBezTo>
                      <a:pt x="13256" y="14980"/>
                      <a:pt x="11846" y="16958"/>
                      <a:pt x="11000" y="19219"/>
                    </a:cubicBezTo>
                    <a:cubicBezTo>
                      <a:pt x="9872" y="21763"/>
                      <a:pt x="9590" y="24307"/>
                      <a:pt x="9590" y="27416"/>
                    </a:cubicBezTo>
                    <a:lnTo>
                      <a:pt x="9590" y="34764"/>
                    </a:lnTo>
                    <a:close/>
                    <a:moveTo>
                      <a:pt x="0" y="82247"/>
                    </a:moveTo>
                    <a:lnTo>
                      <a:pt x="0" y="1413"/>
                    </a:lnTo>
                    <a:lnTo>
                      <a:pt x="9590" y="1413"/>
                    </a:lnTo>
                    <a:lnTo>
                      <a:pt x="9590" y="9044"/>
                    </a:lnTo>
                    <a:cubicBezTo>
                      <a:pt x="11564" y="5935"/>
                      <a:pt x="14385" y="3957"/>
                      <a:pt x="18051" y="2261"/>
                    </a:cubicBezTo>
                    <a:cubicBezTo>
                      <a:pt x="21436" y="848"/>
                      <a:pt x="25103" y="0"/>
                      <a:pt x="29051" y="0"/>
                    </a:cubicBezTo>
                    <a:cubicBezTo>
                      <a:pt x="32436" y="0"/>
                      <a:pt x="35821" y="565"/>
                      <a:pt x="38923" y="1978"/>
                    </a:cubicBezTo>
                    <a:cubicBezTo>
                      <a:pt x="42026" y="3109"/>
                      <a:pt x="44564" y="5087"/>
                      <a:pt x="46821" y="7631"/>
                    </a:cubicBezTo>
                    <a:cubicBezTo>
                      <a:pt x="49077" y="10175"/>
                      <a:pt x="51051" y="13284"/>
                      <a:pt x="52180" y="16958"/>
                    </a:cubicBezTo>
                    <a:cubicBezTo>
                      <a:pt x="53590" y="20632"/>
                      <a:pt x="54154" y="24872"/>
                      <a:pt x="54154" y="29677"/>
                    </a:cubicBezTo>
                    <a:cubicBezTo>
                      <a:pt x="54154" y="39286"/>
                      <a:pt x="51615" y="46635"/>
                      <a:pt x="46821" y="52005"/>
                    </a:cubicBezTo>
                    <a:cubicBezTo>
                      <a:pt x="42026" y="57375"/>
                      <a:pt x="35538" y="60201"/>
                      <a:pt x="27359" y="60201"/>
                    </a:cubicBezTo>
                    <a:cubicBezTo>
                      <a:pt x="23692" y="60201"/>
                      <a:pt x="20308" y="59636"/>
                      <a:pt x="17205" y="58223"/>
                    </a:cubicBezTo>
                    <a:cubicBezTo>
                      <a:pt x="14103" y="56810"/>
                      <a:pt x="11564" y="55114"/>
                      <a:pt x="9590" y="52570"/>
                    </a:cubicBezTo>
                    <a:lnTo>
                      <a:pt x="9590" y="82247"/>
                    </a:lnTo>
                    <a:lnTo>
                      <a:pt x="0" y="82247"/>
                    </a:lnTo>
                    <a:close/>
                  </a:path>
                </a:pathLst>
              </a:custGeom>
              <a:solidFill>
                <a:srgbClr val="7F8183"/>
              </a:solidFill>
              <a:ln w="2790" cap="flat">
                <a:noFill/>
                <a:prstDash val="solid"/>
                <a:miter/>
              </a:ln>
            </p:spPr>
            <p:txBody>
              <a:bodyPr rtlCol="0" anchor="ctr"/>
              <a:lstStyle/>
              <a:p>
                <a:endParaRPr lang="x-none" sz="1905"/>
              </a:p>
            </p:txBody>
          </p:sp>
          <p:sp>
            <p:nvSpPr>
              <p:cNvPr id="48" name="Freeform 47">
                <a:extLst>
                  <a:ext uri="{FF2B5EF4-FFF2-40B4-BE49-F238E27FC236}">
                    <a16:creationId xmlns:a16="http://schemas.microsoft.com/office/drawing/2014/main" id="{E4D661F3-775B-484D-9B38-07EB41236708}"/>
                  </a:ext>
                </a:extLst>
              </p:cNvPr>
              <p:cNvSpPr/>
              <p:nvPr/>
            </p:nvSpPr>
            <p:spPr>
              <a:xfrm>
                <a:off x="1331465" y="6057764"/>
                <a:ext cx="51333" cy="59635"/>
              </a:xfrm>
              <a:custGeom>
                <a:avLst/>
                <a:gdLst>
                  <a:gd name="connsiteX0" fmla="*/ 26513 w 51333"/>
                  <a:gd name="connsiteY0" fmla="*/ 7914 h 59635"/>
                  <a:gd name="connsiteX1" fmla="*/ 15513 w 51333"/>
                  <a:gd name="connsiteY1" fmla="*/ 12153 h 59635"/>
                  <a:gd name="connsiteX2" fmla="*/ 9872 w 51333"/>
                  <a:gd name="connsiteY2" fmla="*/ 23176 h 59635"/>
                  <a:gd name="connsiteX3" fmla="*/ 42026 w 51333"/>
                  <a:gd name="connsiteY3" fmla="*/ 23176 h 59635"/>
                  <a:gd name="connsiteX4" fmla="*/ 38077 w 51333"/>
                  <a:gd name="connsiteY4" fmla="*/ 12153 h 59635"/>
                  <a:gd name="connsiteX5" fmla="*/ 26513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9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513" y="7914"/>
                    </a:moveTo>
                    <a:cubicBezTo>
                      <a:pt x="22000" y="7914"/>
                      <a:pt x="18333" y="9327"/>
                      <a:pt x="15513" y="12153"/>
                    </a:cubicBezTo>
                    <a:cubicBezTo>
                      <a:pt x="12410" y="14980"/>
                      <a:pt x="10718" y="18654"/>
                      <a:pt x="9872" y="23176"/>
                    </a:cubicBezTo>
                    <a:lnTo>
                      <a:pt x="42026" y="23176"/>
                    </a:lnTo>
                    <a:cubicBezTo>
                      <a:pt x="41744" y="18654"/>
                      <a:pt x="40333" y="14980"/>
                      <a:pt x="38077" y="12153"/>
                    </a:cubicBezTo>
                    <a:cubicBezTo>
                      <a:pt x="35256" y="9327"/>
                      <a:pt x="31590" y="7914"/>
                      <a:pt x="26513"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9"/>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grpSp>
        <p:sp>
          <p:nvSpPr>
            <p:cNvPr id="41" name="Freeform 40">
              <a:extLst>
                <a:ext uri="{FF2B5EF4-FFF2-40B4-BE49-F238E27FC236}">
                  <a16:creationId xmlns:a16="http://schemas.microsoft.com/office/drawing/2014/main" id="{662245DA-09BF-0D40-B5B8-6858F4AEEA37}"/>
                </a:ext>
              </a:extLst>
            </p:cNvPr>
            <p:cNvSpPr/>
            <p:nvPr/>
          </p:nvSpPr>
          <p:spPr>
            <a:xfrm>
              <a:off x="1396901" y="6058612"/>
              <a:ext cx="75307" cy="57374"/>
            </a:xfrm>
            <a:custGeom>
              <a:avLst/>
              <a:gdLst>
                <a:gd name="connsiteX0" fmla="*/ 75308 w 75307"/>
                <a:gd name="connsiteY0" fmla="*/ 0 h 57374"/>
                <a:gd name="connsiteX1" fmla="*/ 75308 w 75307"/>
                <a:gd name="connsiteY1" fmla="*/ 57375 h 57374"/>
                <a:gd name="connsiteX2" fmla="*/ 0 w 75307"/>
                <a:gd name="connsiteY2" fmla="*/ 57375 h 57374"/>
                <a:gd name="connsiteX3" fmla="*/ 0 w 75307"/>
                <a:gd name="connsiteY3" fmla="*/ 0 h 57374"/>
                <a:gd name="connsiteX4" fmla="*/ 9308 w 75307"/>
                <a:gd name="connsiteY4" fmla="*/ 0 h 57374"/>
                <a:gd name="connsiteX5" fmla="*/ 9308 w 75307"/>
                <a:gd name="connsiteY5" fmla="*/ 48613 h 57374"/>
                <a:gd name="connsiteX6" fmla="*/ 32718 w 75307"/>
                <a:gd name="connsiteY6" fmla="*/ 48613 h 57374"/>
                <a:gd name="connsiteX7" fmla="*/ 32718 w 75307"/>
                <a:gd name="connsiteY7" fmla="*/ 0 h 57374"/>
                <a:gd name="connsiteX8" fmla="*/ 42308 w 75307"/>
                <a:gd name="connsiteY8" fmla="*/ 0 h 57374"/>
                <a:gd name="connsiteX9" fmla="*/ 42308 w 75307"/>
                <a:gd name="connsiteY9" fmla="*/ 48613 h 57374"/>
                <a:gd name="connsiteX10" fmla="*/ 65718 w 75307"/>
                <a:gd name="connsiteY10" fmla="*/ 48613 h 57374"/>
                <a:gd name="connsiteX11" fmla="*/ 65718 w 75307"/>
                <a:gd name="connsiteY11" fmla="*/ 0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307" h="57374">
                  <a:moveTo>
                    <a:pt x="75308" y="0"/>
                  </a:moveTo>
                  <a:lnTo>
                    <a:pt x="75308" y="57375"/>
                  </a:lnTo>
                  <a:lnTo>
                    <a:pt x="0" y="57375"/>
                  </a:lnTo>
                  <a:lnTo>
                    <a:pt x="0" y="0"/>
                  </a:lnTo>
                  <a:lnTo>
                    <a:pt x="9308" y="0"/>
                  </a:lnTo>
                  <a:lnTo>
                    <a:pt x="9308" y="48613"/>
                  </a:lnTo>
                  <a:lnTo>
                    <a:pt x="32718" y="48613"/>
                  </a:lnTo>
                  <a:lnTo>
                    <a:pt x="32718" y="0"/>
                  </a:lnTo>
                  <a:lnTo>
                    <a:pt x="42308" y="0"/>
                  </a:lnTo>
                  <a:lnTo>
                    <a:pt x="42308" y="48613"/>
                  </a:lnTo>
                  <a:lnTo>
                    <a:pt x="65718" y="48613"/>
                  </a:lnTo>
                  <a:lnTo>
                    <a:pt x="65718" y="0"/>
                  </a:lnTo>
                  <a:close/>
                </a:path>
              </a:pathLst>
            </a:custGeom>
            <a:solidFill>
              <a:srgbClr val="7F8183"/>
            </a:solidFill>
            <a:ln w="2790" cap="flat">
              <a:noFill/>
              <a:prstDash val="solid"/>
              <a:miter/>
            </a:ln>
          </p:spPr>
          <p:txBody>
            <a:bodyPr rtlCol="0" anchor="ctr"/>
            <a:lstStyle/>
            <a:p>
              <a:endParaRPr lang="x-none" sz="1905"/>
            </a:p>
          </p:txBody>
        </p:sp>
        <p:sp>
          <p:nvSpPr>
            <p:cNvPr id="42" name="Freeform 41">
              <a:extLst>
                <a:ext uri="{FF2B5EF4-FFF2-40B4-BE49-F238E27FC236}">
                  <a16:creationId xmlns:a16="http://schemas.microsoft.com/office/drawing/2014/main" id="{8EE32939-128C-A04C-8F2B-03BD54544DBA}"/>
                </a:ext>
              </a:extLst>
            </p:cNvPr>
            <p:cNvSpPr/>
            <p:nvPr/>
          </p:nvSpPr>
          <p:spPr>
            <a:xfrm>
              <a:off x="1486311" y="6057764"/>
              <a:ext cx="51333" cy="59635"/>
            </a:xfrm>
            <a:custGeom>
              <a:avLst/>
              <a:gdLst>
                <a:gd name="connsiteX0" fmla="*/ 26513 w 51333"/>
                <a:gd name="connsiteY0" fmla="*/ 7914 h 59635"/>
                <a:gd name="connsiteX1" fmla="*/ 15513 w 51333"/>
                <a:gd name="connsiteY1" fmla="*/ 12153 h 59635"/>
                <a:gd name="connsiteX2" fmla="*/ 9872 w 51333"/>
                <a:gd name="connsiteY2" fmla="*/ 23176 h 59635"/>
                <a:gd name="connsiteX3" fmla="*/ 41744 w 51333"/>
                <a:gd name="connsiteY3" fmla="*/ 23176 h 59635"/>
                <a:gd name="connsiteX4" fmla="*/ 37795 w 51333"/>
                <a:gd name="connsiteY4" fmla="*/ 12153 h 59635"/>
                <a:gd name="connsiteX5" fmla="*/ 26513 w 51333"/>
                <a:gd name="connsiteY5" fmla="*/ 7914 h 59635"/>
                <a:gd name="connsiteX6" fmla="*/ 51333 w 51333"/>
                <a:gd name="connsiteY6" fmla="*/ 31372 h 59635"/>
                <a:gd name="connsiteX7" fmla="*/ 9590 w 51333"/>
                <a:gd name="connsiteY7" fmla="*/ 31372 h 59635"/>
                <a:gd name="connsiteX8" fmla="*/ 14949 w 51333"/>
                <a:gd name="connsiteY8" fmla="*/ 46069 h 59635"/>
                <a:gd name="connsiteX9" fmla="*/ 27077 w 51333"/>
                <a:gd name="connsiteY9" fmla="*/ 51157 h 59635"/>
                <a:gd name="connsiteX10" fmla="*/ 37513 w 51333"/>
                <a:gd name="connsiteY10" fmla="*/ 48048 h 59635"/>
                <a:gd name="connsiteX11" fmla="*/ 42308 w 51333"/>
                <a:gd name="connsiteY11" fmla="*/ 40699 h 59635"/>
                <a:gd name="connsiteX12" fmla="*/ 51333 w 51333"/>
                <a:gd name="connsiteY12" fmla="*/ 42395 h 59635"/>
                <a:gd name="connsiteX13" fmla="*/ 42872 w 51333"/>
                <a:gd name="connsiteY13" fmla="*/ 55114 h 59635"/>
                <a:gd name="connsiteX14" fmla="*/ 26795 w 51333"/>
                <a:gd name="connsiteY14" fmla="*/ 59636 h 59635"/>
                <a:gd name="connsiteX15" fmla="*/ 7333 w 51333"/>
                <a:gd name="connsiteY15" fmla="*/ 51722 h 59635"/>
                <a:gd name="connsiteX16" fmla="*/ 0 w 51333"/>
                <a:gd name="connsiteY16" fmla="*/ 29677 h 59635"/>
                <a:gd name="connsiteX17" fmla="*/ 1974 w 51333"/>
                <a:gd name="connsiteY17" fmla="*/ 16958 h 59635"/>
                <a:gd name="connsiteX18" fmla="*/ 7615 w 51333"/>
                <a:gd name="connsiteY18" fmla="*/ 7631 h 59635"/>
                <a:gd name="connsiteX19" fmla="*/ 16077 w 51333"/>
                <a:gd name="connsiteY19" fmla="*/ 1978 h 59635"/>
                <a:gd name="connsiteX20" fmla="*/ 26513 w 51333"/>
                <a:gd name="connsiteY20" fmla="*/ 0 h 59635"/>
                <a:gd name="connsiteX21" fmla="*/ 44564 w 51333"/>
                <a:gd name="connsiteY21" fmla="*/ 7349 h 59635"/>
                <a:gd name="connsiteX22" fmla="*/ 51333 w 51333"/>
                <a:gd name="connsiteY22" fmla="*/ 27698 h 59635"/>
                <a:gd name="connsiteX23" fmla="*/ 51333 w 51333"/>
                <a:gd name="connsiteY23" fmla="*/ 31372 h 5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333" h="59635">
                  <a:moveTo>
                    <a:pt x="26513" y="7914"/>
                  </a:moveTo>
                  <a:cubicBezTo>
                    <a:pt x="22000" y="7914"/>
                    <a:pt x="18333" y="9327"/>
                    <a:pt x="15513" y="12153"/>
                  </a:cubicBezTo>
                  <a:cubicBezTo>
                    <a:pt x="12410" y="14980"/>
                    <a:pt x="10718" y="18654"/>
                    <a:pt x="9872" y="23176"/>
                  </a:cubicBezTo>
                  <a:lnTo>
                    <a:pt x="41744" y="23176"/>
                  </a:lnTo>
                  <a:cubicBezTo>
                    <a:pt x="41462" y="18654"/>
                    <a:pt x="40051" y="14980"/>
                    <a:pt x="37795" y="12153"/>
                  </a:cubicBezTo>
                  <a:cubicBezTo>
                    <a:pt x="35256" y="9327"/>
                    <a:pt x="31590" y="7914"/>
                    <a:pt x="26513" y="7914"/>
                  </a:cubicBezTo>
                  <a:moveTo>
                    <a:pt x="51333" y="31372"/>
                  </a:moveTo>
                  <a:lnTo>
                    <a:pt x="9590" y="31372"/>
                  </a:lnTo>
                  <a:cubicBezTo>
                    <a:pt x="9872" y="37873"/>
                    <a:pt x="11564" y="42678"/>
                    <a:pt x="14949" y="46069"/>
                  </a:cubicBezTo>
                  <a:cubicBezTo>
                    <a:pt x="18051" y="49461"/>
                    <a:pt x="22282" y="51157"/>
                    <a:pt x="27077" y="51157"/>
                  </a:cubicBezTo>
                  <a:cubicBezTo>
                    <a:pt x="31590" y="51157"/>
                    <a:pt x="34974" y="50026"/>
                    <a:pt x="37513" y="48048"/>
                  </a:cubicBezTo>
                  <a:cubicBezTo>
                    <a:pt x="40051" y="46069"/>
                    <a:pt x="41462" y="43526"/>
                    <a:pt x="42308" y="40699"/>
                  </a:cubicBezTo>
                  <a:lnTo>
                    <a:pt x="51333" y="42395"/>
                  </a:lnTo>
                  <a:cubicBezTo>
                    <a:pt x="49923" y="47765"/>
                    <a:pt x="47103" y="52005"/>
                    <a:pt x="42872" y="55114"/>
                  </a:cubicBezTo>
                  <a:cubicBezTo>
                    <a:pt x="38641" y="58223"/>
                    <a:pt x="33282" y="59636"/>
                    <a:pt x="26795" y="59636"/>
                  </a:cubicBezTo>
                  <a:cubicBezTo>
                    <a:pt x="18615" y="59636"/>
                    <a:pt x="12128" y="57092"/>
                    <a:pt x="7333" y="51722"/>
                  </a:cubicBezTo>
                  <a:cubicBezTo>
                    <a:pt x="2538" y="46352"/>
                    <a:pt x="0" y="39004"/>
                    <a:pt x="0" y="29677"/>
                  </a:cubicBezTo>
                  <a:cubicBezTo>
                    <a:pt x="0" y="24872"/>
                    <a:pt x="564" y="20632"/>
                    <a:pt x="1974" y="16958"/>
                  </a:cubicBezTo>
                  <a:cubicBezTo>
                    <a:pt x="3385" y="13284"/>
                    <a:pt x="5359" y="10175"/>
                    <a:pt x="7615" y="7631"/>
                  </a:cubicBezTo>
                  <a:cubicBezTo>
                    <a:pt x="9872" y="5087"/>
                    <a:pt x="12974" y="3109"/>
                    <a:pt x="16077" y="1978"/>
                  </a:cubicBezTo>
                  <a:cubicBezTo>
                    <a:pt x="19462" y="565"/>
                    <a:pt x="22846" y="0"/>
                    <a:pt x="26513" y="0"/>
                  </a:cubicBezTo>
                  <a:cubicBezTo>
                    <a:pt x="34128" y="0"/>
                    <a:pt x="40051" y="2544"/>
                    <a:pt x="44564" y="7349"/>
                  </a:cubicBezTo>
                  <a:cubicBezTo>
                    <a:pt x="49077" y="12153"/>
                    <a:pt x="51333" y="18937"/>
                    <a:pt x="51333" y="27698"/>
                  </a:cubicBezTo>
                  <a:lnTo>
                    <a:pt x="51333" y="31372"/>
                  </a:lnTo>
                  <a:close/>
                </a:path>
              </a:pathLst>
            </a:custGeom>
            <a:solidFill>
              <a:srgbClr val="7F8183"/>
            </a:solidFill>
            <a:ln w="2790" cap="flat">
              <a:noFill/>
              <a:prstDash val="solid"/>
              <a:miter/>
            </a:ln>
          </p:spPr>
          <p:txBody>
            <a:bodyPr rtlCol="0" anchor="ctr"/>
            <a:lstStyle/>
            <a:p>
              <a:endParaRPr lang="x-none" sz="1905"/>
            </a:p>
          </p:txBody>
        </p:sp>
        <p:sp>
          <p:nvSpPr>
            <p:cNvPr id="43" name="Freeform 42">
              <a:extLst>
                <a:ext uri="{FF2B5EF4-FFF2-40B4-BE49-F238E27FC236}">
                  <a16:creationId xmlns:a16="http://schemas.microsoft.com/office/drawing/2014/main" id="{96A39E2E-C03C-5343-AA11-E77BC8EC94E4}"/>
                </a:ext>
              </a:extLst>
            </p:cNvPr>
            <p:cNvSpPr/>
            <p:nvPr/>
          </p:nvSpPr>
          <p:spPr>
            <a:xfrm>
              <a:off x="1551747" y="6058612"/>
              <a:ext cx="49076" cy="57374"/>
            </a:xfrm>
            <a:custGeom>
              <a:avLst/>
              <a:gdLst>
                <a:gd name="connsiteX0" fmla="*/ 0 w 49076"/>
                <a:gd name="connsiteY0" fmla="*/ 57375 h 57374"/>
                <a:gd name="connsiteX1" fmla="*/ 0 w 49076"/>
                <a:gd name="connsiteY1" fmla="*/ 0 h 57374"/>
                <a:gd name="connsiteX2" fmla="*/ 9308 w 49076"/>
                <a:gd name="connsiteY2" fmla="*/ 0 h 57374"/>
                <a:gd name="connsiteX3" fmla="*/ 9308 w 49076"/>
                <a:gd name="connsiteY3" fmla="*/ 23459 h 57374"/>
                <a:gd name="connsiteX4" fmla="*/ 39769 w 49076"/>
                <a:gd name="connsiteY4" fmla="*/ 23459 h 57374"/>
                <a:gd name="connsiteX5" fmla="*/ 39769 w 49076"/>
                <a:gd name="connsiteY5" fmla="*/ 0 h 57374"/>
                <a:gd name="connsiteX6" fmla="*/ 49077 w 49076"/>
                <a:gd name="connsiteY6" fmla="*/ 0 h 57374"/>
                <a:gd name="connsiteX7" fmla="*/ 49077 w 49076"/>
                <a:gd name="connsiteY7" fmla="*/ 57375 h 57374"/>
                <a:gd name="connsiteX8" fmla="*/ 39769 w 49076"/>
                <a:gd name="connsiteY8" fmla="*/ 57375 h 57374"/>
                <a:gd name="connsiteX9" fmla="*/ 39769 w 49076"/>
                <a:gd name="connsiteY9" fmla="*/ 32503 h 57374"/>
                <a:gd name="connsiteX10" fmla="*/ 9308 w 49076"/>
                <a:gd name="connsiteY10" fmla="*/ 32503 h 57374"/>
                <a:gd name="connsiteX11" fmla="*/ 9308 w 49076"/>
                <a:gd name="connsiteY11" fmla="*/ 57375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076" h="57374">
                  <a:moveTo>
                    <a:pt x="0" y="57375"/>
                  </a:moveTo>
                  <a:lnTo>
                    <a:pt x="0" y="0"/>
                  </a:lnTo>
                  <a:lnTo>
                    <a:pt x="9308" y="0"/>
                  </a:lnTo>
                  <a:lnTo>
                    <a:pt x="9308" y="23459"/>
                  </a:lnTo>
                  <a:lnTo>
                    <a:pt x="39769" y="23459"/>
                  </a:lnTo>
                  <a:lnTo>
                    <a:pt x="39769" y="0"/>
                  </a:lnTo>
                  <a:lnTo>
                    <a:pt x="49077" y="0"/>
                  </a:lnTo>
                  <a:lnTo>
                    <a:pt x="49077" y="57375"/>
                  </a:lnTo>
                  <a:lnTo>
                    <a:pt x="39769" y="57375"/>
                  </a:lnTo>
                  <a:lnTo>
                    <a:pt x="39769" y="32503"/>
                  </a:lnTo>
                  <a:lnTo>
                    <a:pt x="9308" y="32503"/>
                  </a:lnTo>
                  <a:lnTo>
                    <a:pt x="9308" y="57375"/>
                  </a:lnTo>
                  <a:close/>
                </a:path>
              </a:pathLst>
            </a:custGeom>
            <a:solidFill>
              <a:srgbClr val="7F8183"/>
            </a:solidFill>
            <a:ln w="2790" cap="flat">
              <a:noFill/>
              <a:prstDash val="solid"/>
              <a:miter/>
            </a:ln>
          </p:spPr>
          <p:txBody>
            <a:bodyPr rtlCol="0" anchor="ctr"/>
            <a:lstStyle/>
            <a:p>
              <a:endParaRPr lang="x-none" sz="1905"/>
            </a:p>
          </p:txBody>
        </p:sp>
        <p:sp>
          <p:nvSpPr>
            <p:cNvPr id="44" name="Freeform 43">
              <a:extLst>
                <a:ext uri="{FF2B5EF4-FFF2-40B4-BE49-F238E27FC236}">
                  <a16:creationId xmlns:a16="http://schemas.microsoft.com/office/drawing/2014/main" id="{2FEF830E-047D-F44F-BD4C-7111A03A4967}"/>
                </a:ext>
              </a:extLst>
            </p:cNvPr>
            <p:cNvSpPr/>
            <p:nvPr/>
          </p:nvSpPr>
          <p:spPr>
            <a:xfrm>
              <a:off x="1618875" y="6058612"/>
              <a:ext cx="47948" cy="57374"/>
            </a:xfrm>
            <a:custGeom>
              <a:avLst/>
              <a:gdLst>
                <a:gd name="connsiteX0" fmla="*/ 10154 w 47948"/>
                <a:gd name="connsiteY0" fmla="*/ 57375 h 57374"/>
                <a:gd name="connsiteX1" fmla="*/ 0 w 47948"/>
                <a:gd name="connsiteY1" fmla="*/ 57375 h 57374"/>
                <a:gd name="connsiteX2" fmla="*/ 0 w 47948"/>
                <a:gd name="connsiteY2" fmla="*/ 0 h 57374"/>
                <a:gd name="connsiteX3" fmla="*/ 9026 w 47948"/>
                <a:gd name="connsiteY3" fmla="*/ 0 h 57374"/>
                <a:gd name="connsiteX4" fmla="*/ 9026 w 47948"/>
                <a:gd name="connsiteY4" fmla="*/ 44939 h 57374"/>
                <a:gd name="connsiteX5" fmla="*/ 37513 w 47948"/>
                <a:gd name="connsiteY5" fmla="*/ 0 h 57374"/>
                <a:gd name="connsiteX6" fmla="*/ 47949 w 47948"/>
                <a:gd name="connsiteY6" fmla="*/ 0 h 57374"/>
                <a:gd name="connsiteX7" fmla="*/ 47949 w 47948"/>
                <a:gd name="connsiteY7" fmla="*/ 57375 h 57374"/>
                <a:gd name="connsiteX8" fmla="*/ 38923 w 47948"/>
                <a:gd name="connsiteY8" fmla="*/ 57375 h 57374"/>
                <a:gd name="connsiteX9" fmla="*/ 38923 w 47948"/>
                <a:gd name="connsiteY9" fmla="*/ 12153 h 5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48" h="57374">
                  <a:moveTo>
                    <a:pt x="10154" y="57375"/>
                  </a:moveTo>
                  <a:lnTo>
                    <a:pt x="0" y="57375"/>
                  </a:lnTo>
                  <a:lnTo>
                    <a:pt x="0" y="0"/>
                  </a:lnTo>
                  <a:lnTo>
                    <a:pt x="9026" y="0"/>
                  </a:lnTo>
                  <a:lnTo>
                    <a:pt x="9026" y="44939"/>
                  </a:lnTo>
                  <a:lnTo>
                    <a:pt x="37513" y="0"/>
                  </a:lnTo>
                  <a:lnTo>
                    <a:pt x="47949" y="0"/>
                  </a:lnTo>
                  <a:lnTo>
                    <a:pt x="47949" y="57375"/>
                  </a:lnTo>
                  <a:lnTo>
                    <a:pt x="38923" y="57375"/>
                  </a:lnTo>
                  <a:lnTo>
                    <a:pt x="38923" y="12153"/>
                  </a:lnTo>
                  <a:close/>
                </a:path>
              </a:pathLst>
            </a:custGeom>
            <a:solidFill>
              <a:srgbClr val="7F8183"/>
            </a:solidFill>
            <a:ln w="2790" cap="flat">
              <a:noFill/>
              <a:prstDash val="solid"/>
              <a:miter/>
            </a:ln>
          </p:spPr>
          <p:txBody>
            <a:bodyPr rtlCol="0" anchor="ctr"/>
            <a:lstStyle/>
            <a:p>
              <a:endParaRPr lang="x-none" sz="1905"/>
            </a:p>
          </p:txBody>
        </p:sp>
        <p:sp>
          <p:nvSpPr>
            <p:cNvPr id="45" name="Freeform 44">
              <a:extLst>
                <a:ext uri="{FF2B5EF4-FFF2-40B4-BE49-F238E27FC236}">
                  <a16:creationId xmlns:a16="http://schemas.microsoft.com/office/drawing/2014/main" id="{C34DED5D-3D96-084B-84A2-FB271F0EB689}"/>
                </a:ext>
              </a:extLst>
            </p:cNvPr>
            <p:cNvSpPr/>
            <p:nvPr/>
          </p:nvSpPr>
          <p:spPr>
            <a:xfrm>
              <a:off x="1684875" y="6036849"/>
              <a:ext cx="48230" cy="79137"/>
            </a:xfrm>
            <a:custGeom>
              <a:avLst/>
              <a:gdLst>
                <a:gd name="connsiteX0" fmla="*/ 24256 w 48230"/>
                <a:gd name="connsiteY0" fmla="*/ 15545 h 79137"/>
                <a:gd name="connsiteX1" fmla="*/ 11282 w 48230"/>
                <a:gd name="connsiteY1" fmla="*/ 11305 h 79137"/>
                <a:gd name="connsiteX2" fmla="*/ 7051 w 48230"/>
                <a:gd name="connsiteY2" fmla="*/ 0 h 79137"/>
                <a:gd name="connsiteX3" fmla="*/ 14949 w 48230"/>
                <a:gd name="connsiteY3" fmla="*/ 0 h 79137"/>
                <a:gd name="connsiteX4" fmla="*/ 17487 w 48230"/>
                <a:gd name="connsiteY4" fmla="*/ 6218 h 79137"/>
                <a:gd name="connsiteX5" fmla="*/ 23974 w 48230"/>
                <a:gd name="connsiteY5" fmla="*/ 8479 h 79137"/>
                <a:gd name="connsiteX6" fmla="*/ 30462 w 48230"/>
                <a:gd name="connsiteY6" fmla="*/ 6218 h 79137"/>
                <a:gd name="connsiteX7" fmla="*/ 33000 w 48230"/>
                <a:gd name="connsiteY7" fmla="*/ 0 h 79137"/>
                <a:gd name="connsiteX8" fmla="*/ 40897 w 48230"/>
                <a:gd name="connsiteY8" fmla="*/ 0 h 79137"/>
                <a:gd name="connsiteX9" fmla="*/ 36667 w 48230"/>
                <a:gd name="connsiteY9" fmla="*/ 11305 h 79137"/>
                <a:gd name="connsiteX10" fmla="*/ 24256 w 48230"/>
                <a:gd name="connsiteY10" fmla="*/ 15545 h 79137"/>
                <a:gd name="connsiteX11" fmla="*/ 10154 w 48230"/>
                <a:gd name="connsiteY11" fmla="*/ 79138 h 79137"/>
                <a:gd name="connsiteX12" fmla="*/ 0 w 48230"/>
                <a:gd name="connsiteY12" fmla="*/ 79138 h 79137"/>
                <a:gd name="connsiteX13" fmla="*/ 0 w 48230"/>
                <a:gd name="connsiteY13" fmla="*/ 21763 h 79137"/>
                <a:gd name="connsiteX14" fmla="*/ 9308 w 48230"/>
                <a:gd name="connsiteY14" fmla="*/ 21763 h 79137"/>
                <a:gd name="connsiteX15" fmla="*/ 9308 w 48230"/>
                <a:gd name="connsiteY15" fmla="*/ 66702 h 79137"/>
                <a:gd name="connsiteX16" fmla="*/ 37795 w 48230"/>
                <a:gd name="connsiteY16" fmla="*/ 21763 h 79137"/>
                <a:gd name="connsiteX17" fmla="*/ 48231 w 48230"/>
                <a:gd name="connsiteY17" fmla="*/ 21763 h 79137"/>
                <a:gd name="connsiteX18" fmla="*/ 48231 w 48230"/>
                <a:gd name="connsiteY18" fmla="*/ 79138 h 79137"/>
                <a:gd name="connsiteX19" fmla="*/ 38923 w 48230"/>
                <a:gd name="connsiteY19" fmla="*/ 79138 h 79137"/>
                <a:gd name="connsiteX20" fmla="*/ 38923 w 48230"/>
                <a:gd name="connsiteY20" fmla="*/ 33916 h 79137"/>
                <a:gd name="connsiteX21" fmla="*/ 10154 w 48230"/>
                <a:gd name="connsiteY21" fmla="*/ 79138 h 7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230" h="79137">
                  <a:moveTo>
                    <a:pt x="24256" y="15545"/>
                  </a:moveTo>
                  <a:cubicBezTo>
                    <a:pt x="18333" y="15545"/>
                    <a:pt x="14103" y="14132"/>
                    <a:pt x="11282" y="11305"/>
                  </a:cubicBezTo>
                  <a:cubicBezTo>
                    <a:pt x="8462" y="8479"/>
                    <a:pt x="7051" y="4805"/>
                    <a:pt x="7051" y="0"/>
                  </a:cubicBezTo>
                  <a:lnTo>
                    <a:pt x="14949" y="0"/>
                  </a:lnTo>
                  <a:cubicBezTo>
                    <a:pt x="15231" y="2544"/>
                    <a:pt x="16077" y="4805"/>
                    <a:pt x="17487" y="6218"/>
                  </a:cubicBezTo>
                  <a:cubicBezTo>
                    <a:pt x="18897" y="7631"/>
                    <a:pt x="21154" y="8479"/>
                    <a:pt x="23974" y="8479"/>
                  </a:cubicBezTo>
                  <a:cubicBezTo>
                    <a:pt x="26795" y="8479"/>
                    <a:pt x="29051" y="7631"/>
                    <a:pt x="30462" y="6218"/>
                  </a:cubicBezTo>
                  <a:cubicBezTo>
                    <a:pt x="31872" y="4805"/>
                    <a:pt x="32718" y="2544"/>
                    <a:pt x="33000" y="0"/>
                  </a:cubicBezTo>
                  <a:lnTo>
                    <a:pt x="40897" y="0"/>
                  </a:lnTo>
                  <a:cubicBezTo>
                    <a:pt x="40615" y="4522"/>
                    <a:pt x="39205" y="8196"/>
                    <a:pt x="36667" y="11305"/>
                  </a:cubicBezTo>
                  <a:cubicBezTo>
                    <a:pt x="34128" y="14132"/>
                    <a:pt x="29897" y="15545"/>
                    <a:pt x="24256" y="15545"/>
                  </a:cubicBezTo>
                  <a:moveTo>
                    <a:pt x="10154" y="79138"/>
                  </a:moveTo>
                  <a:lnTo>
                    <a:pt x="0" y="79138"/>
                  </a:lnTo>
                  <a:lnTo>
                    <a:pt x="0" y="21763"/>
                  </a:lnTo>
                  <a:lnTo>
                    <a:pt x="9308" y="21763"/>
                  </a:lnTo>
                  <a:lnTo>
                    <a:pt x="9308" y="66702"/>
                  </a:lnTo>
                  <a:lnTo>
                    <a:pt x="37795" y="21763"/>
                  </a:lnTo>
                  <a:lnTo>
                    <a:pt x="48231" y="21763"/>
                  </a:lnTo>
                  <a:lnTo>
                    <a:pt x="48231" y="79138"/>
                  </a:lnTo>
                  <a:lnTo>
                    <a:pt x="38923" y="79138"/>
                  </a:lnTo>
                  <a:lnTo>
                    <a:pt x="38923" y="33916"/>
                  </a:lnTo>
                  <a:lnTo>
                    <a:pt x="10154" y="79138"/>
                  </a:lnTo>
                  <a:close/>
                </a:path>
              </a:pathLst>
            </a:custGeom>
            <a:solidFill>
              <a:srgbClr val="7F8183"/>
            </a:solidFill>
            <a:ln w="2790" cap="flat">
              <a:noFill/>
              <a:prstDash val="solid"/>
              <a:miter/>
            </a:ln>
          </p:spPr>
          <p:txBody>
            <a:bodyPr rtlCol="0" anchor="ctr"/>
            <a:lstStyle/>
            <a:p>
              <a:endParaRPr lang="x-none" sz="1905"/>
            </a:p>
          </p:txBody>
        </p:sp>
        <p:sp>
          <p:nvSpPr>
            <p:cNvPr id="46" name="Freeform 45">
              <a:extLst>
                <a:ext uri="{FF2B5EF4-FFF2-40B4-BE49-F238E27FC236}">
                  <a16:creationId xmlns:a16="http://schemas.microsoft.com/office/drawing/2014/main" id="{7D18C1D5-F984-8B4E-A0BF-38700579D3AC}"/>
                </a:ext>
              </a:extLst>
            </p:cNvPr>
            <p:cNvSpPr/>
            <p:nvPr/>
          </p:nvSpPr>
          <p:spPr>
            <a:xfrm>
              <a:off x="1260952" y="5466493"/>
              <a:ext cx="483718" cy="255784"/>
            </a:xfrm>
            <a:custGeom>
              <a:avLst/>
              <a:gdLst>
                <a:gd name="connsiteX0" fmla="*/ 483718 w 483718"/>
                <a:gd name="connsiteY0" fmla="*/ 0 h 255784"/>
                <a:gd name="connsiteX1" fmla="*/ 0 w 483718"/>
                <a:gd name="connsiteY1" fmla="*/ 212541 h 255784"/>
                <a:gd name="connsiteX2" fmla="*/ 0 w 483718"/>
                <a:gd name="connsiteY2" fmla="*/ 255784 h 255784"/>
                <a:gd name="connsiteX3" fmla="*/ 483718 w 483718"/>
                <a:gd name="connsiteY3" fmla="*/ 43243 h 255784"/>
              </a:gdLst>
              <a:ahLst/>
              <a:cxnLst>
                <a:cxn ang="0">
                  <a:pos x="connsiteX0" y="connsiteY0"/>
                </a:cxn>
                <a:cxn ang="0">
                  <a:pos x="connsiteX1" y="connsiteY1"/>
                </a:cxn>
                <a:cxn ang="0">
                  <a:pos x="connsiteX2" y="connsiteY2"/>
                </a:cxn>
                <a:cxn ang="0">
                  <a:pos x="connsiteX3" y="connsiteY3"/>
                </a:cxn>
              </a:cxnLst>
              <a:rect l="l" t="t" r="r" b="b"/>
              <a:pathLst>
                <a:path w="483718" h="255784">
                  <a:moveTo>
                    <a:pt x="483718" y="0"/>
                  </a:moveTo>
                  <a:lnTo>
                    <a:pt x="0" y="212541"/>
                  </a:lnTo>
                  <a:lnTo>
                    <a:pt x="0" y="255784"/>
                  </a:lnTo>
                  <a:lnTo>
                    <a:pt x="483718" y="43243"/>
                  </a:lnTo>
                  <a:close/>
                </a:path>
              </a:pathLst>
            </a:custGeom>
            <a:solidFill>
              <a:srgbClr val="E22B26"/>
            </a:solidFill>
            <a:ln w="2790" cap="flat">
              <a:noFill/>
              <a:prstDash val="solid"/>
              <a:miter/>
            </a:ln>
          </p:spPr>
          <p:txBody>
            <a:bodyPr rtlCol="0" anchor="ctr"/>
            <a:lstStyle/>
            <a:p>
              <a:endParaRPr lang="x-none" sz="1905"/>
            </a:p>
          </p:txBody>
        </p:sp>
      </p:grpSp>
      <p:sp>
        <p:nvSpPr>
          <p:cNvPr id="9" name="Text Placeholder 8">
            <a:extLst>
              <a:ext uri="{FF2B5EF4-FFF2-40B4-BE49-F238E27FC236}">
                <a16:creationId xmlns:a16="http://schemas.microsoft.com/office/drawing/2014/main" id="{048B11A7-F13B-A341-B3D6-5CBDA7491E37}"/>
              </a:ext>
            </a:extLst>
          </p:cNvPr>
          <p:cNvSpPr>
            <a:spLocks noGrp="1"/>
          </p:cNvSpPr>
          <p:nvPr>
            <p:ph type="body" sz="quarter" idx="19" hasCustomPrompt="1"/>
          </p:nvPr>
        </p:nvSpPr>
        <p:spPr>
          <a:xfrm>
            <a:off x="3196710" y="5774789"/>
            <a:ext cx="1871252" cy="1008683"/>
          </a:xfrm>
          <a:prstGeom prst="rect">
            <a:avLst/>
          </a:prstGeom>
        </p:spPr>
        <p:txBody>
          <a:bodyPr/>
          <a:lstStyle>
            <a:lvl1pPr>
              <a:lnSpc>
                <a:spcPct val="150000"/>
              </a:lnSpc>
              <a:spcBef>
                <a:spcPts val="0"/>
              </a:spcBef>
              <a:buFontTx/>
              <a:buNone/>
              <a:defRPr lang="en-GB" sz="1058" b="0" i="0" kern="1200" dirty="0" smtClean="0">
                <a:solidFill>
                  <a:srgbClr val="7F8183"/>
                </a:solidFill>
                <a:latin typeface="Verdana" panose="020B0604030504040204" pitchFamily="34" charset="0"/>
                <a:ea typeface="Verdana" panose="020B0604030504040204" pitchFamily="34" charset="0"/>
                <a:cs typeface="Verdana" panose="020B0604030504040204" pitchFamily="34" charset="0"/>
              </a:defRPr>
            </a:lvl1pPr>
            <a:lvl2pPr>
              <a:buFontTx/>
              <a:buNone/>
              <a:defRPr lang="en-GB" sz="1058" b="0" i="0" kern="1200" dirty="0" smtClean="0">
                <a:solidFill>
                  <a:srgbClr val="7F8183"/>
                </a:solidFill>
                <a:latin typeface="Verdana" panose="020B0604030504040204" pitchFamily="34" charset="0"/>
                <a:ea typeface="Verdana" panose="020B0604030504040204" pitchFamily="34" charset="0"/>
                <a:cs typeface="Verdana" panose="020B0604030504040204" pitchFamily="34" charset="0"/>
              </a:defRPr>
            </a:lvl2pPr>
            <a:lvl3pPr>
              <a:buFontTx/>
              <a:buNone/>
              <a:defRPr lang="en-GB" sz="1058" b="0" i="0" kern="1200" dirty="0" smtClean="0">
                <a:solidFill>
                  <a:srgbClr val="7F8183"/>
                </a:solidFill>
                <a:latin typeface="Verdana" panose="020B0604030504040204" pitchFamily="34" charset="0"/>
                <a:ea typeface="Verdana" panose="020B0604030504040204" pitchFamily="34" charset="0"/>
                <a:cs typeface="Verdana" panose="020B0604030504040204" pitchFamily="34" charset="0"/>
              </a:defRPr>
            </a:lvl3pPr>
          </a:lstStyle>
          <a:p>
            <a:pPr lvl="0"/>
            <a:r>
              <a:rPr lang="en-GB" dirty="0"/>
              <a:t>(495) 231-77-71</a:t>
            </a:r>
          </a:p>
          <a:p>
            <a:pPr lvl="0"/>
            <a:r>
              <a:rPr lang="en-GB" dirty="0" err="1"/>
              <a:t>press@omk.ru</a:t>
            </a:r>
            <a:endParaRPr lang="en-GB" dirty="0"/>
          </a:p>
          <a:p>
            <a:pPr lvl="0"/>
            <a:r>
              <a:rPr lang="en-GB" dirty="0" err="1"/>
              <a:t>www.omk.ru</a:t>
            </a:r>
            <a:endParaRPr lang="en-GB" dirty="0"/>
          </a:p>
        </p:txBody>
      </p:sp>
    </p:spTree>
    <p:extLst>
      <p:ext uri="{BB962C8B-B14F-4D97-AF65-F5344CB8AC3E}">
        <p14:creationId xmlns:p14="http://schemas.microsoft.com/office/powerpoint/2010/main" val="3603506512"/>
      </p:ext>
    </p:extLst>
  </p:cSld>
  <p:clrMapOvr>
    <a:masterClrMapping/>
  </p:clrMapOvr>
  <p:transition>
    <p:fade/>
  </p:transition>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19 Сопровождающий текст">
    <p:bg>
      <p:bgPr>
        <a:solidFill>
          <a:srgbClr val="FFFFFF"/>
        </a:solidFill>
        <a:effectLst/>
      </p:bgPr>
    </p:bg>
    <p:spTree>
      <p:nvGrpSpPr>
        <p:cNvPr id="1" name=""/>
        <p:cNvGrpSpPr/>
        <p:nvPr/>
      </p:nvGrpSpPr>
      <p:grpSpPr>
        <a:xfrm>
          <a:off x="0" y="0"/>
          <a:ext cx="0" cy="0"/>
          <a:chOff x="0" y="0"/>
          <a:chExt cx="0" cy="0"/>
        </a:xfrm>
      </p:grpSpPr>
      <p:sp>
        <p:nvSpPr>
          <p:cNvPr id="7" name="Text Placeholder 8">
            <a:extLst>
              <a:ext uri="{FF2B5EF4-FFF2-40B4-BE49-F238E27FC236}">
                <a16:creationId xmlns:a16="http://schemas.microsoft.com/office/drawing/2014/main" id="{BEB572FF-CA06-4849-8D94-3C3994A45B70}"/>
              </a:ext>
            </a:extLst>
          </p:cNvPr>
          <p:cNvSpPr>
            <a:spLocks noGrp="1"/>
          </p:cNvSpPr>
          <p:nvPr>
            <p:ph type="body" sz="quarter" idx="11" hasCustomPrompt="1"/>
          </p:nvPr>
        </p:nvSpPr>
        <p:spPr>
          <a:xfrm>
            <a:off x="381316" y="1278514"/>
            <a:ext cx="11429370" cy="1029869"/>
          </a:xfrm>
          <a:prstGeom prst="rect">
            <a:avLst/>
          </a:prstGeom>
        </p:spPr>
        <p:txBody>
          <a:bodyPr/>
          <a:lstStyle>
            <a:lvl1pPr marL="0" indent="0">
              <a:buFontTx/>
              <a:buNone/>
              <a:defRPr sz="2963"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Заголовок слайда</a:t>
            </a:r>
            <a:endParaRPr lang="x-none" dirty="0"/>
          </a:p>
        </p:txBody>
      </p:sp>
      <p:sp>
        <p:nvSpPr>
          <p:cNvPr id="8" name="Text Placeholder 8">
            <a:extLst>
              <a:ext uri="{FF2B5EF4-FFF2-40B4-BE49-F238E27FC236}">
                <a16:creationId xmlns:a16="http://schemas.microsoft.com/office/drawing/2014/main" id="{252C4B7C-9670-DF42-BC56-B170DECD75DC}"/>
              </a:ext>
            </a:extLst>
          </p:cNvPr>
          <p:cNvSpPr>
            <a:spLocks noGrp="1"/>
          </p:cNvSpPr>
          <p:nvPr>
            <p:ph type="body" sz="quarter" idx="27" hasCustomPrompt="1"/>
          </p:nvPr>
        </p:nvSpPr>
        <p:spPr>
          <a:xfrm>
            <a:off x="388590" y="2477729"/>
            <a:ext cx="11429370" cy="3842056"/>
          </a:xfrm>
          <a:prstGeom prst="rect">
            <a:avLst/>
          </a:prstGeom>
        </p:spPr>
        <p:txBody>
          <a:bodyPr/>
          <a:lstStyle>
            <a:lvl1pPr marL="0" indent="0">
              <a:buFontTx/>
              <a:buNone/>
              <a:defRPr sz="1376"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Текст слайда</a:t>
            </a:r>
            <a:endParaRPr lang="x-none" dirty="0"/>
          </a:p>
        </p:txBody>
      </p:sp>
      <p:cxnSp>
        <p:nvCxnSpPr>
          <p:cNvPr id="10" name="Straight Connector 9">
            <a:extLst>
              <a:ext uri="{FF2B5EF4-FFF2-40B4-BE49-F238E27FC236}">
                <a16:creationId xmlns:a16="http://schemas.microsoft.com/office/drawing/2014/main" id="{E508586F-874B-374D-83C3-AE2D248221F4}"/>
              </a:ext>
            </a:extLst>
          </p:cNvPr>
          <p:cNvCxnSpPr>
            <a:cxnSpLocks/>
          </p:cNvCxnSpPr>
          <p:nvPr userDrawn="1"/>
        </p:nvCxnSpPr>
        <p:spPr>
          <a:xfrm>
            <a:off x="381316" y="376804"/>
            <a:ext cx="11429370"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11" name="Text Placeholder 13">
            <a:extLst>
              <a:ext uri="{FF2B5EF4-FFF2-40B4-BE49-F238E27FC236}">
                <a16:creationId xmlns:a16="http://schemas.microsoft.com/office/drawing/2014/main" id="{598649D2-E782-5D48-8FCD-B39D7C72EF41}"/>
              </a:ext>
            </a:extLst>
          </p:cNvPr>
          <p:cNvSpPr>
            <a:spLocks noGrp="1"/>
          </p:cNvSpPr>
          <p:nvPr>
            <p:ph type="body" sz="quarter" idx="14" hasCustomPrompt="1"/>
          </p:nvPr>
        </p:nvSpPr>
        <p:spPr>
          <a:xfrm>
            <a:off x="295484" y="393664"/>
            <a:ext cx="2590254" cy="288126"/>
          </a:xfrm>
          <a:prstGeom prst="rect">
            <a:avLst/>
          </a:prstGeom>
        </p:spPr>
        <p:txBody>
          <a:bodyPr/>
          <a:lstStyle>
            <a:lvl1pPr marL="0" indent="0" algn="l">
              <a:buFontTx/>
              <a:buNone/>
              <a:defRPr sz="1164"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Заголовок раздела</a:t>
            </a:r>
          </a:p>
        </p:txBody>
      </p:sp>
      <p:sp>
        <p:nvSpPr>
          <p:cNvPr id="13" name="Slide Number Placeholder 1">
            <a:extLst>
              <a:ext uri="{FF2B5EF4-FFF2-40B4-BE49-F238E27FC236}">
                <a16:creationId xmlns:a16="http://schemas.microsoft.com/office/drawing/2014/main" id="{9C321D37-B46B-774E-8AD4-106329636C69}"/>
              </a:ext>
            </a:extLst>
          </p:cNvPr>
          <p:cNvSpPr txBox="1">
            <a:spLocks/>
          </p:cNvSpPr>
          <p:nvPr userDrawn="1"/>
        </p:nvSpPr>
        <p:spPr>
          <a:xfrm>
            <a:off x="11108818" y="395812"/>
            <a:ext cx="701866" cy="288125"/>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164"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164"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
        <p:nvSpPr>
          <p:cNvPr id="14" name="Text Placeholder 13">
            <a:extLst>
              <a:ext uri="{FF2B5EF4-FFF2-40B4-BE49-F238E27FC236}">
                <a16:creationId xmlns:a16="http://schemas.microsoft.com/office/drawing/2014/main" id="{875E4949-D1C2-3648-90A7-64A1873880BB}"/>
              </a:ext>
            </a:extLst>
          </p:cNvPr>
          <p:cNvSpPr>
            <a:spLocks noGrp="1"/>
          </p:cNvSpPr>
          <p:nvPr>
            <p:ph type="body" sz="quarter" idx="25" hasCustomPrompt="1"/>
          </p:nvPr>
        </p:nvSpPr>
        <p:spPr>
          <a:xfrm>
            <a:off x="10020017" y="6319801"/>
            <a:ext cx="1790667" cy="374160"/>
          </a:xfrm>
          <a:prstGeom prst="rect">
            <a:avLst/>
          </a:prstGeom>
        </p:spPr>
        <p:txBody>
          <a:bodyPr/>
          <a:lstStyle>
            <a:lvl1pPr marL="0" indent="0" algn="r">
              <a:buFontTx/>
              <a:buNone/>
              <a:defRPr sz="845"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Название презентации</a:t>
            </a:r>
            <a:endParaRPr lang="x-none" dirty="0"/>
          </a:p>
        </p:txBody>
      </p:sp>
    </p:spTree>
    <p:extLst>
      <p:ext uri="{BB962C8B-B14F-4D97-AF65-F5344CB8AC3E}">
        <p14:creationId xmlns:p14="http://schemas.microsoft.com/office/powerpoint/2010/main" val="2108781905"/>
      </p:ext>
    </p:extLst>
  </p:cSld>
  <p:clrMapOvr>
    <a:masterClrMapping/>
  </p:clrMapOvr>
  <p:transition>
    <p:fade/>
  </p:transition>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2.14 Фото и текст">
    <p:bg>
      <p:bgPr>
        <a:solidFill>
          <a:srgbClr val="FFFFFF"/>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6DB3FB19-848E-CB42-A250-50BFE3733C90}"/>
              </a:ext>
            </a:extLst>
          </p:cNvPr>
          <p:cNvSpPr>
            <a:spLocks noGrp="1"/>
          </p:cNvSpPr>
          <p:nvPr>
            <p:ph type="pic" sz="quarter" idx="21" hasCustomPrompt="1"/>
          </p:nvPr>
        </p:nvSpPr>
        <p:spPr>
          <a:xfrm>
            <a:off x="8115121" y="1256685"/>
            <a:ext cx="3689661" cy="5219923"/>
          </a:xfrm>
          <a:prstGeom prst="rect">
            <a:avLst/>
          </a:prstGeom>
        </p:spPr>
        <p:txBody>
          <a:bodyPr anchor="ctr"/>
          <a:lstStyle>
            <a:lvl1pPr algn="ctr">
              <a:buFontTx/>
              <a:buNone/>
              <a:defRPr sz="3173"/>
            </a:lvl1pPr>
          </a:lstStyle>
          <a:p>
            <a:r>
              <a:rPr lang="ru-RU" dirty="0"/>
              <a:t>Место для фото</a:t>
            </a:r>
            <a:endParaRPr lang="x-none" dirty="0"/>
          </a:p>
        </p:txBody>
      </p:sp>
      <p:sp>
        <p:nvSpPr>
          <p:cNvPr id="12" name="Text Placeholder 8">
            <a:extLst>
              <a:ext uri="{FF2B5EF4-FFF2-40B4-BE49-F238E27FC236}">
                <a16:creationId xmlns:a16="http://schemas.microsoft.com/office/drawing/2014/main" id="{0B784A6F-340A-2941-87C9-A4B20857D781}"/>
              </a:ext>
            </a:extLst>
          </p:cNvPr>
          <p:cNvSpPr>
            <a:spLocks noGrp="1"/>
          </p:cNvSpPr>
          <p:nvPr>
            <p:ph type="body" sz="quarter" idx="11" hasCustomPrompt="1"/>
          </p:nvPr>
        </p:nvSpPr>
        <p:spPr>
          <a:xfrm>
            <a:off x="1180902" y="1256689"/>
            <a:ext cx="6774084" cy="1029869"/>
          </a:xfrm>
          <a:prstGeom prst="rect">
            <a:avLst/>
          </a:prstGeom>
        </p:spPr>
        <p:txBody>
          <a:bodyPr/>
          <a:lstStyle>
            <a:lvl1pPr marL="0" indent="0">
              <a:buFontTx/>
              <a:buNone/>
              <a:defRPr sz="3702"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Текст слайда</a:t>
            </a:r>
            <a:endParaRPr lang="x-none" dirty="0"/>
          </a:p>
        </p:txBody>
      </p:sp>
      <p:sp>
        <p:nvSpPr>
          <p:cNvPr id="13" name="Text Placeholder 8">
            <a:extLst>
              <a:ext uri="{FF2B5EF4-FFF2-40B4-BE49-F238E27FC236}">
                <a16:creationId xmlns:a16="http://schemas.microsoft.com/office/drawing/2014/main" id="{2C246C5F-8780-7248-AE97-EF179949CD2B}"/>
              </a:ext>
            </a:extLst>
          </p:cNvPr>
          <p:cNvSpPr>
            <a:spLocks noGrp="1"/>
          </p:cNvSpPr>
          <p:nvPr>
            <p:ph type="body" sz="quarter" idx="27" hasCustomPrompt="1"/>
          </p:nvPr>
        </p:nvSpPr>
        <p:spPr>
          <a:xfrm>
            <a:off x="1188178" y="2483683"/>
            <a:ext cx="6774084" cy="2964751"/>
          </a:xfrm>
          <a:prstGeom prst="rect">
            <a:avLst/>
          </a:prstGeom>
        </p:spPr>
        <p:txBody>
          <a:bodyPr/>
          <a:lstStyle>
            <a:lvl1pPr marL="0" indent="0">
              <a:buFontTx/>
              <a:buNone/>
              <a:defRPr sz="1693" b="0" i="0">
                <a:solidFill>
                  <a:srgbClr val="19212C"/>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Текст слайда</a:t>
            </a:r>
            <a:endParaRPr lang="x-none" dirty="0"/>
          </a:p>
        </p:txBody>
      </p:sp>
      <p:cxnSp>
        <p:nvCxnSpPr>
          <p:cNvPr id="14" name="Straight Connector 13">
            <a:extLst>
              <a:ext uri="{FF2B5EF4-FFF2-40B4-BE49-F238E27FC236}">
                <a16:creationId xmlns:a16="http://schemas.microsoft.com/office/drawing/2014/main" id="{65C7CCEA-8174-CC41-9238-A0D3EA01F3F5}"/>
              </a:ext>
            </a:extLst>
          </p:cNvPr>
          <p:cNvCxnSpPr>
            <a:cxnSpLocks/>
          </p:cNvCxnSpPr>
          <p:nvPr userDrawn="1"/>
        </p:nvCxnSpPr>
        <p:spPr>
          <a:xfrm>
            <a:off x="381316" y="376804"/>
            <a:ext cx="11429371" cy="0"/>
          </a:xfrm>
          <a:prstGeom prst="line">
            <a:avLst/>
          </a:prstGeom>
          <a:ln w="19050">
            <a:solidFill>
              <a:srgbClr val="D1D5DA"/>
            </a:solidFill>
          </a:ln>
        </p:spPr>
        <p:style>
          <a:lnRef idx="1">
            <a:schemeClr val="accent1"/>
          </a:lnRef>
          <a:fillRef idx="0">
            <a:schemeClr val="accent1"/>
          </a:fillRef>
          <a:effectRef idx="0">
            <a:schemeClr val="accent1"/>
          </a:effectRef>
          <a:fontRef idx="minor">
            <a:schemeClr val="tx1"/>
          </a:fontRef>
        </p:style>
      </p:cxnSp>
      <p:sp>
        <p:nvSpPr>
          <p:cNvPr id="15" name="Text Placeholder 13">
            <a:extLst>
              <a:ext uri="{FF2B5EF4-FFF2-40B4-BE49-F238E27FC236}">
                <a16:creationId xmlns:a16="http://schemas.microsoft.com/office/drawing/2014/main" id="{4845C9DD-5C7A-874F-8368-FFFC6465A620}"/>
              </a:ext>
            </a:extLst>
          </p:cNvPr>
          <p:cNvSpPr>
            <a:spLocks noGrp="1"/>
          </p:cNvSpPr>
          <p:nvPr>
            <p:ph type="body" sz="quarter" idx="14" hasCustomPrompt="1"/>
          </p:nvPr>
        </p:nvSpPr>
        <p:spPr>
          <a:xfrm>
            <a:off x="295484" y="393666"/>
            <a:ext cx="2590255" cy="288127"/>
          </a:xfrm>
          <a:prstGeom prst="rect">
            <a:avLst/>
          </a:prstGeom>
        </p:spPr>
        <p:txBody>
          <a:bodyPr/>
          <a:lstStyle>
            <a:lvl1pPr marL="0" indent="0" algn="l">
              <a:buFontTx/>
              <a:buNone/>
              <a:defRPr sz="1480" b="0" i="0">
                <a:solidFill>
                  <a:srgbClr val="7F8183"/>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Заголовок раздела</a:t>
            </a:r>
          </a:p>
        </p:txBody>
      </p:sp>
      <p:sp>
        <p:nvSpPr>
          <p:cNvPr id="18" name="Text Placeholder 13">
            <a:extLst>
              <a:ext uri="{FF2B5EF4-FFF2-40B4-BE49-F238E27FC236}">
                <a16:creationId xmlns:a16="http://schemas.microsoft.com/office/drawing/2014/main" id="{0591D277-AA9C-EC41-A110-AE8469C88BF9}"/>
              </a:ext>
            </a:extLst>
          </p:cNvPr>
          <p:cNvSpPr>
            <a:spLocks noGrp="1"/>
          </p:cNvSpPr>
          <p:nvPr>
            <p:ph type="body" sz="quarter" idx="25" hasCustomPrompt="1"/>
          </p:nvPr>
        </p:nvSpPr>
        <p:spPr>
          <a:xfrm>
            <a:off x="10020021" y="6319802"/>
            <a:ext cx="1790669" cy="374160"/>
          </a:xfrm>
          <a:prstGeom prst="rect">
            <a:avLst/>
          </a:prstGeom>
        </p:spPr>
        <p:txBody>
          <a:bodyPr/>
          <a:lstStyle>
            <a:lvl1pPr marL="0" indent="0" algn="r">
              <a:buFontTx/>
              <a:buNone/>
              <a:defRPr sz="1058" b="0" i="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ru-RU" dirty="0"/>
              <a:t>Название презентации</a:t>
            </a:r>
            <a:endParaRPr lang="x-none" dirty="0"/>
          </a:p>
        </p:txBody>
      </p:sp>
      <p:sp>
        <p:nvSpPr>
          <p:cNvPr id="19" name="Slide Number Placeholder 1">
            <a:extLst>
              <a:ext uri="{FF2B5EF4-FFF2-40B4-BE49-F238E27FC236}">
                <a16:creationId xmlns:a16="http://schemas.microsoft.com/office/drawing/2014/main" id="{21F144B7-C152-F244-9A00-75D92A833EF2}"/>
              </a:ext>
            </a:extLst>
          </p:cNvPr>
          <p:cNvSpPr txBox="1">
            <a:spLocks/>
          </p:cNvSpPr>
          <p:nvPr userDrawn="1"/>
        </p:nvSpPr>
        <p:spPr>
          <a:xfrm>
            <a:off x="11108820" y="395812"/>
            <a:ext cx="701867" cy="288126"/>
          </a:xfrm>
          <a:prstGeom prst="rect">
            <a:avLst/>
          </a:prstGeom>
        </p:spPr>
        <p:txBody>
          <a:bodyPr vert="horz" lIns="0" tIns="0" rIns="0" bIns="0" rtlCol="0" anchor="ctr"/>
          <a:lstStyle>
            <a:defPPr>
              <a:defRPr lang="ru-RU"/>
            </a:defPPr>
            <a:lvl1pPr marL="0" algn="ctr" defTabSz="914400" rtl="0" eaLnBrk="1" latinLnBrk="0" hangingPunct="1">
              <a:defRPr sz="1000" b="1" i="0" kern="1200">
                <a:solidFill>
                  <a:schemeClr val="tx1">
                    <a:alpha val="50000"/>
                  </a:schemeClr>
                </a:solidFill>
                <a:latin typeface="Arial Black" charset="0"/>
                <a:ea typeface="Arial Black" charset="0"/>
                <a:cs typeface="Arial Black"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BEB4B9D-C361-924F-82A2-CAE0D269FBBD}" type="slidenum">
              <a:rPr lang="en-US" sz="1480" b="0" i="0" smtClean="0">
                <a:solidFill>
                  <a:srgbClr val="E92721"/>
                </a:solidFill>
                <a:latin typeface="Verdana" panose="020B0604030504040204" pitchFamily="34" charset="0"/>
                <a:ea typeface="Verdana" panose="020B0604030504040204" pitchFamily="34" charset="0"/>
                <a:cs typeface="Verdana" panose="020B0604030504040204" pitchFamily="34" charset="0"/>
              </a:rPr>
              <a:pPr algn="r"/>
              <a:t>‹#›</a:t>
            </a:fld>
            <a:endParaRPr lang="en-US" sz="1480" b="0" i="0" dirty="0">
              <a:solidFill>
                <a:srgbClr val="E92721"/>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49882790"/>
      </p:ext>
    </p:extLst>
  </p:cSld>
  <p:clrMapOvr>
    <a:masterClrMapping/>
  </p:clrMapOvr>
  <p:transition>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theme" Target="../theme/theme2.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heme" Target="../theme/theme3.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4.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image" Target="../media/image1.emf"/><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oleObject" Target="../embeddings/oleObject2.bin"/><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tags" Target="../tags/tag2.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vmlDrawing" Target="../drawings/vmlDrawing2.v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43B508C0-531E-413A-8F7C-B38C03C8EEC5}"/>
              </a:ext>
            </a:extLst>
          </p:cNvPr>
          <p:cNvGraphicFramePr>
            <a:graphicFrameLocks noChangeAspect="1"/>
          </p:cNvGraphicFramePr>
          <p:nvPr userDrawn="1">
            <p:custDataLst>
              <p:tags r:id="rId23"/>
            </p:custDataLst>
            <p:extLst/>
          </p:nvPr>
        </p:nvGraphicFramePr>
        <p:xfrm>
          <a:off x="1680" y="1680"/>
          <a:ext cx="1680" cy="1681"/>
        </p:xfrm>
        <a:graphic>
          <a:graphicData uri="http://schemas.openxmlformats.org/presentationml/2006/ole">
            <mc:AlternateContent xmlns:mc="http://schemas.openxmlformats.org/markup-compatibility/2006">
              <mc:Choice xmlns:v="urn:schemas-microsoft-com:vml" Requires="v">
                <p:oleObj spid="_x0000_s1072" name="Слайд think-cell" r:id="rId24" imgW="270" imgH="270" progId="TCLayout.ActiveDocument.1">
                  <p:embed/>
                </p:oleObj>
              </mc:Choice>
              <mc:Fallback>
                <p:oleObj name="Слайд think-cell" r:id="rId24" imgW="270" imgH="270" progId="TCLayout.ActiveDocument.1">
                  <p:embed/>
                  <p:pic>
                    <p:nvPicPr>
                      <p:cNvPr id="2" name="Объект 1" hidden="1">
                        <a:extLst>
                          <a:ext uri="{FF2B5EF4-FFF2-40B4-BE49-F238E27FC236}">
                            <a16:creationId xmlns:a16="http://schemas.microsoft.com/office/drawing/2014/main" id="{43B508C0-531E-413A-8F7C-B38C03C8EEC5}"/>
                          </a:ext>
                        </a:extLst>
                      </p:cNvPr>
                      <p:cNvPicPr/>
                      <p:nvPr/>
                    </p:nvPicPr>
                    <p:blipFill>
                      <a:blip r:embed="rId25"/>
                      <a:stretch>
                        <a:fillRect/>
                      </a:stretch>
                    </p:blipFill>
                    <p:spPr>
                      <a:xfrm>
                        <a:off x="1680" y="1680"/>
                        <a:ext cx="1680" cy="1681"/>
                      </a:xfrm>
                      <a:prstGeom prst="rect">
                        <a:avLst/>
                      </a:prstGeom>
                    </p:spPr>
                  </p:pic>
                </p:oleObj>
              </mc:Fallback>
            </mc:AlternateContent>
          </a:graphicData>
        </a:graphic>
      </p:graphicFrame>
      <p:sp>
        <p:nvSpPr>
          <p:cNvPr id="42" name="Footer Placeholder 41"/>
          <p:cNvSpPr>
            <a:spLocks noGrp="1"/>
          </p:cNvSpPr>
          <p:nvPr>
            <p:ph type="ftr" sz="quarter" idx="3"/>
          </p:nvPr>
        </p:nvSpPr>
        <p:spPr>
          <a:xfrm>
            <a:off x="381315" y="6858001"/>
            <a:ext cx="3619388" cy="381382"/>
          </a:xfrm>
          <a:prstGeom prst="rect">
            <a:avLst/>
          </a:prstGeom>
        </p:spPr>
        <p:txBody>
          <a:bodyPr vert="horz" lIns="91440" tIns="45720" rIns="91440" bIns="45720" rtlCol="0" anchor="ctr"/>
          <a:lstStyle>
            <a:lvl1pPr algn="ctr">
              <a:defRPr sz="1270">
                <a:solidFill>
                  <a:schemeClr val="bg1">
                    <a:lumMod val="50000"/>
                  </a:schemeClr>
                </a:solidFill>
                <a:latin typeface="Arial" charset="0"/>
                <a:ea typeface="Arial" charset="0"/>
                <a:cs typeface="Arial" charset="0"/>
              </a:defRPr>
            </a:lvl1pPr>
          </a:lstStyle>
          <a:p>
            <a:endParaRPr lang="ru-RU"/>
          </a:p>
        </p:txBody>
      </p:sp>
      <p:sp>
        <p:nvSpPr>
          <p:cNvPr id="45" name="Date Placeholder 44"/>
          <p:cNvSpPr>
            <a:spLocks noGrp="1"/>
          </p:cNvSpPr>
          <p:nvPr>
            <p:ph type="dt" sz="half" idx="2"/>
          </p:nvPr>
        </p:nvSpPr>
        <p:spPr>
          <a:xfrm>
            <a:off x="4191107" y="6857999"/>
            <a:ext cx="2667525" cy="381384"/>
          </a:xfrm>
          <a:prstGeom prst="rect">
            <a:avLst/>
          </a:prstGeom>
        </p:spPr>
        <p:txBody>
          <a:bodyPr vert="horz" lIns="91440" tIns="45720" rIns="91440" bIns="45720" rtlCol="0" anchor="ctr"/>
          <a:lstStyle>
            <a:lvl1pPr algn="l">
              <a:defRPr sz="1270">
                <a:solidFill>
                  <a:schemeClr val="bg1">
                    <a:lumMod val="50000"/>
                  </a:schemeClr>
                </a:solidFill>
                <a:latin typeface="Arial" charset="0"/>
                <a:ea typeface="Arial" charset="0"/>
                <a:cs typeface="Arial" charset="0"/>
              </a:defRPr>
            </a:lvl1pPr>
          </a:lstStyle>
          <a:p>
            <a:endParaRPr lang="ru-RU"/>
          </a:p>
        </p:txBody>
      </p:sp>
      <p:sp>
        <p:nvSpPr>
          <p:cNvPr id="46" name="Slide Number Placeholder 45"/>
          <p:cNvSpPr>
            <a:spLocks noGrp="1"/>
          </p:cNvSpPr>
          <p:nvPr>
            <p:ph type="sldNum" sz="quarter" idx="4"/>
          </p:nvPr>
        </p:nvSpPr>
        <p:spPr>
          <a:xfrm>
            <a:off x="10858238" y="6857999"/>
            <a:ext cx="762631" cy="381384"/>
          </a:xfrm>
          <a:prstGeom prst="rect">
            <a:avLst/>
          </a:prstGeom>
        </p:spPr>
        <p:txBody>
          <a:bodyPr vert="horz" lIns="91440" tIns="45720" rIns="91440" bIns="45720" rtlCol="0" anchor="ctr"/>
          <a:lstStyle>
            <a:lvl1pPr algn="ctr">
              <a:defRPr sz="1270">
                <a:solidFill>
                  <a:schemeClr val="bg1">
                    <a:lumMod val="50000"/>
                  </a:schemeClr>
                </a:solidFill>
                <a:latin typeface="Arial" charset="0"/>
                <a:ea typeface="Arial" charset="0"/>
                <a:cs typeface="Arial" charset="0"/>
              </a:defRPr>
            </a:lvl1pPr>
          </a:lstStyle>
          <a:p>
            <a:fld id="{41EDA0AC-921D-4240-B96C-50D453752670}" type="slidenum">
              <a:rPr lang="ru-RU" smtClean="0"/>
              <a:pPr/>
              <a:t>‹#›</a:t>
            </a:fld>
            <a:endParaRPr lang="ru-RU"/>
          </a:p>
        </p:txBody>
      </p:sp>
    </p:spTree>
    <p:extLst>
      <p:ext uri="{BB962C8B-B14F-4D97-AF65-F5344CB8AC3E}">
        <p14:creationId xmlns:p14="http://schemas.microsoft.com/office/powerpoint/2010/main" val="13010247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Lst>
  <p:transition>
    <p:fade/>
  </p:transition>
  <p:hf hdr="0" ftr="0" dt="0"/>
  <p:txStyles>
    <p:titleStyle>
      <a:lvl1pPr algn="l" defTabSz="967527" rtl="0" eaLnBrk="1" latinLnBrk="0" hangingPunct="1">
        <a:spcBef>
          <a:spcPct val="0"/>
        </a:spcBef>
        <a:buNone/>
        <a:defRPr lang="ru-RU" sz="1270" b="1" i="0" kern="1200" cap="all" spc="106" baseline="0">
          <a:solidFill>
            <a:srgbClr val="E92721"/>
          </a:solidFill>
          <a:latin typeface="Arial Black" charset="0"/>
          <a:ea typeface="Arial Black" charset="0"/>
          <a:cs typeface="Arial Black" charset="0"/>
        </a:defRPr>
      </a:lvl1pPr>
    </p:titleStyle>
    <p:bodyStyle>
      <a:lvl1pPr marL="362822" indent="-362822" algn="l" defTabSz="967527" rtl="0" eaLnBrk="1" latinLnBrk="0" hangingPunct="1">
        <a:spcBef>
          <a:spcPct val="20000"/>
        </a:spcBef>
        <a:buFont typeface="Arial" pitchFamily="34" charset="0"/>
        <a:buChar char="•"/>
        <a:defRPr sz="3386" kern="1200">
          <a:solidFill>
            <a:schemeClr val="tx1"/>
          </a:solidFill>
          <a:latin typeface="+mn-lt"/>
          <a:ea typeface="+mn-ea"/>
          <a:cs typeface="+mn-cs"/>
        </a:defRPr>
      </a:lvl1pPr>
      <a:lvl2pPr marL="786115" indent="-302352" algn="l" defTabSz="967527" rtl="0" eaLnBrk="1" latinLnBrk="0" hangingPunct="1">
        <a:spcBef>
          <a:spcPct val="20000"/>
        </a:spcBef>
        <a:buFont typeface="Arial" pitchFamily="34" charset="0"/>
        <a:buChar char="–"/>
        <a:defRPr sz="2963" kern="1200">
          <a:solidFill>
            <a:schemeClr val="tx1"/>
          </a:solidFill>
          <a:latin typeface="+mn-lt"/>
          <a:ea typeface="+mn-ea"/>
          <a:cs typeface="+mn-cs"/>
        </a:defRPr>
      </a:lvl2pPr>
      <a:lvl3pPr marL="1209408" indent="-241882" algn="l" defTabSz="967527" rtl="0" eaLnBrk="1" latinLnBrk="0" hangingPunct="1">
        <a:spcBef>
          <a:spcPct val="20000"/>
        </a:spcBef>
        <a:buFont typeface="Arial" pitchFamily="34" charset="0"/>
        <a:buChar char="•"/>
        <a:defRPr sz="2539" kern="1200">
          <a:solidFill>
            <a:schemeClr val="tx1"/>
          </a:solidFill>
          <a:latin typeface="+mn-lt"/>
          <a:ea typeface="+mn-ea"/>
          <a:cs typeface="+mn-cs"/>
        </a:defRPr>
      </a:lvl3pPr>
      <a:lvl4pPr marL="1693172" indent="-241882" algn="l" defTabSz="967527" rtl="0" eaLnBrk="1" latinLnBrk="0" hangingPunct="1">
        <a:spcBef>
          <a:spcPct val="20000"/>
        </a:spcBef>
        <a:buFont typeface="Arial" pitchFamily="34" charset="0"/>
        <a:buChar char="–"/>
        <a:defRPr sz="2116" kern="1200">
          <a:solidFill>
            <a:schemeClr val="tx1"/>
          </a:solidFill>
          <a:latin typeface="+mn-lt"/>
          <a:ea typeface="+mn-ea"/>
          <a:cs typeface="+mn-cs"/>
        </a:defRPr>
      </a:lvl4pPr>
      <a:lvl5pPr marL="2176935" indent="-241882" algn="l" defTabSz="967527" rtl="0" eaLnBrk="1" latinLnBrk="0" hangingPunct="1">
        <a:spcBef>
          <a:spcPct val="20000"/>
        </a:spcBef>
        <a:buFont typeface="Arial" pitchFamily="34" charset="0"/>
        <a:buChar char="»"/>
        <a:defRPr sz="2116" kern="1200">
          <a:solidFill>
            <a:schemeClr val="tx1"/>
          </a:solidFill>
          <a:latin typeface="+mn-lt"/>
          <a:ea typeface="+mn-ea"/>
          <a:cs typeface="+mn-cs"/>
        </a:defRPr>
      </a:lvl5pPr>
      <a:lvl6pPr marL="2660698" indent="-241882" algn="l" defTabSz="967527" rtl="0" eaLnBrk="1" latinLnBrk="0" hangingPunct="1">
        <a:spcBef>
          <a:spcPct val="20000"/>
        </a:spcBef>
        <a:buFont typeface="Arial" pitchFamily="34" charset="0"/>
        <a:buChar char="•"/>
        <a:defRPr sz="2116" kern="1200">
          <a:solidFill>
            <a:schemeClr val="tx1"/>
          </a:solidFill>
          <a:latin typeface="+mn-lt"/>
          <a:ea typeface="+mn-ea"/>
          <a:cs typeface="+mn-cs"/>
        </a:defRPr>
      </a:lvl6pPr>
      <a:lvl7pPr marL="3144462" indent="-241882" algn="l" defTabSz="967527" rtl="0" eaLnBrk="1" latinLnBrk="0" hangingPunct="1">
        <a:spcBef>
          <a:spcPct val="20000"/>
        </a:spcBef>
        <a:buFont typeface="Arial" pitchFamily="34" charset="0"/>
        <a:buChar char="•"/>
        <a:defRPr sz="2116" kern="1200">
          <a:solidFill>
            <a:schemeClr val="tx1"/>
          </a:solidFill>
          <a:latin typeface="+mn-lt"/>
          <a:ea typeface="+mn-ea"/>
          <a:cs typeface="+mn-cs"/>
        </a:defRPr>
      </a:lvl7pPr>
      <a:lvl8pPr marL="3628225" indent="-241882" algn="l" defTabSz="967527" rtl="0" eaLnBrk="1" latinLnBrk="0" hangingPunct="1">
        <a:spcBef>
          <a:spcPct val="20000"/>
        </a:spcBef>
        <a:buFont typeface="Arial" pitchFamily="34" charset="0"/>
        <a:buChar char="•"/>
        <a:defRPr sz="2116" kern="1200">
          <a:solidFill>
            <a:schemeClr val="tx1"/>
          </a:solidFill>
          <a:latin typeface="+mn-lt"/>
          <a:ea typeface="+mn-ea"/>
          <a:cs typeface="+mn-cs"/>
        </a:defRPr>
      </a:lvl8pPr>
      <a:lvl9pPr marL="4111988" indent="-241882" algn="l" defTabSz="967527" rtl="0" eaLnBrk="1" latinLnBrk="0" hangingPunct="1">
        <a:spcBef>
          <a:spcPct val="20000"/>
        </a:spcBef>
        <a:buFont typeface="Arial" pitchFamily="34" charset="0"/>
        <a:buChar char="•"/>
        <a:defRPr sz="2116" kern="1200">
          <a:solidFill>
            <a:schemeClr val="tx1"/>
          </a:solidFill>
          <a:latin typeface="+mn-lt"/>
          <a:ea typeface="+mn-ea"/>
          <a:cs typeface="+mn-cs"/>
        </a:defRPr>
      </a:lvl9pPr>
    </p:bodyStyle>
    <p:otherStyle>
      <a:defPPr>
        <a:defRPr lang="ru-RU"/>
      </a:defPPr>
      <a:lvl1pPr marL="0" algn="l" defTabSz="967527" rtl="0" eaLnBrk="1" latinLnBrk="0" hangingPunct="1">
        <a:defRPr sz="1905" kern="1200">
          <a:solidFill>
            <a:schemeClr val="tx1"/>
          </a:solidFill>
          <a:latin typeface="+mn-lt"/>
          <a:ea typeface="+mn-ea"/>
          <a:cs typeface="+mn-cs"/>
        </a:defRPr>
      </a:lvl1pPr>
      <a:lvl2pPr marL="483763" algn="l" defTabSz="967527" rtl="0" eaLnBrk="1" latinLnBrk="0" hangingPunct="1">
        <a:defRPr sz="1905" kern="1200">
          <a:solidFill>
            <a:schemeClr val="tx1"/>
          </a:solidFill>
          <a:latin typeface="+mn-lt"/>
          <a:ea typeface="+mn-ea"/>
          <a:cs typeface="+mn-cs"/>
        </a:defRPr>
      </a:lvl2pPr>
      <a:lvl3pPr marL="967527" algn="l" defTabSz="967527" rtl="0" eaLnBrk="1" latinLnBrk="0" hangingPunct="1">
        <a:defRPr sz="1905" kern="1200">
          <a:solidFill>
            <a:schemeClr val="tx1"/>
          </a:solidFill>
          <a:latin typeface="+mn-lt"/>
          <a:ea typeface="+mn-ea"/>
          <a:cs typeface="+mn-cs"/>
        </a:defRPr>
      </a:lvl3pPr>
      <a:lvl4pPr marL="1451290" algn="l" defTabSz="967527" rtl="0" eaLnBrk="1" latinLnBrk="0" hangingPunct="1">
        <a:defRPr sz="1905" kern="1200">
          <a:solidFill>
            <a:schemeClr val="tx1"/>
          </a:solidFill>
          <a:latin typeface="+mn-lt"/>
          <a:ea typeface="+mn-ea"/>
          <a:cs typeface="+mn-cs"/>
        </a:defRPr>
      </a:lvl4pPr>
      <a:lvl5pPr marL="1935053" algn="l" defTabSz="967527" rtl="0" eaLnBrk="1" latinLnBrk="0" hangingPunct="1">
        <a:defRPr sz="1905" kern="1200">
          <a:solidFill>
            <a:schemeClr val="tx1"/>
          </a:solidFill>
          <a:latin typeface="+mn-lt"/>
          <a:ea typeface="+mn-ea"/>
          <a:cs typeface="+mn-cs"/>
        </a:defRPr>
      </a:lvl5pPr>
      <a:lvl6pPr marL="2418817" algn="l" defTabSz="967527" rtl="0" eaLnBrk="1" latinLnBrk="0" hangingPunct="1">
        <a:defRPr sz="1905" kern="1200">
          <a:solidFill>
            <a:schemeClr val="tx1"/>
          </a:solidFill>
          <a:latin typeface="+mn-lt"/>
          <a:ea typeface="+mn-ea"/>
          <a:cs typeface="+mn-cs"/>
        </a:defRPr>
      </a:lvl6pPr>
      <a:lvl7pPr marL="2902580" algn="l" defTabSz="967527" rtl="0" eaLnBrk="1" latinLnBrk="0" hangingPunct="1">
        <a:defRPr sz="1905" kern="1200">
          <a:solidFill>
            <a:schemeClr val="tx1"/>
          </a:solidFill>
          <a:latin typeface="+mn-lt"/>
          <a:ea typeface="+mn-ea"/>
          <a:cs typeface="+mn-cs"/>
        </a:defRPr>
      </a:lvl7pPr>
      <a:lvl8pPr marL="3386343" algn="l" defTabSz="967527" rtl="0" eaLnBrk="1" latinLnBrk="0" hangingPunct="1">
        <a:defRPr sz="1905" kern="1200">
          <a:solidFill>
            <a:schemeClr val="tx1"/>
          </a:solidFill>
          <a:latin typeface="+mn-lt"/>
          <a:ea typeface="+mn-ea"/>
          <a:cs typeface="+mn-cs"/>
        </a:defRPr>
      </a:lvl8pPr>
      <a:lvl9pPr marL="3870107" algn="l" defTabSz="967527"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BAE40"/>
          </p15:clr>
        </p15:guide>
        <p15:guide id="2" pos="7258">
          <p15:clr>
            <a:srgbClr val="FBAE40"/>
          </p15:clr>
        </p15:guide>
        <p15:guide id="3" orient="horz">
          <p15:clr>
            <a:srgbClr val="FBAE40"/>
          </p15:clr>
        </p15:guide>
        <p15:guide id="4" orient="horz" pos="4082">
          <p15:clr>
            <a:srgbClr val="FBAE40"/>
          </p15:clr>
        </p15:guide>
        <p15:guide id="5" pos="227">
          <p15:clr>
            <a:srgbClr val="5ACBF0"/>
          </p15:clr>
        </p15:guide>
        <p15:guide id="6" pos="1860">
          <p15:clr>
            <a:srgbClr val="5ACBF0"/>
          </p15:clr>
        </p15:guide>
        <p15:guide id="7" orient="horz" pos="227">
          <p15:clr>
            <a:srgbClr val="FDE53C"/>
          </p15:clr>
        </p15:guide>
        <p15:guide id="8" orient="horz" pos="3855">
          <p15:clr>
            <a:srgbClr val="FDE53C"/>
          </p15:clr>
        </p15:guide>
        <p15:guide id="36" orient="horz" pos="2086">
          <p15:clr>
            <a:srgbClr val="FDE53C"/>
          </p15:clr>
        </p15:guide>
        <p15:guide id="37" pos="703">
          <p15:clr>
            <a:srgbClr val="5ACBF0"/>
          </p15:clr>
        </p15:guide>
        <p15:guide id="38" pos="794">
          <p15:clr>
            <a:srgbClr val="5ACBF0"/>
          </p15:clr>
        </p15:guide>
        <p15:guide id="39" pos="1293">
          <p15:clr>
            <a:srgbClr val="5ACBF0"/>
          </p15:clr>
        </p15:guide>
        <p15:guide id="40" pos="1384">
          <p15:clr>
            <a:srgbClr val="5ACBF0"/>
          </p15:clr>
        </p15:guide>
        <p15:guide id="41" pos="1951">
          <p15:clr>
            <a:srgbClr val="5ACBF0"/>
          </p15:clr>
        </p15:guide>
        <p15:guide id="42" pos="2427">
          <p15:clr>
            <a:srgbClr val="5ACBF0"/>
          </p15:clr>
        </p15:guide>
        <p15:guide id="43" pos="2518">
          <p15:clr>
            <a:srgbClr val="5ACBF0"/>
          </p15:clr>
        </p15:guide>
        <p15:guide id="44" pos="3017">
          <p15:clr>
            <a:srgbClr val="5ACBF0"/>
          </p15:clr>
        </p15:guide>
        <p15:guide id="46" pos="3674">
          <p15:clr>
            <a:srgbClr val="5ACBF0"/>
          </p15:clr>
        </p15:guide>
        <p15:guide id="48" pos="3107">
          <p15:clr>
            <a:srgbClr val="5ACBF0"/>
          </p15:clr>
        </p15:guide>
        <p15:guide id="49" pos="3584">
          <p15:clr>
            <a:srgbClr val="5ACBF0"/>
          </p15:clr>
        </p15:guide>
        <p15:guide id="50" pos="4740">
          <p15:clr>
            <a:srgbClr val="5ACBF0"/>
          </p15:clr>
        </p15:guide>
        <p15:guide id="51" pos="4241">
          <p15:clr>
            <a:srgbClr val="5ACBF0"/>
          </p15:clr>
        </p15:guide>
        <p15:guide id="52" pos="4151">
          <p15:clr>
            <a:srgbClr val="5ACBF0"/>
          </p15:clr>
        </p15:guide>
        <p15:guide id="53" pos="4831">
          <p15:clr>
            <a:srgbClr val="5ACBF0"/>
          </p15:clr>
        </p15:guide>
        <p15:guide id="54" pos="5307">
          <p15:clr>
            <a:srgbClr val="5ACBF0"/>
          </p15:clr>
        </p15:guide>
        <p15:guide id="55" pos="5398">
          <p15:clr>
            <a:srgbClr val="5ACBF0"/>
          </p15:clr>
        </p15:guide>
        <p15:guide id="56" pos="5874">
          <p15:clr>
            <a:srgbClr val="5ACBF0"/>
          </p15:clr>
        </p15:guide>
        <p15:guide id="57" pos="5965">
          <p15:clr>
            <a:srgbClr val="5ACBF0"/>
          </p15:clr>
        </p15:guide>
        <p15:guide id="60" pos="6441">
          <p15:clr>
            <a:srgbClr val="5ACBF0"/>
          </p15:clr>
        </p15:guide>
        <p15:guide id="61" pos="6532">
          <p15:clr>
            <a:srgbClr val="5ACBF0"/>
          </p15:clr>
        </p15:guide>
        <p15:guide id="62" pos="7031">
          <p15:clr>
            <a:srgbClr val="5ACBF0"/>
          </p15:clr>
        </p15:guide>
        <p15:guide id="63" orient="horz" pos="1996">
          <p15:clr>
            <a:srgbClr val="FDE53C"/>
          </p15:clr>
        </p15:guide>
        <p15:guide id="64" orient="horz" pos="1474">
          <p15:clr>
            <a:srgbClr val="5ACBF0"/>
          </p15:clr>
        </p15:guide>
        <p15:guide id="65" orient="horz" pos="1383">
          <p15:clr>
            <a:srgbClr val="5ACBF0"/>
          </p15:clr>
        </p15:guide>
        <p15:guide id="66" orient="horz" pos="839">
          <p15:clr>
            <a:srgbClr val="5ACBF0"/>
          </p15:clr>
        </p15:guide>
        <p15:guide id="67" orient="horz" pos="748">
          <p15:clr>
            <a:srgbClr val="5ACBF0"/>
          </p15:clr>
        </p15:guide>
        <p15:guide id="68" orient="horz" pos="2608">
          <p15:clr>
            <a:srgbClr val="5ACBF0"/>
          </p15:clr>
        </p15:guide>
        <p15:guide id="69" orient="horz" pos="2699">
          <p15:clr>
            <a:srgbClr val="5ACBF0"/>
          </p15:clr>
        </p15:guide>
        <p15:guide id="70" orient="horz" pos="3243">
          <p15:clr>
            <a:srgbClr val="5ACBF0"/>
          </p15:clr>
        </p15:guide>
        <p15:guide id="71" orient="horz" pos="3334">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1" cy="1143000"/>
          </a:xfrm>
          <a:prstGeom prst="rect">
            <a:avLst/>
          </a:prstGeom>
        </p:spPr>
        <p:txBody>
          <a:bodyPr vert="horz" lIns="115214" tIns="57607" rIns="115214" bIns="57607" rtlCol="0" anchor="ctr">
            <a:normAutofit/>
          </a:bodyPr>
          <a:lstStyle/>
          <a:p>
            <a:r>
              <a:rPr lang="ru-RU"/>
              <a:t>Образец заголовка</a:t>
            </a:r>
          </a:p>
        </p:txBody>
      </p:sp>
      <p:sp>
        <p:nvSpPr>
          <p:cNvPr id="3" name="Текст 2"/>
          <p:cNvSpPr>
            <a:spLocks noGrp="1"/>
          </p:cNvSpPr>
          <p:nvPr>
            <p:ph type="body" idx="1"/>
          </p:nvPr>
        </p:nvSpPr>
        <p:spPr>
          <a:xfrm>
            <a:off x="609600" y="1600201"/>
            <a:ext cx="10972801" cy="4525963"/>
          </a:xfrm>
          <a:prstGeom prst="rect">
            <a:avLst/>
          </a:prstGeom>
        </p:spPr>
        <p:txBody>
          <a:bodyPr vert="horz" lIns="115214" tIns="57607" rIns="115214" bIns="57607"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609600" y="6356351"/>
            <a:ext cx="2844800" cy="365126"/>
          </a:xfrm>
          <a:prstGeom prst="rect">
            <a:avLst/>
          </a:prstGeom>
        </p:spPr>
        <p:txBody>
          <a:bodyPr vert="horz" lIns="115214" tIns="57607" rIns="115214" bIns="57607" rtlCol="0" anchor="ctr"/>
          <a:lstStyle>
            <a:lvl1pPr algn="l">
              <a:defRPr sz="1587">
                <a:solidFill>
                  <a:schemeClr val="tx1">
                    <a:tint val="75000"/>
                  </a:schemeClr>
                </a:solidFill>
              </a:defRPr>
            </a:lvl1pPr>
          </a:lstStyle>
          <a:p>
            <a:fld id="{5B106E36-FD25-4E2D-B0AA-010F637433A0}" type="datetimeFigureOut">
              <a:rPr lang="ru-RU" smtClean="0"/>
              <a:pPr/>
              <a:t>12.07.2022</a:t>
            </a:fld>
            <a:endParaRPr lang="ru-RU"/>
          </a:p>
        </p:txBody>
      </p:sp>
      <p:sp>
        <p:nvSpPr>
          <p:cNvPr id="5" name="Нижний колонтитул 4"/>
          <p:cNvSpPr>
            <a:spLocks noGrp="1"/>
          </p:cNvSpPr>
          <p:nvPr>
            <p:ph type="ftr" sz="quarter" idx="3"/>
          </p:nvPr>
        </p:nvSpPr>
        <p:spPr>
          <a:xfrm>
            <a:off x="4165601" y="6356351"/>
            <a:ext cx="3860800" cy="365126"/>
          </a:xfrm>
          <a:prstGeom prst="rect">
            <a:avLst/>
          </a:prstGeom>
        </p:spPr>
        <p:txBody>
          <a:bodyPr vert="horz" lIns="115214" tIns="57607" rIns="115214" bIns="57607" rtlCol="0" anchor="ctr"/>
          <a:lstStyle>
            <a:lvl1pPr algn="ctr">
              <a:defRPr sz="1587">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737600" y="6356351"/>
            <a:ext cx="2844800" cy="365126"/>
          </a:xfrm>
          <a:prstGeom prst="rect">
            <a:avLst/>
          </a:prstGeom>
        </p:spPr>
        <p:txBody>
          <a:bodyPr vert="horz" lIns="115214" tIns="57607" rIns="115214" bIns="57607" rtlCol="0" anchor="ctr"/>
          <a:lstStyle>
            <a:lvl1pPr algn="r">
              <a:defRPr sz="1587">
                <a:solidFill>
                  <a:schemeClr val="tx1">
                    <a:tint val="75000"/>
                  </a:schemeClr>
                </a:solidFill>
              </a:defRPr>
            </a:lvl1pPr>
          </a:lstStyle>
          <a:p>
            <a:fld id="{725C68B6-61C2-468F-89AB-4B9F7531AA68}" type="slidenum">
              <a:rPr lang="ru-RU" smtClean="0"/>
              <a:pPr/>
              <a:t>‹#›</a:t>
            </a:fld>
            <a:endParaRPr lang="ru-RU"/>
          </a:p>
        </p:txBody>
      </p:sp>
    </p:spTree>
    <p:extLst>
      <p:ext uri="{BB962C8B-B14F-4D97-AF65-F5344CB8AC3E}">
        <p14:creationId xmlns:p14="http://schemas.microsoft.com/office/powerpoint/2010/main" val="2219068050"/>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Lst>
  <p:txStyles>
    <p:titleStyle>
      <a:lvl1pPr algn="ctr" defTabSz="1219084" rtl="0" eaLnBrk="1" latinLnBrk="0" hangingPunct="1">
        <a:spcBef>
          <a:spcPct val="0"/>
        </a:spcBef>
        <a:buNone/>
        <a:defRPr sz="5820" kern="1200">
          <a:solidFill>
            <a:schemeClr val="tx1"/>
          </a:solidFill>
          <a:latin typeface="+mj-lt"/>
          <a:ea typeface="+mj-ea"/>
          <a:cs typeface="+mj-cs"/>
        </a:defRPr>
      </a:lvl1pPr>
    </p:titleStyle>
    <p:bodyStyle>
      <a:lvl1pPr marL="457156" indent="-457156" algn="l" defTabSz="1219084" rtl="0" eaLnBrk="1" latinLnBrk="0" hangingPunct="1">
        <a:spcBef>
          <a:spcPct val="20000"/>
        </a:spcBef>
        <a:buFont typeface="Arial" pitchFamily="34" charset="0"/>
        <a:buChar char="•"/>
        <a:defRPr sz="4232" kern="1200">
          <a:solidFill>
            <a:schemeClr val="tx1"/>
          </a:solidFill>
          <a:latin typeface="+mn-lt"/>
          <a:ea typeface="+mn-ea"/>
          <a:cs typeface="+mn-cs"/>
        </a:defRPr>
      </a:lvl1pPr>
      <a:lvl2pPr marL="990505" indent="-380964" algn="l" defTabSz="1219084" rtl="0" eaLnBrk="1" latinLnBrk="0" hangingPunct="1">
        <a:spcBef>
          <a:spcPct val="20000"/>
        </a:spcBef>
        <a:buFont typeface="Arial" pitchFamily="34" charset="0"/>
        <a:buChar char="–"/>
        <a:defRPr sz="3703" kern="1200">
          <a:solidFill>
            <a:schemeClr val="tx1"/>
          </a:solidFill>
          <a:latin typeface="+mn-lt"/>
          <a:ea typeface="+mn-ea"/>
          <a:cs typeface="+mn-cs"/>
        </a:defRPr>
      </a:lvl2pPr>
      <a:lvl3pPr marL="1523854" indent="-304771" algn="l" defTabSz="1219084" rtl="0" eaLnBrk="1" latinLnBrk="0" hangingPunct="1">
        <a:spcBef>
          <a:spcPct val="20000"/>
        </a:spcBef>
        <a:buFont typeface="Arial" pitchFamily="34" charset="0"/>
        <a:buChar char="•"/>
        <a:defRPr sz="3174" kern="1200">
          <a:solidFill>
            <a:schemeClr val="tx1"/>
          </a:solidFill>
          <a:latin typeface="+mn-lt"/>
          <a:ea typeface="+mn-ea"/>
          <a:cs typeface="+mn-cs"/>
        </a:defRPr>
      </a:lvl3pPr>
      <a:lvl4pPr marL="2133396" indent="-304771" algn="l" defTabSz="1219084" rtl="0" eaLnBrk="1" latinLnBrk="0" hangingPunct="1">
        <a:spcBef>
          <a:spcPct val="20000"/>
        </a:spcBef>
        <a:buFont typeface="Arial" pitchFamily="34" charset="0"/>
        <a:buChar char="–"/>
        <a:defRPr sz="2645" kern="1200">
          <a:solidFill>
            <a:schemeClr val="tx1"/>
          </a:solidFill>
          <a:latin typeface="+mn-lt"/>
          <a:ea typeface="+mn-ea"/>
          <a:cs typeface="+mn-cs"/>
        </a:defRPr>
      </a:lvl4pPr>
      <a:lvl5pPr marL="2742938" indent="-304771" algn="l" defTabSz="1219084" rtl="0" eaLnBrk="1" latinLnBrk="0" hangingPunct="1">
        <a:spcBef>
          <a:spcPct val="20000"/>
        </a:spcBef>
        <a:buFont typeface="Arial" pitchFamily="34" charset="0"/>
        <a:buChar char="»"/>
        <a:defRPr sz="2645" kern="1200">
          <a:solidFill>
            <a:schemeClr val="tx1"/>
          </a:solidFill>
          <a:latin typeface="+mn-lt"/>
          <a:ea typeface="+mn-ea"/>
          <a:cs typeface="+mn-cs"/>
        </a:defRPr>
      </a:lvl5pPr>
      <a:lvl6pPr marL="3352480" indent="-304771" algn="l" defTabSz="1219084" rtl="0" eaLnBrk="1" latinLnBrk="0" hangingPunct="1">
        <a:spcBef>
          <a:spcPct val="20000"/>
        </a:spcBef>
        <a:buFont typeface="Arial" pitchFamily="34" charset="0"/>
        <a:buChar char="•"/>
        <a:defRPr sz="2645" kern="1200">
          <a:solidFill>
            <a:schemeClr val="tx1"/>
          </a:solidFill>
          <a:latin typeface="+mn-lt"/>
          <a:ea typeface="+mn-ea"/>
          <a:cs typeface="+mn-cs"/>
        </a:defRPr>
      </a:lvl6pPr>
      <a:lvl7pPr marL="3962022" indent="-304771" algn="l" defTabSz="1219084" rtl="0" eaLnBrk="1" latinLnBrk="0" hangingPunct="1">
        <a:spcBef>
          <a:spcPct val="20000"/>
        </a:spcBef>
        <a:buFont typeface="Arial" pitchFamily="34" charset="0"/>
        <a:buChar char="•"/>
        <a:defRPr sz="2645" kern="1200">
          <a:solidFill>
            <a:schemeClr val="tx1"/>
          </a:solidFill>
          <a:latin typeface="+mn-lt"/>
          <a:ea typeface="+mn-ea"/>
          <a:cs typeface="+mn-cs"/>
        </a:defRPr>
      </a:lvl7pPr>
      <a:lvl8pPr marL="4571563" indent="-304771" algn="l" defTabSz="1219084" rtl="0" eaLnBrk="1" latinLnBrk="0" hangingPunct="1">
        <a:spcBef>
          <a:spcPct val="20000"/>
        </a:spcBef>
        <a:buFont typeface="Arial" pitchFamily="34" charset="0"/>
        <a:buChar char="•"/>
        <a:defRPr sz="2645" kern="1200">
          <a:solidFill>
            <a:schemeClr val="tx1"/>
          </a:solidFill>
          <a:latin typeface="+mn-lt"/>
          <a:ea typeface="+mn-ea"/>
          <a:cs typeface="+mn-cs"/>
        </a:defRPr>
      </a:lvl8pPr>
      <a:lvl9pPr marL="5181105" indent="-304771" algn="l" defTabSz="1219084" rtl="0" eaLnBrk="1" latinLnBrk="0" hangingPunct="1">
        <a:spcBef>
          <a:spcPct val="20000"/>
        </a:spcBef>
        <a:buFont typeface="Arial" pitchFamily="34" charset="0"/>
        <a:buChar char="•"/>
        <a:defRPr sz="2645" kern="1200">
          <a:solidFill>
            <a:schemeClr val="tx1"/>
          </a:solidFill>
          <a:latin typeface="+mn-lt"/>
          <a:ea typeface="+mn-ea"/>
          <a:cs typeface="+mn-cs"/>
        </a:defRPr>
      </a:lvl9pPr>
    </p:bodyStyle>
    <p:otherStyle>
      <a:defPPr>
        <a:defRPr lang="ru-RU"/>
      </a:defPPr>
      <a:lvl1pPr marL="0" algn="l" defTabSz="1219084" rtl="0" eaLnBrk="1" latinLnBrk="0" hangingPunct="1">
        <a:defRPr sz="2434" kern="1200">
          <a:solidFill>
            <a:schemeClr val="tx1"/>
          </a:solidFill>
          <a:latin typeface="+mn-lt"/>
          <a:ea typeface="+mn-ea"/>
          <a:cs typeface="+mn-cs"/>
        </a:defRPr>
      </a:lvl1pPr>
      <a:lvl2pPr marL="609542" algn="l" defTabSz="1219084" rtl="0" eaLnBrk="1" latinLnBrk="0" hangingPunct="1">
        <a:defRPr sz="2434" kern="1200">
          <a:solidFill>
            <a:schemeClr val="tx1"/>
          </a:solidFill>
          <a:latin typeface="+mn-lt"/>
          <a:ea typeface="+mn-ea"/>
          <a:cs typeface="+mn-cs"/>
        </a:defRPr>
      </a:lvl2pPr>
      <a:lvl3pPr marL="1219084" algn="l" defTabSz="1219084" rtl="0" eaLnBrk="1" latinLnBrk="0" hangingPunct="1">
        <a:defRPr sz="2434" kern="1200">
          <a:solidFill>
            <a:schemeClr val="tx1"/>
          </a:solidFill>
          <a:latin typeface="+mn-lt"/>
          <a:ea typeface="+mn-ea"/>
          <a:cs typeface="+mn-cs"/>
        </a:defRPr>
      </a:lvl3pPr>
      <a:lvl4pPr marL="1828625" algn="l" defTabSz="1219084" rtl="0" eaLnBrk="1" latinLnBrk="0" hangingPunct="1">
        <a:defRPr sz="2434" kern="1200">
          <a:solidFill>
            <a:schemeClr val="tx1"/>
          </a:solidFill>
          <a:latin typeface="+mn-lt"/>
          <a:ea typeface="+mn-ea"/>
          <a:cs typeface="+mn-cs"/>
        </a:defRPr>
      </a:lvl4pPr>
      <a:lvl5pPr marL="2438167" algn="l" defTabSz="1219084" rtl="0" eaLnBrk="1" latinLnBrk="0" hangingPunct="1">
        <a:defRPr sz="2434" kern="1200">
          <a:solidFill>
            <a:schemeClr val="tx1"/>
          </a:solidFill>
          <a:latin typeface="+mn-lt"/>
          <a:ea typeface="+mn-ea"/>
          <a:cs typeface="+mn-cs"/>
        </a:defRPr>
      </a:lvl5pPr>
      <a:lvl6pPr marL="3047709" algn="l" defTabSz="1219084" rtl="0" eaLnBrk="1" latinLnBrk="0" hangingPunct="1">
        <a:defRPr sz="2434" kern="1200">
          <a:solidFill>
            <a:schemeClr val="tx1"/>
          </a:solidFill>
          <a:latin typeface="+mn-lt"/>
          <a:ea typeface="+mn-ea"/>
          <a:cs typeface="+mn-cs"/>
        </a:defRPr>
      </a:lvl6pPr>
      <a:lvl7pPr marL="3657251" algn="l" defTabSz="1219084" rtl="0" eaLnBrk="1" latinLnBrk="0" hangingPunct="1">
        <a:defRPr sz="2434" kern="1200">
          <a:solidFill>
            <a:schemeClr val="tx1"/>
          </a:solidFill>
          <a:latin typeface="+mn-lt"/>
          <a:ea typeface="+mn-ea"/>
          <a:cs typeface="+mn-cs"/>
        </a:defRPr>
      </a:lvl7pPr>
      <a:lvl8pPr marL="4266792" algn="l" defTabSz="1219084" rtl="0" eaLnBrk="1" latinLnBrk="0" hangingPunct="1">
        <a:defRPr sz="2434" kern="1200">
          <a:solidFill>
            <a:schemeClr val="tx1"/>
          </a:solidFill>
          <a:latin typeface="+mn-lt"/>
          <a:ea typeface="+mn-ea"/>
          <a:cs typeface="+mn-cs"/>
        </a:defRPr>
      </a:lvl8pPr>
      <a:lvl9pPr marL="4876334" algn="l" defTabSz="1219084" rtl="0" eaLnBrk="1" latinLnBrk="0" hangingPunct="1">
        <a:defRPr sz="243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9"/>
            <a:ext cx="10972801" cy="1143000"/>
          </a:xfrm>
          <a:prstGeom prst="rect">
            <a:avLst/>
          </a:prstGeom>
        </p:spPr>
        <p:txBody>
          <a:bodyPr vert="horz" lIns="115214" tIns="57607" rIns="115214" bIns="57607" rtlCol="0" anchor="ctr">
            <a:normAutofit/>
          </a:bodyPr>
          <a:lstStyle/>
          <a:p>
            <a:r>
              <a:rPr lang="ru-RU"/>
              <a:t>Образец заголовка</a:t>
            </a:r>
          </a:p>
        </p:txBody>
      </p:sp>
      <p:sp>
        <p:nvSpPr>
          <p:cNvPr id="3" name="Текст 2"/>
          <p:cNvSpPr>
            <a:spLocks noGrp="1"/>
          </p:cNvSpPr>
          <p:nvPr>
            <p:ph type="body" idx="1"/>
          </p:nvPr>
        </p:nvSpPr>
        <p:spPr>
          <a:xfrm>
            <a:off x="609600" y="1600201"/>
            <a:ext cx="10972801" cy="4525963"/>
          </a:xfrm>
          <a:prstGeom prst="rect">
            <a:avLst/>
          </a:prstGeom>
        </p:spPr>
        <p:txBody>
          <a:bodyPr vert="horz" lIns="115214" tIns="57607" rIns="115214" bIns="57607"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609600" y="6356351"/>
            <a:ext cx="2844800" cy="365126"/>
          </a:xfrm>
          <a:prstGeom prst="rect">
            <a:avLst/>
          </a:prstGeom>
        </p:spPr>
        <p:txBody>
          <a:bodyPr vert="horz" lIns="115214" tIns="57607" rIns="115214" bIns="57607" rtlCol="0" anchor="ctr"/>
          <a:lstStyle>
            <a:lvl1pPr algn="l">
              <a:defRPr sz="1587">
                <a:solidFill>
                  <a:schemeClr val="tx1">
                    <a:tint val="75000"/>
                  </a:schemeClr>
                </a:solidFill>
              </a:defRPr>
            </a:lvl1pPr>
          </a:lstStyle>
          <a:p>
            <a:fld id="{5B106E36-FD25-4E2D-B0AA-010F637433A0}" type="datetimeFigureOut">
              <a:rPr lang="ru-RU" smtClean="0"/>
              <a:pPr/>
              <a:t>12.07.2022</a:t>
            </a:fld>
            <a:endParaRPr lang="ru-RU"/>
          </a:p>
        </p:txBody>
      </p:sp>
      <p:sp>
        <p:nvSpPr>
          <p:cNvPr id="5" name="Нижний колонтитул 4"/>
          <p:cNvSpPr>
            <a:spLocks noGrp="1"/>
          </p:cNvSpPr>
          <p:nvPr>
            <p:ph type="ftr" sz="quarter" idx="3"/>
          </p:nvPr>
        </p:nvSpPr>
        <p:spPr>
          <a:xfrm>
            <a:off x="4165602" y="6356351"/>
            <a:ext cx="3860800" cy="365126"/>
          </a:xfrm>
          <a:prstGeom prst="rect">
            <a:avLst/>
          </a:prstGeom>
        </p:spPr>
        <p:txBody>
          <a:bodyPr vert="horz" lIns="115214" tIns="57607" rIns="115214" bIns="57607" rtlCol="0" anchor="ctr"/>
          <a:lstStyle>
            <a:lvl1pPr algn="ctr">
              <a:defRPr sz="1587">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737600" y="6356351"/>
            <a:ext cx="2844800" cy="365126"/>
          </a:xfrm>
          <a:prstGeom prst="rect">
            <a:avLst/>
          </a:prstGeom>
        </p:spPr>
        <p:txBody>
          <a:bodyPr vert="horz" lIns="115214" tIns="57607" rIns="115214" bIns="57607" rtlCol="0" anchor="ctr"/>
          <a:lstStyle>
            <a:lvl1pPr algn="r">
              <a:defRPr sz="1587">
                <a:solidFill>
                  <a:schemeClr val="tx1">
                    <a:tint val="75000"/>
                  </a:schemeClr>
                </a:solidFill>
              </a:defRPr>
            </a:lvl1pPr>
          </a:lstStyle>
          <a:p>
            <a:fld id="{725C68B6-61C2-468F-89AB-4B9F7531AA68}" type="slidenum">
              <a:rPr lang="ru-RU" smtClean="0"/>
              <a:pPr/>
              <a:t>‹#›</a:t>
            </a:fld>
            <a:endParaRPr lang="ru-RU"/>
          </a:p>
        </p:txBody>
      </p:sp>
    </p:spTree>
    <p:extLst>
      <p:ext uri="{BB962C8B-B14F-4D97-AF65-F5344CB8AC3E}">
        <p14:creationId xmlns:p14="http://schemas.microsoft.com/office/powerpoint/2010/main" val="1670213310"/>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Lst>
  <p:txStyles>
    <p:titleStyle>
      <a:lvl1pPr algn="ctr" defTabSz="1218838" rtl="0" eaLnBrk="1" latinLnBrk="0" hangingPunct="1">
        <a:spcBef>
          <a:spcPct val="0"/>
        </a:spcBef>
        <a:buNone/>
        <a:defRPr sz="5818" kern="1200">
          <a:solidFill>
            <a:schemeClr val="tx1"/>
          </a:solidFill>
          <a:latin typeface="+mj-lt"/>
          <a:ea typeface="+mj-ea"/>
          <a:cs typeface="+mj-cs"/>
        </a:defRPr>
      </a:lvl1pPr>
    </p:titleStyle>
    <p:bodyStyle>
      <a:lvl1pPr marL="457064" indent="-457064" algn="l" defTabSz="1218838" rtl="0" eaLnBrk="1" latinLnBrk="0" hangingPunct="1">
        <a:spcBef>
          <a:spcPct val="20000"/>
        </a:spcBef>
        <a:buFont typeface="Arial" pitchFamily="34" charset="0"/>
        <a:buChar char="•"/>
        <a:defRPr sz="4231" kern="1200">
          <a:solidFill>
            <a:schemeClr val="tx1"/>
          </a:solidFill>
          <a:latin typeface="+mn-lt"/>
          <a:ea typeface="+mn-ea"/>
          <a:cs typeface="+mn-cs"/>
        </a:defRPr>
      </a:lvl1pPr>
      <a:lvl2pPr marL="990305" indent="-380887" algn="l" defTabSz="1218838" rtl="0" eaLnBrk="1" latinLnBrk="0" hangingPunct="1">
        <a:spcBef>
          <a:spcPct val="20000"/>
        </a:spcBef>
        <a:buFont typeface="Arial" pitchFamily="34" charset="0"/>
        <a:buChar char="–"/>
        <a:defRPr sz="3702" kern="1200">
          <a:solidFill>
            <a:schemeClr val="tx1"/>
          </a:solidFill>
          <a:latin typeface="+mn-lt"/>
          <a:ea typeface="+mn-ea"/>
          <a:cs typeface="+mn-cs"/>
        </a:defRPr>
      </a:lvl2pPr>
      <a:lvl3pPr marL="1523548" indent="-304710" algn="l" defTabSz="1218838" rtl="0" eaLnBrk="1" latinLnBrk="0" hangingPunct="1">
        <a:spcBef>
          <a:spcPct val="20000"/>
        </a:spcBef>
        <a:buFont typeface="Arial" pitchFamily="34" charset="0"/>
        <a:buChar char="•"/>
        <a:defRPr sz="3173" kern="1200">
          <a:solidFill>
            <a:schemeClr val="tx1"/>
          </a:solidFill>
          <a:latin typeface="+mn-lt"/>
          <a:ea typeface="+mn-ea"/>
          <a:cs typeface="+mn-cs"/>
        </a:defRPr>
      </a:lvl3pPr>
      <a:lvl4pPr marL="2132967" indent="-304710" algn="l" defTabSz="1218838" rtl="0" eaLnBrk="1" latinLnBrk="0" hangingPunct="1">
        <a:spcBef>
          <a:spcPct val="20000"/>
        </a:spcBef>
        <a:buFont typeface="Arial" pitchFamily="34" charset="0"/>
        <a:buChar char="–"/>
        <a:defRPr sz="2644" kern="1200">
          <a:solidFill>
            <a:schemeClr val="tx1"/>
          </a:solidFill>
          <a:latin typeface="+mn-lt"/>
          <a:ea typeface="+mn-ea"/>
          <a:cs typeface="+mn-cs"/>
        </a:defRPr>
      </a:lvl4pPr>
      <a:lvl5pPr marL="2742386" indent="-304710" algn="l" defTabSz="1218838" rtl="0" eaLnBrk="1" latinLnBrk="0" hangingPunct="1">
        <a:spcBef>
          <a:spcPct val="20000"/>
        </a:spcBef>
        <a:buFont typeface="Arial" pitchFamily="34" charset="0"/>
        <a:buChar char="»"/>
        <a:defRPr sz="2644" kern="1200">
          <a:solidFill>
            <a:schemeClr val="tx1"/>
          </a:solidFill>
          <a:latin typeface="+mn-lt"/>
          <a:ea typeface="+mn-ea"/>
          <a:cs typeface="+mn-cs"/>
        </a:defRPr>
      </a:lvl5pPr>
      <a:lvl6pPr marL="3351805" indent="-304710" algn="l" defTabSz="1218838" rtl="0" eaLnBrk="1" latinLnBrk="0" hangingPunct="1">
        <a:spcBef>
          <a:spcPct val="20000"/>
        </a:spcBef>
        <a:buFont typeface="Arial" pitchFamily="34" charset="0"/>
        <a:buChar char="•"/>
        <a:defRPr sz="2644" kern="1200">
          <a:solidFill>
            <a:schemeClr val="tx1"/>
          </a:solidFill>
          <a:latin typeface="+mn-lt"/>
          <a:ea typeface="+mn-ea"/>
          <a:cs typeface="+mn-cs"/>
        </a:defRPr>
      </a:lvl6pPr>
      <a:lvl7pPr marL="3961225" indent="-304710" algn="l" defTabSz="1218838" rtl="0" eaLnBrk="1" latinLnBrk="0" hangingPunct="1">
        <a:spcBef>
          <a:spcPct val="20000"/>
        </a:spcBef>
        <a:buFont typeface="Arial" pitchFamily="34" charset="0"/>
        <a:buChar char="•"/>
        <a:defRPr sz="2644" kern="1200">
          <a:solidFill>
            <a:schemeClr val="tx1"/>
          </a:solidFill>
          <a:latin typeface="+mn-lt"/>
          <a:ea typeface="+mn-ea"/>
          <a:cs typeface="+mn-cs"/>
        </a:defRPr>
      </a:lvl7pPr>
      <a:lvl8pPr marL="4570643" indent="-304710" algn="l" defTabSz="1218838" rtl="0" eaLnBrk="1" latinLnBrk="0" hangingPunct="1">
        <a:spcBef>
          <a:spcPct val="20000"/>
        </a:spcBef>
        <a:buFont typeface="Arial" pitchFamily="34" charset="0"/>
        <a:buChar char="•"/>
        <a:defRPr sz="2644" kern="1200">
          <a:solidFill>
            <a:schemeClr val="tx1"/>
          </a:solidFill>
          <a:latin typeface="+mn-lt"/>
          <a:ea typeface="+mn-ea"/>
          <a:cs typeface="+mn-cs"/>
        </a:defRPr>
      </a:lvl8pPr>
      <a:lvl9pPr marL="5180062" indent="-304710" algn="l" defTabSz="1218838" rtl="0" eaLnBrk="1" latinLnBrk="0" hangingPunct="1">
        <a:spcBef>
          <a:spcPct val="20000"/>
        </a:spcBef>
        <a:buFont typeface="Arial" pitchFamily="34" charset="0"/>
        <a:buChar char="•"/>
        <a:defRPr sz="2644" kern="1200">
          <a:solidFill>
            <a:schemeClr val="tx1"/>
          </a:solidFill>
          <a:latin typeface="+mn-lt"/>
          <a:ea typeface="+mn-ea"/>
          <a:cs typeface="+mn-cs"/>
        </a:defRPr>
      </a:lvl9pPr>
    </p:bodyStyle>
    <p:otherStyle>
      <a:defPPr>
        <a:defRPr lang="ru-RU"/>
      </a:defPPr>
      <a:lvl1pPr marL="0" algn="l" defTabSz="1218838" rtl="0" eaLnBrk="1" latinLnBrk="0" hangingPunct="1">
        <a:defRPr sz="2434" kern="1200">
          <a:solidFill>
            <a:schemeClr val="tx1"/>
          </a:solidFill>
          <a:latin typeface="+mn-lt"/>
          <a:ea typeface="+mn-ea"/>
          <a:cs typeface="+mn-cs"/>
        </a:defRPr>
      </a:lvl1pPr>
      <a:lvl2pPr marL="609419" algn="l" defTabSz="1218838" rtl="0" eaLnBrk="1" latinLnBrk="0" hangingPunct="1">
        <a:defRPr sz="2434" kern="1200">
          <a:solidFill>
            <a:schemeClr val="tx1"/>
          </a:solidFill>
          <a:latin typeface="+mn-lt"/>
          <a:ea typeface="+mn-ea"/>
          <a:cs typeface="+mn-cs"/>
        </a:defRPr>
      </a:lvl2pPr>
      <a:lvl3pPr marL="1218838" algn="l" defTabSz="1218838" rtl="0" eaLnBrk="1" latinLnBrk="0" hangingPunct="1">
        <a:defRPr sz="2434" kern="1200">
          <a:solidFill>
            <a:schemeClr val="tx1"/>
          </a:solidFill>
          <a:latin typeface="+mn-lt"/>
          <a:ea typeface="+mn-ea"/>
          <a:cs typeface="+mn-cs"/>
        </a:defRPr>
      </a:lvl3pPr>
      <a:lvl4pPr marL="1828257" algn="l" defTabSz="1218838" rtl="0" eaLnBrk="1" latinLnBrk="0" hangingPunct="1">
        <a:defRPr sz="2434" kern="1200">
          <a:solidFill>
            <a:schemeClr val="tx1"/>
          </a:solidFill>
          <a:latin typeface="+mn-lt"/>
          <a:ea typeface="+mn-ea"/>
          <a:cs typeface="+mn-cs"/>
        </a:defRPr>
      </a:lvl4pPr>
      <a:lvl5pPr marL="2437676" algn="l" defTabSz="1218838" rtl="0" eaLnBrk="1" latinLnBrk="0" hangingPunct="1">
        <a:defRPr sz="2434" kern="1200">
          <a:solidFill>
            <a:schemeClr val="tx1"/>
          </a:solidFill>
          <a:latin typeface="+mn-lt"/>
          <a:ea typeface="+mn-ea"/>
          <a:cs typeface="+mn-cs"/>
        </a:defRPr>
      </a:lvl5pPr>
      <a:lvl6pPr marL="3047095" algn="l" defTabSz="1218838" rtl="0" eaLnBrk="1" latinLnBrk="0" hangingPunct="1">
        <a:defRPr sz="2434" kern="1200">
          <a:solidFill>
            <a:schemeClr val="tx1"/>
          </a:solidFill>
          <a:latin typeface="+mn-lt"/>
          <a:ea typeface="+mn-ea"/>
          <a:cs typeface="+mn-cs"/>
        </a:defRPr>
      </a:lvl6pPr>
      <a:lvl7pPr marL="3656514" algn="l" defTabSz="1218838" rtl="0" eaLnBrk="1" latinLnBrk="0" hangingPunct="1">
        <a:defRPr sz="2434" kern="1200">
          <a:solidFill>
            <a:schemeClr val="tx1"/>
          </a:solidFill>
          <a:latin typeface="+mn-lt"/>
          <a:ea typeface="+mn-ea"/>
          <a:cs typeface="+mn-cs"/>
        </a:defRPr>
      </a:lvl7pPr>
      <a:lvl8pPr marL="4265933" algn="l" defTabSz="1218838" rtl="0" eaLnBrk="1" latinLnBrk="0" hangingPunct="1">
        <a:defRPr sz="2434" kern="1200">
          <a:solidFill>
            <a:schemeClr val="tx1"/>
          </a:solidFill>
          <a:latin typeface="+mn-lt"/>
          <a:ea typeface="+mn-ea"/>
          <a:cs typeface="+mn-cs"/>
        </a:defRPr>
      </a:lvl8pPr>
      <a:lvl9pPr marL="4875352" algn="l" defTabSz="1218838" rtl="0" eaLnBrk="1" latinLnBrk="0" hangingPunct="1">
        <a:defRPr sz="2434"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838201" y="1825624"/>
            <a:ext cx="10515600" cy="4351339"/>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838202"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032"/>
            <a:fld id="{5EDD093D-997D-492A-A2A9-C1329F9A9824}" type="datetimeFigureOut">
              <a:rPr lang="ru-RU" smtClean="0">
                <a:solidFill>
                  <a:prstClr val="black">
                    <a:tint val="75000"/>
                  </a:prstClr>
                </a:solidFill>
              </a:rPr>
              <a:pPr defTabSz="914032"/>
              <a:t>12.07.2022</a:t>
            </a:fld>
            <a:endParaRPr lang="ru-RU">
              <a:solidFill>
                <a:prstClr val="black">
                  <a:tint val="75000"/>
                </a:prstClr>
              </a:solidFill>
            </a:endParaRPr>
          </a:p>
        </p:txBody>
      </p:sp>
      <p:sp>
        <p:nvSpPr>
          <p:cNvPr id="5" name="Нижний колонтитул 4"/>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032"/>
            <a:endParaRPr lang="ru-RU">
              <a:solidFill>
                <a:prstClr val="black">
                  <a:tint val="75000"/>
                </a:prstClr>
              </a:solidFill>
            </a:endParaRPr>
          </a:p>
        </p:txBody>
      </p:sp>
      <p:sp>
        <p:nvSpPr>
          <p:cNvPr id="6" name="Номер слайда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032"/>
            <a:fld id="{68345350-E766-4B14-8537-AACDB5C93B8D}" type="slidenum">
              <a:rPr lang="ru-RU" smtClean="0">
                <a:solidFill>
                  <a:prstClr val="black">
                    <a:tint val="75000"/>
                  </a:prstClr>
                </a:solidFill>
              </a:rPr>
              <a:pPr defTabSz="914032"/>
              <a:t>‹#›</a:t>
            </a:fld>
            <a:endParaRPr lang="ru-RU">
              <a:solidFill>
                <a:prstClr val="black">
                  <a:tint val="75000"/>
                </a:prstClr>
              </a:solidFill>
            </a:endParaRPr>
          </a:p>
        </p:txBody>
      </p:sp>
    </p:spTree>
    <p:extLst>
      <p:ext uri="{BB962C8B-B14F-4D97-AF65-F5344CB8AC3E}">
        <p14:creationId xmlns:p14="http://schemas.microsoft.com/office/powerpoint/2010/main" val="3871904178"/>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Lst>
  <p:txStyles>
    <p:titleStyle>
      <a:lvl1pPr algn="l" defTabSz="91403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08" indent="-228508" algn="l" defTabSz="9140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23" indent="-228508" algn="l" defTabSz="914032" rtl="0" eaLnBrk="1" latinLnBrk="0" hangingPunct="1">
        <a:lnSpc>
          <a:spcPct val="90000"/>
        </a:lnSpc>
        <a:spcBef>
          <a:spcPts val="499"/>
        </a:spcBef>
        <a:buFont typeface="Arial" panose="020B0604020202020204" pitchFamily="34" charset="0"/>
        <a:buChar char="•"/>
        <a:defRPr sz="2400" kern="1200">
          <a:solidFill>
            <a:schemeClr val="tx1"/>
          </a:solidFill>
          <a:latin typeface="+mn-lt"/>
          <a:ea typeface="+mn-ea"/>
          <a:cs typeface="+mn-cs"/>
        </a:defRPr>
      </a:lvl2pPr>
      <a:lvl3pPr marL="1142540" indent="-228508" algn="l" defTabSz="914032" rtl="0" eaLnBrk="1" latinLnBrk="0" hangingPunct="1">
        <a:lnSpc>
          <a:spcPct val="90000"/>
        </a:lnSpc>
        <a:spcBef>
          <a:spcPts val="499"/>
        </a:spcBef>
        <a:buFont typeface="Arial" panose="020B0604020202020204" pitchFamily="34" charset="0"/>
        <a:buChar char="•"/>
        <a:defRPr sz="2000" kern="1200">
          <a:solidFill>
            <a:schemeClr val="tx1"/>
          </a:solidFill>
          <a:latin typeface="+mn-lt"/>
          <a:ea typeface="+mn-ea"/>
          <a:cs typeface="+mn-cs"/>
        </a:defRPr>
      </a:lvl3pPr>
      <a:lvl4pPr marL="1599556" indent="-228508" algn="l" defTabSz="914032"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4pPr>
      <a:lvl5pPr marL="2056572" indent="-228508" algn="l" defTabSz="914032"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5pPr>
      <a:lvl6pPr marL="2513587" indent="-228508" algn="l" defTabSz="914032"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6pPr>
      <a:lvl7pPr marL="2970604" indent="-228508" algn="l" defTabSz="914032"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7pPr>
      <a:lvl8pPr marL="3427620" indent="-228508" algn="l" defTabSz="914032"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8pPr>
      <a:lvl9pPr marL="3884635" indent="-228508" algn="l" defTabSz="914032"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032" rtl="0" eaLnBrk="1" latinLnBrk="0" hangingPunct="1">
        <a:defRPr sz="1800" kern="1200">
          <a:solidFill>
            <a:schemeClr val="tx1"/>
          </a:solidFill>
          <a:latin typeface="+mn-lt"/>
          <a:ea typeface="+mn-ea"/>
          <a:cs typeface="+mn-cs"/>
        </a:defRPr>
      </a:lvl1pPr>
      <a:lvl2pPr marL="457016" algn="l" defTabSz="914032" rtl="0" eaLnBrk="1" latinLnBrk="0" hangingPunct="1">
        <a:defRPr sz="1800" kern="1200">
          <a:solidFill>
            <a:schemeClr val="tx1"/>
          </a:solidFill>
          <a:latin typeface="+mn-lt"/>
          <a:ea typeface="+mn-ea"/>
          <a:cs typeface="+mn-cs"/>
        </a:defRPr>
      </a:lvl2pPr>
      <a:lvl3pPr marL="914032" algn="l" defTabSz="914032" rtl="0" eaLnBrk="1" latinLnBrk="0" hangingPunct="1">
        <a:defRPr sz="1800" kern="1200">
          <a:solidFill>
            <a:schemeClr val="tx1"/>
          </a:solidFill>
          <a:latin typeface="+mn-lt"/>
          <a:ea typeface="+mn-ea"/>
          <a:cs typeface="+mn-cs"/>
        </a:defRPr>
      </a:lvl3pPr>
      <a:lvl4pPr marL="1371048" algn="l" defTabSz="914032" rtl="0" eaLnBrk="1" latinLnBrk="0" hangingPunct="1">
        <a:defRPr sz="1800" kern="1200">
          <a:solidFill>
            <a:schemeClr val="tx1"/>
          </a:solidFill>
          <a:latin typeface="+mn-lt"/>
          <a:ea typeface="+mn-ea"/>
          <a:cs typeface="+mn-cs"/>
        </a:defRPr>
      </a:lvl4pPr>
      <a:lvl5pPr marL="1828063" algn="l" defTabSz="914032" rtl="0" eaLnBrk="1" latinLnBrk="0" hangingPunct="1">
        <a:defRPr sz="1800" kern="1200">
          <a:solidFill>
            <a:schemeClr val="tx1"/>
          </a:solidFill>
          <a:latin typeface="+mn-lt"/>
          <a:ea typeface="+mn-ea"/>
          <a:cs typeface="+mn-cs"/>
        </a:defRPr>
      </a:lvl5pPr>
      <a:lvl6pPr marL="2285079" algn="l" defTabSz="914032" rtl="0" eaLnBrk="1" latinLnBrk="0" hangingPunct="1">
        <a:defRPr sz="1800" kern="1200">
          <a:solidFill>
            <a:schemeClr val="tx1"/>
          </a:solidFill>
          <a:latin typeface="+mn-lt"/>
          <a:ea typeface="+mn-ea"/>
          <a:cs typeface="+mn-cs"/>
        </a:defRPr>
      </a:lvl6pPr>
      <a:lvl7pPr marL="2742096" algn="l" defTabSz="914032" rtl="0" eaLnBrk="1" latinLnBrk="0" hangingPunct="1">
        <a:defRPr sz="1800" kern="1200">
          <a:solidFill>
            <a:schemeClr val="tx1"/>
          </a:solidFill>
          <a:latin typeface="+mn-lt"/>
          <a:ea typeface="+mn-ea"/>
          <a:cs typeface="+mn-cs"/>
        </a:defRPr>
      </a:lvl7pPr>
      <a:lvl8pPr marL="3199111" algn="l" defTabSz="914032" rtl="0" eaLnBrk="1" latinLnBrk="0" hangingPunct="1">
        <a:defRPr sz="1800" kern="1200">
          <a:solidFill>
            <a:schemeClr val="tx1"/>
          </a:solidFill>
          <a:latin typeface="+mn-lt"/>
          <a:ea typeface="+mn-ea"/>
          <a:cs typeface="+mn-cs"/>
        </a:defRPr>
      </a:lvl8pPr>
      <a:lvl9pPr marL="3656127" algn="l" defTabSz="91403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1" y="365127"/>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p:cNvSpPr>
            <a:spLocks noGrp="1"/>
          </p:cNvSpPr>
          <p:nvPr>
            <p:ph type="body" idx="1"/>
          </p:nvPr>
        </p:nvSpPr>
        <p:spPr>
          <a:xfrm>
            <a:off x="838201" y="1825624"/>
            <a:ext cx="10515600" cy="4351339"/>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838202"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DD093D-997D-492A-A2A9-C1329F9A9824}" type="datetimeFigureOut">
              <a:rPr lang="ru-RU" smtClean="0">
                <a:solidFill>
                  <a:prstClr val="black">
                    <a:tint val="75000"/>
                  </a:prstClr>
                </a:solidFill>
              </a:rPr>
              <a:pPr/>
              <a:t>12.07.2022</a:t>
            </a:fld>
            <a:endParaRPr lang="ru-RU">
              <a:solidFill>
                <a:prstClr val="black">
                  <a:tint val="75000"/>
                </a:prstClr>
              </a:solidFill>
            </a:endParaRPr>
          </a:p>
        </p:txBody>
      </p:sp>
      <p:sp>
        <p:nvSpPr>
          <p:cNvPr id="5" name="Нижний колонтитул 4"/>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prstClr val="black">
                  <a:tint val="75000"/>
                </a:prstClr>
              </a:solidFill>
            </a:endParaRPr>
          </a:p>
        </p:txBody>
      </p:sp>
      <p:sp>
        <p:nvSpPr>
          <p:cNvPr id="6" name="Номер слайда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8345350-E766-4B14-8537-AACDB5C93B8D}" type="slidenum">
              <a:rPr lang="ru-RU" smtClean="0">
                <a:solidFill>
                  <a:prstClr val="black">
                    <a:tint val="75000"/>
                  </a:prstClr>
                </a:solidFill>
              </a:rPr>
              <a:pPr/>
              <a:t>‹#›</a:t>
            </a:fld>
            <a:endParaRPr lang="ru-RU">
              <a:solidFill>
                <a:prstClr val="black">
                  <a:tint val="75000"/>
                </a:prstClr>
              </a:solidFill>
            </a:endParaRPr>
          </a:p>
        </p:txBody>
      </p:sp>
    </p:spTree>
    <p:extLst>
      <p:ext uri="{BB962C8B-B14F-4D97-AF65-F5344CB8AC3E}">
        <p14:creationId xmlns:p14="http://schemas.microsoft.com/office/powerpoint/2010/main" val="1369671561"/>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Lst>
  <p:txStyles>
    <p:titleStyle>
      <a:lvl1pPr algn="l" defTabSz="91403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08" indent="-228508" algn="l" defTabSz="91403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523" indent="-228508" algn="l" defTabSz="914032" rtl="0" eaLnBrk="1" latinLnBrk="0" hangingPunct="1">
        <a:lnSpc>
          <a:spcPct val="90000"/>
        </a:lnSpc>
        <a:spcBef>
          <a:spcPts val="499"/>
        </a:spcBef>
        <a:buFont typeface="Arial" panose="020B0604020202020204" pitchFamily="34" charset="0"/>
        <a:buChar char="•"/>
        <a:defRPr sz="2400" kern="1200">
          <a:solidFill>
            <a:schemeClr val="tx1"/>
          </a:solidFill>
          <a:latin typeface="+mn-lt"/>
          <a:ea typeface="+mn-ea"/>
          <a:cs typeface="+mn-cs"/>
        </a:defRPr>
      </a:lvl2pPr>
      <a:lvl3pPr marL="1142540" indent="-228508" algn="l" defTabSz="914032" rtl="0" eaLnBrk="1" latinLnBrk="0" hangingPunct="1">
        <a:lnSpc>
          <a:spcPct val="90000"/>
        </a:lnSpc>
        <a:spcBef>
          <a:spcPts val="499"/>
        </a:spcBef>
        <a:buFont typeface="Arial" panose="020B0604020202020204" pitchFamily="34" charset="0"/>
        <a:buChar char="•"/>
        <a:defRPr sz="2000" kern="1200">
          <a:solidFill>
            <a:schemeClr val="tx1"/>
          </a:solidFill>
          <a:latin typeface="+mn-lt"/>
          <a:ea typeface="+mn-ea"/>
          <a:cs typeface="+mn-cs"/>
        </a:defRPr>
      </a:lvl3pPr>
      <a:lvl4pPr marL="1599556" indent="-228508" algn="l" defTabSz="914032"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4pPr>
      <a:lvl5pPr marL="2056572" indent="-228508" algn="l" defTabSz="914032"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5pPr>
      <a:lvl6pPr marL="2513587" indent="-228508" algn="l" defTabSz="914032"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6pPr>
      <a:lvl7pPr marL="2970604" indent="-228508" algn="l" defTabSz="914032"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7pPr>
      <a:lvl8pPr marL="3427620" indent="-228508" algn="l" defTabSz="914032"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8pPr>
      <a:lvl9pPr marL="3884635" indent="-228508" algn="l" defTabSz="914032"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032" rtl="0" eaLnBrk="1" latinLnBrk="0" hangingPunct="1">
        <a:defRPr sz="1800" kern="1200">
          <a:solidFill>
            <a:schemeClr val="tx1"/>
          </a:solidFill>
          <a:latin typeface="+mn-lt"/>
          <a:ea typeface="+mn-ea"/>
          <a:cs typeface="+mn-cs"/>
        </a:defRPr>
      </a:lvl1pPr>
      <a:lvl2pPr marL="457016" algn="l" defTabSz="914032" rtl="0" eaLnBrk="1" latinLnBrk="0" hangingPunct="1">
        <a:defRPr sz="1800" kern="1200">
          <a:solidFill>
            <a:schemeClr val="tx1"/>
          </a:solidFill>
          <a:latin typeface="+mn-lt"/>
          <a:ea typeface="+mn-ea"/>
          <a:cs typeface="+mn-cs"/>
        </a:defRPr>
      </a:lvl2pPr>
      <a:lvl3pPr marL="914032" algn="l" defTabSz="914032" rtl="0" eaLnBrk="1" latinLnBrk="0" hangingPunct="1">
        <a:defRPr sz="1800" kern="1200">
          <a:solidFill>
            <a:schemeClr val="tx1"/>
          </a:solidFill>
          <a:latin typeface="+mn-lt"/>
          <a:ea typeface="+mn-ea"/>
          <a:cs typeface="+mn-cs"/>
        </a:defRPr>
      </a:lvl3pPr>
      <a:lvl4pPr marL="1371048" algn="l" defTabSz="914032" rtl="0" eaLnBrk="1" latinLnBrk="0" hangingPunct="1">
        <a:defRPr sz="1800" kern="1200">
          <a:solidFill>
            <a:schemeClr val="tx1"/>
          </a:solidFill>
          <a:latin typeface="+mn-lt"/>
          <a:ea typeface="+mn-ea"/>
          <a:cs typeface="+mn-cs"/>
        </a:defRPr>
      </a:lvl4pPr>
      <a:lvl5pPr marL="1828063" algn="l" defTabSz="914032" rtl="0" eaLnBrk="1" latinLnBrk="0" hangingPunct="1">
        <a:defRPr sz="1800" kern="1200">
          <a:solidFill>
            <a:schemeClr val="tx1"/>
          </a:solidFill>
          <a:latin typeface="+mn-lt"/>
          <a:ea typeface="+mn-ea"/>
          <a:cs typeface="+mn-cs"/>
        </a:defRPr>
      </a:lvl5pPr>
      <a:lvl6pPr marL="2285079" algn="l" defTabSz="914032" rtl="0" eaLnBrk="1" latinLnBrk="0" hangingPunct="1">
        <a:defRPr sz="1800" kern="1200">
          <a:solidFill>
            <a:schemeClr val="tx1"/>
          </a:solidFill>
          <a:latin typeface="+mn-lt"/>
          <a:ea typeface="+mn-ea"/>
          <a:cs typeface="+mn-cs"/>
        </a:defRPr>
      </a:lvl6pPr>
      <a:lvl7pPr marL="2742096" algn="l" defTabSz="914032" rtl="0" eaLnBrk="1" latinLnBrk="0" hangingPunct="1">
        <a:defRPr sz="1800" kern="1200">
          <a:solidFill>
            <a:schemeClr val="tx1"/>
          </a:solidFill>
          <a:latin typeface="+mn-lt"/>
          <a:ea typeface="+mn-ea"/>
          <a:cs typeface="+mn-cs"/>
        </a:defRPr>
      </a:lvl7pPr>
      <a:lvl8pPr marL="3199111" algn="l" defTabSz="914032" rtl="0" eaLnBrk="1" latinLnBrk="0" hangingPunct="1">
        <a:defRPr sz="1800" kern="1200">
          <a:solidFill>
            <a:schemeClr val="tx1"/>
          </a:solidFill>
          <a:latin typeface="+mn-lt"/>
          <a:ea typeface="+mn-ea"/>
          <a:cs typeface="+mn-cs"/>
        </a:defRPr>
      </a:lvl8pPr>
      <a:lvl9pPr marL="3656127" algn="l" defTabSz="91403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43B508C0-531E-413A-8F7C-B38C03C8EEC5}"/>
              </a:ext>
            </a:extLst>
          </p:cNvPr>
          <p:cNvGraphicFramePr>
            <a:graphicFrameLocks noChangeAspect="1"/>
          </p:cNvGraphicFramePr>
          <p:nvPr userDrawn="1">
            <p:custDataLst>
              <p:tags r:id="rId24"/>
            </p:custDataLst>
            <p:extLst/>
          </p:nvPr>
        </p:nvGraphicFramePr>
        <p:xfrm>
          <a:off x="1680" y="1680"/>
          <a:ext cx="1680" cy="1681"/>
        </p:xfrm>
        <a:graphic>
          <a:graphicData uri="http://schemas.openxmlformats.org/presentationml/2006/ole">
            <mc:AlternateContent xmlns:mc="http://schemas.openxmlformats.org/markup-compatibility/2006">
              <mc:Choice xmlns:v="urn:schemas-microsoft-com:vml" Requires="v">
                <p:oleObj spid="_x0000_s10259" name="Слайд think-cell" r:id="rId25" imgW="270" imgH="270" progId="TCLayout.ActiveDocument.1">
                  <p:embed/>
                </p:oleObj>
              </mc:Choice>
              <mc:Fallback>
                <p:oleObj name="Слайд think-cell" r:id="rId25" imgW="270" imgH="270" progId="TCLayout.ActiveDocument.1">
                  <p:embed/>
                  <p:pic>
                    <p:nvPicPr>
                      <p:cNvPr id="2" name="Объект 1" hidden="1">
                        <a:extLst>
                          <a:ext uri="{FF2B5EF4-FFF2-40B4-BE49-F238E27FC236}">
                            <a16:creationId xmlns:a16="http://schemas.microsoft.com/office/drawing/2014/main" id="{43B508C0-531E-413A-8F7C-B38C03C8EEC5}"/>
                          </a:ext>
                        </a:extLst>
                      </p:cNvPr>
                      <p:cNvPicPr/>
                      <p:nvPr/>
                    </p:nvPicPr>
                    <p:blipFill>
                      <a:blip r:embed="rId26"/>
                      <a:stretch>
                        <a:fillRect/>
                      </a:stretch>
                    </p:blipFill>
                    <p:spPr>
                      <a:xfrm>
                        <a:off x="1680" y="1680"/>
                        <a:ext cx="1680" cy="1681"/>
                      </a:xfrm>
                      <a:prstGeom prst="rect">
                        <a:avLst/>
                      </a:prstGeom>
                    </p:spPr>
                  </p:pic>
                </p:oleObj>
              </mc:Fallback>
            </mc:AlternateContent>
          </a:graphicData>
        </a:graphic>
      </p:graphicFrame>
      <p:sp>
        <p:nvSpPr>
          <p:cNvPr id="42" name="Footer Placeholder 41"/>
          <p:cNvSpPr>
            <a:spLocks noGrp="1"/>
          </p:cNvSpPr>
          <p:nvPr>
            <p:ph type="ftr" sz="quarter" idx="3"/>
          </p:nvPr>
        </p:nvSpPr>
        <p:spPr>
          <a:xfrm>
            <a:off x="381315" y="6858002"/>
            <a:ext cx="3619388" cy="381382"/>
          </a:xfrm>
          <a:prstGeom prst="rect">
            <a:avLst/>
          </a:prstGeom>
        </p:spPr>
        <p:txBody>
          <a:bodyPr vert="horz" lIns="91440" tIns="45720" rIns="91440" bIns="45720" rtlCol="0" anchor="ctr"/>
          <a:lstStyle>
            <a:lvl1pPr algn="ctr">
              <a:defRPr sz="1270">
                <a:solidFill>
                  <a:schemeClr val="bg1">
                    <a:lumMod val="50000"/>
                  </a:schemeClr>
                </a:solidFill>
                <a:latin typeface="Arial" charset="0"/>
                <a:ea typeface="Arial" charset="0"/>
                <a:cs typeface="Arial" charset="0"/>
              </a:defRPr>
            </a:lvl1pPr>
          </a:lstStyle>
          <a:p>
            <a:endParaRPr lang="ru-RU"/>
          </a:p>
        </p:txBody>
      </p:sp>
      <p:sp>
        <p:nvSpPr>
          <p:cNvPr id="45" name="Date Placeholder 44"/>
          <p:cNvSpPr>
            <a:spLocks noGrp="1"/>
          </p:cNvSpPr>
          <p:nvPr>
            <p:ph type="dt" sz="half" idx="2"/>
          </p:nvPr>
        </p:nvSpPr>
        <p:spPr>
          <a:xfrm>
            <a:off x="4191108" y="6858000"/>
            <a:ext cx="2667525" cy="381384"/>
          </a:xfrm>
          <a:prstGeom prst="rect">
            <a:avLst/>
          </a:prstGeom>
        </p:spPr>
        <p:txBody>
          <a:bodyPr vert="horz" lIns="91440" tIns="45720" rIns="91440" bIns="45720" rtlCol="0" anchor="ctr"/>
          <a:lstStyle>
            <a:lvl1pPr algn="l">
              <a:defRPr sz="1270">
                <a:solidFill>
                  <a:schemeClr val="bg1">
                    <a:lumMod val="50000"/>
                  </a:schemeClr>
                </a:solidFill>
                <a:latin typeface="Arial" charset="0"/>
                <a:ea typeface="Arial" charset="0"/>
                <a:cs typeface="Arial" charset="0"/>
              </a:defRPr>
            </a:lvl1pPr>
          </a:lstStyle>
          <a:p>
            <a:endParaRPr lang="ru-RU"/>
          </a:p>
        </p:txBody>
      </p:sp>
      <p:sp>
        <p:nvSpPr>
          <p:cNvPr id="46" name="Slide Number Placeholder 45"/>
          <p:cNvSpPr>
            <a:spLocks noGrp="1"/>
          </p:cNvSpPr>
          <p:nvPr>
            <p:ph type="sldNum" sz="quarter" idx="4"/>
          </p:nvPr>
        </p:nvSpPr>
        <p:spPr>
          <a:xfrm>
            <a:off x="10858239" y="6858000"/>
            <a:ext cx="762631" cy="381384"/>
          </a:xfrm>
          <a:prstGeom prst="rect">
            <a:avLst/>
          </a:prstGeom>
        </p:spPr>
        <p:txBody>
          <a:bodyPr vert="horz" lIns="91440" tIns="45720" rIns="91440" bIns="45720" rtlCol="0" anchor="ctr"/>
          <a:lstStyle>
            <a:lvl1pPr algn="ctr">
              <a:defRPr sz="1270">
                <a:solidFill>
                  <a:schemeClr val="bg1">
                    <a:lumMod val="50000"/>
                  </a:schemeClr>
                </a:solidFill>
                <a:latin typeface="Arial" charset="0"/>
                <a:ea typeface="Arial" charset="0"/>
                <a:cs typeface="Arial" charset="0"/>
              </a:defRPr>
            </a:lvl1pPr>
          </a:lstStyle>
          <a:p>
            <a:fld id="{41EDA0AC-921D-4240-B96C-50D453752670}" type="slidenum">
              <a:rPr lang="ru-RU" smtClean="0"/>
              <a:pPr/>
              <a:t>‹#›</a:t>
            </a:fld>
            <a:endParaRPr lang="ru-RU"/>
          </a:p>
        </p:txBody>
      </p:sp>
    </p:spTree>
    <p:extLst>
      <p:ext uri="{BB962C8B-B14F-4D97-AF65-F5344CB8AC3E}">
        <p14:creationId xmlns:p14="http://schemas.microsoft.com/office/powerpoint/2010/main" val="938563828"/>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Lst>
  <p:transition>
    <p:fade/>
  </p:transition>
  <p:hf hdr="0" ftr="0" dt="0"/>
  <p:txStyles>
    <p:titleStyle>
      <a:lvl1pPr algn="l" defTabSz="967332" rtl="0" eaLnBrk="1" latinLnBrk="0" hangingPunct="1">
        <a:spcBef>
          <a:spcPct val="0"/>
        </a:spcBef>
        <a:buNone/>
        <a:defRPr lang="ru-RU" sz="1270" b="1" i="0" kern="1200" cap="all" spc="106" baseline="0">
          <a:solidFill>
            <a:srgbClr val="E92721"/>
          </a:solidFill>
          <a:latin typeface="Arial Black" charset="0"/>
          <a:ea typeface="Arial Black" charset="0"/>
          <a:cs typeface="Arial Black" charset="0"/>
        </a:defRPr>
      </a:lvl1pPr>
    </p:titleStyle>
    <p:bodyStyle>
      <a:lvl1pPr marL="362749" indent="-362749" algn="l" defTabSz="967332" rtl="0" eaLnBrk="1" latinLnBrk="0" hangingPunct="1">
        <a:spcBef>
          <a:spcPct val="20000"/>
        </a:spcBef>
        <a:buFont typeface="Arial" pitchFamily="34" charset="0"/>
        <a:buChar char="•"/>
        <a:defRPr sz="3385" kern="1200">
          <a:solidFill>
            <a:schemeClr val="tx1"/>
          </a:solidFill>
          <a:latin typeface="+mn-lt"/>
          <a:ea typeface="+mn-ea"/>
          <a:cs typeface="+mn-cs"/>
        </a:defRPr>
      </a:lvl1pPr>
      <a:lvl2pPr marL="785957" indent="-302291" algn="l" defTabSz="967332" rtl="0" eaLnBrk="1" latinLnBrk="0" hangingPunct="1">
        <a:spcBef>
          <a:spcPct val="20000"/>
        </a:spcBef>
        <a:buFont typeface="Arial" pitchFamily="34" charset="0"/>
        <a:buChar char="–"/>
        <a:defRPr sz="2963" kern="1200">
          <a:solidFill>
            <a:schemeClr val="tx1"/>
          </a:solidFill>
          <a:latin typeface="+mn-lt"/>
          <a:ea typeface="+mn-ea"/>
          <a:cs typeface="+mn-cs"/>
        </a:defRPr>
      </a:lvl2pPr>
      <a:lvl3pPr marL="1209165" indent="-241833" algn="l" defTabSz="967332" rtl="0" eaLnBrk="1" latinLnBrk="0" hangingPunct="1">
        <a:spcBef>
          <a:spcPct val="20000"/>
        </a:spcBef>
        <a:buFont typeface="Arial" pitchFamily="34" charset="0"/>
        <a:buChar char="•"/>
        <a:defRPr sz="2538" kern="1200">
          <a:solidFill>
            <a:schemeClr val="tx1"/>
          </a:solidFill>
          <a:latin typeface="+mn-lt"/>
          <a:ea typeface="+mn-ea"/>
          <a:cs typeface="+mn-cs"/>
        </a:defRPr>
      </a:lvl3pPr>
      <a:lvl4pPr marL="1692831" indent="-241833" algn="l" defTabSz="967332" rtl="0" eaLnBrk="1" latinLnBrk="0" hangingPunct="1">
        <a:spcBef>
          <a:spcPct val="20000"/>
        </a:spcBef>
        <a:buFont typeface="Arial" pitchFamily="34" charset="0"/>
        <a:buChar char="–"/>
        <a:defRPr sz="2115" kern="1200">
          <a:solidFill>
            <a:schemeClr val="tx1"/>
          </a:solidFill>
          <a:latin typeface="+mn-lt"/>
          <a:ea typeface="+mn-ea"/>
          <a:cs typeface="+mn-cs"/>
        </a:defRPr>
      </a:lvl4pPr>
      <a:lvl5pPr marL="2176497" indent="-241833" algn="l" defTabSz="967332" rtl="0" eaLnBrk="1" latinLnBrk="0" hangingPunct="1">
        <a:spcBef>
          <a:spcPct val="20000"/>
        </a:spcBef>
        <a:buFont typeface="Arial" pitchFamily="34" charset="0"/>
        <a:buChar char="»"/>
        <a:defRPr sz="2115" kern="1200">
          <a:solidFill>
            <a:schemeClr val="tx1"/>
          </a:solidFill>
          <a:latin typeface="+mn-lt"/>
          <a:ea typeface="+mn-ea"/>
          <a:cs typeface="+mn-cs"/>
        </a:defRPr>
      </a:lvl5pPr>
      <a:lvl6pPr marL="2660163" indent="-241833" algn="l" defTabSz="967332" rtl="0" eaLnBrk="1" latinLnBrk="0" hangingPunct="1">
        <a:spcBef>
          <a:spcPct val="20000"/>
        </a:spcBef>
        <a:buFont typeface="Arial" pitchFamily="34" charset="0"/>
        <a:buChar char="•"/>
        <a:defRPr sz="2115" kern="1200">
          <a:solidFill>
            <a:schemeClr val="tx1"/>
          </a:solidFill>
          <a:latin typeface="+mn-lt"/>
          <a:ea typeface="+mn-ea"/>
          <a:cs typeface="+mn-cs"/>
        </a:defRPr>
      </a:lvl6pPr>
      <a:lvl7pPr marL="3143829" indent="-241833" algn="l" defTabSz="967332" rtl="0" eaLnBrk="1" latinLnBrk="0" hangingPunct="1">
        <a:spcBef>
          <a:spcPct val="20000"/>
        </a:spcBef>
        <a:buFont typeface="Arial" pitchFamily="34" charset="0"/>
        <a:buChar char="•"/>
        <a:defRPr sz="2115" kern="1200">
          <a:solidFill>
            <a:schemeClr val="tx1"/>
          </a:solidFill>
          <a:latin typeface="+mn-lt"/>
          <a:ea typeface="+mn-ea"/>
          <a:cs typeface="+mn-cs"/>
        </a:defRPr>
      </a:lvl7pPr>
      <a:lvl8pPr marL="3627495" indent="-241833" algn="l" defTabSz="967332" rtl="0" eaLnBrk="1" latinLnBrk="0" hangingPunct="1">
        <a:spcBef>
          <a:spcPct val="20000"/>
        </a:spcBef>
        <a:buFont typeface="Arial" pitchFamily="34" charset="0"/>
        <a:buChar char="•"/>
        <a:defRPr sz="2115" kern="1200">
          <a:solidFill>
            <a:schemeClr val="tx1"/>
          </a:solidFill>
          <a:latin typeface="+mn-lt"/>
          <a:ea typeface="+mn-ea"/>
          <a:cs typeface="+mn-cs"/>
        </a:defRPr>
      </a:lvl8pPr>
      <a:lvl9pPr marL="4111160" indent="-241833" algn="l" defTabSz="967332" rtl="0" eaLnBrk="1" latinLnBrk="0" hangingPunct="1">
        <a:spcBef>
          <a:spcPct val="20000"/>
        </a:spcBef>
        <a:buFont typeface="Arial" pitchFamily="34" charset="0"/>
        <a:buChar char="•"/>
        <a:defRPr sz="2115" kern="1200">
          <a:solidFill>
            <a:schemeClr val="tx1"/>
          </a:solidFill>
          <a:latin typeface="+mn-lt"/>
          <a:ea typeface="+mn-ea"/>
          <a:cs typeface="+mn-cs"/>
        </a:defRPr>
      </a:lvl9pPr>
    </p:bodyStyle>
    <p:otherStyle>
      <a:defPPr>
        <a:defRPr lang="ru-RU"/>
      </a:defPPr>
      <a:lvl1pPr marL="0" algn="l" defTabSz="967332" rtl="0" eaLnBrk="1" latinLnBrk="0" hangingPunct="1">
        <a:defRPr sz="1905" kern="1200">
          <a:solidFill>
            <a:schemeClr val="tx1"/>
          </a:solidFill>
          <a:latin typeface="+mn-lt"/>
          <a:ea typeface="+mn-ea"/>
          <a:cs typeface="+mn-cs"/>
        </a:defRPr>
      </a:lvl1pPr>
      <a:lvl2pPr marL="483666" algn="l" defTabSz="967332" rtl="0" eaLnBrk="1" latinLnBrk="0" hangingPunct="1">
        <a:defRPr sz="1905" kern="1200">
          <a:solidFill>
            <a:schemeClr val="tx1"/>
          </a:solidFill>
          <a:latin typeface="+mn-lt"/>
          <a:ea typeface="+mn-ea"/>
          <a:cs typeface="+mn-cs"/>
        </a:defRPr>
      </a:lvl2pPr>
      <a:lvl3pPr marL="967332" algn="l" defTabSz="967332" rtl="0" eaLnBrk="1" latinLnBrk="0" hangingPunct="1">
        <a:defRPr sz="1905" kern="1200">
          <a:solidFill>
            <a:schemeClr val="tx1"/>
          </a:solidFill>
          <a:latin typeface="+mn-lt"/>
          <a:ea typeface="+mn-ea"/>
          <a:cs typeface="+mn-cs"/>
        </a:defRPr>
      </a:lvl3pPr>
      <a:lvl4pPr marL="1450998" algn="l" defTabSz="967332" rtl="0" eaLnBrk="1" latinLnBrk="0" hangingPunct="1">
        <a:defRPr sz="1905" kern="1200">
          <a:solidFill>
            <a:schemeClr val="tx1"/>
          </a:solidFill>
          <a:latin typeface="+mn-lt"/>
          <a:ea typeface="+mn-ea"/>
          <a:cs typeface="+mn-cs"/>
        </a:defRPr>
      </a:lvl4pPr>
      <a:lvl5pPr marL="1934664" algn="l" defTabSz="967332" rtl="0" eaLnBrk="1" latinLnBrk="0" hangingPunct="1">
        <a:defRPr sz="1905" kern="1200">
          <a:solidFill>
            <a:schemeClr val="tx1"/>
          </a:solidFill>
          <a:latin typeface="+mn-lt"/>
          <a:ea typeface="+mn-ea"/>
          <a:cs typeface="+mn-cs"/>
        </a:defRPr>
      </a:lvl5pPr>
      <a:lvl6pPr marL="2418330" algn="l" defTabSz="967332" rtl="0" eaLnBrk="1" latinLnBrk="0" hangingPunct="1">
        <a:defRPr sz="1905" kern="1200">
          <a:solidFill>
            <a:schemeClr val="tx1"/>
          </a:solidFill>
          <a:latin typeface="+mn-lt"/>
          <a:ea typeface="+mn-ea"/>
          <a:cs typeface="+mn-cs"/>
        </a:defRPr>
      </a:lvl6pPr>
      <a:lvl7pPr marL="2901996" algn="l" defTabSz="967332" rtl="0" eaLnBrk="1" latinLnBrk="0" hangingPunct="1">
        <a:defRPr sz="1905" kern="1200">
          <a:solidFill>
            <a:schemeClr val="tx1"/>
          </a:solidFill>
          <a:latin typeface="+mn-lt"/>
          <a:ea typeface="+mn-ea"/>
          <a:cs typeface="+mn-cs"/>
        </a:defRPr>
      </a:lvl7pPr>
      <a:lvl8pPr marL="3385662" algn="l" defTabSz="967332" rtl="0" eaLnBrk="1" latinLnBrk="0" hangingPunct="1">
        <a:defRPr sz="1905" kern="1200">
          <a:solidFill>
            <a:schemeClr val="tx1"/>
          </a:solidFill>
          <a:latin typeface="+mn-lt"/>
          <a:ea typeface="+mn-ea"/>
          <a:cs typeface="+mn-cs"/>
        </a:defRPr>
      </a:lvl8pPr>
      <a:lvl9pPr marL="3869328" algn="l" defTabSz="967332"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BAE40"/>
          </p15:clr>
        </p15:guide>
        <p15:guide id="2" pos="7258">
          <p15:clr>
            <a:srgbClr val="FBAE40"/>
          </p15:clr>
        </p15:guide>
        <p15:guide id="3" orient="horz">
          <p15:clr>
            <a:srgbClr val="FBAE40"/>
          </p15:clr>
        </p15:guide>
        <p15:guide id="4" orient="horz" pos="4082">
          <p15:clr>
            <a:srgbClr val="FBAE40"/>
          </p15:clr>
        </p15:guide>
        <p15:guide id="5" pos="227">
          <p15:clr>
            <a:srgbClr val="5ACBF0"/>
          </p15:clr>
        </p15:guide>
        <p15:guide id="6" pos="1860">
          <p15:clr>
            <a:srgbClr val="5ACBF0"/>
          </p15:clr>
        </p15:guide>
        <p15:guide id="7" orient="horz" pos="227">
          <p15:clr>
            <a:srgbClr val="FDE53C"/>
          </p15:clr>
        </p15:guide>
        <p15:guide id="8" orient="horz" pos="3855">
          <p15:clr>
            <a:srgbClr val="FDE53C"/>
          </p15:clr>
        </p15:guide>
        <p15:guide id="36" orient="horz" pos="2086">
          <p15:clr>
            <a:srgbClr val="FDE53C"/>
          </p15:clr>
        </p15:guide>
        <p15:guide id="37" pos="703">
          <p15:clr>
            <a:srgbClr val="5ACBF0"/>
          </p15:clr>
        </p15:guide>
        <p15:guide id="38" pos="794">
          <p15:clr>
            <a:srgbClr val="5ACBF0"/>
          </p15:clr>
        </p15:guide>
        <p15:guide id="39" pos="1293">
          <p15:clr>
            <a:srgbClr val="5ACBF0"/>
          </p15:clr>
        </p15:guide>
        <p15:guide id="40" pos="1384">
          <p15:clr>
            <a:srgbClr val="5ACBF0"/>
          </p15:clr>
        </p15:guide>
        <p15:guide id="41" pos="1951">
          <p15:clr>
            <a:srgbClr val="5ACBF0"/>
          </p15:clr>
        </p15:guide>
        <p15:guide id="42" pos="2427">
          <p15:clr>
            <a:srgbClr val="5ACBF0"/>
          </p15:clr>
        </p15:guide>
        <p15:guide id="43" pos="2518">
          <p15:clr>
            <a:srgbClr val="5ACBF0"/>
          </p15:clr>
        </p15:guide>
        <p15:guide id="44" pos="3017">
          <p15:clr>
            <a:srgbClr val="5ACBF0"/>
          </p15:clr>
        </p15:guide>
        <p15:guide id="46" pos="3674">
          <p15:clr>
            <a:srgbClr val="5ACBF0"/>
          </p15:clr>
        </p15:guide>
        <p15:guide id="48" pos="3107">
          <p15:clr>
            <a:srgbClr val="5ACBF0"/>
          </p15:clr>
        </p15:guide>
        <p15:guide id="49" pos="3584">
          <p15:clr>
            <a:srgbClr val="5ACBF0"/>
          </p15:clr>
        </p15:guide>
        <p15:guide id="50" pos="4740">
          <p15:clr>
            <a:srgbClr val="5ACBF0"/>
          </p15:clr>
        </p15:guide>
        <p15:guide id="51" pos="4241">
          <p15:clr>
            <a:srgbClr val="5ACBF0"/>
          </p15:clr>
        </p15:guide>
        <p15:guide id="52" pos="4151">
          <p15:clr>
            <a:srgbClr val="5ACBF0"/>
          </p15:clr>
        </p15:guide>
        <p15:guide id="53" pos="4831">
          <p15:clr>
            <a:srgbClr val="5ACBF0"/>
          </p15:clr>
        </p15:guide>
        <p15:guide id="54" pos="5307">
          <p15:clr>
            <a:srgbClr val="5ACBF0"/>
          </p15:clr>
        </p15:guide>
        <p15:guide id="55" pos="5398">
          <p15:clr>
            <a:srgbClr val="5ACBF0"/>
          </p15:clr>
        </p15:guide>
        <p15:guide id="56" pos="5874">
          <p15:clr>
            <a:srgbClr val="5ACBF0"/>
          </p15:clr>
        </p15:guide>
        <p15:guide id="57" pos="5965">
          <p15:clr>
            <a:srgbClr val="5ACBF0"/>
          </p15:clr>
        </p15:guide>
        <p15:guide id="60" pos="6441">
          <p15:clr>
            <a:srgbClr val="5ACBF0"/>
          </p15:clr>
        </p15:guide>
        <p15:guide id="61" pos="6532">
          <p15:clr>
            <a:srgbClr val="5ACBF0"/>
          </p15:clr>
        </p15:guide>
        <p15:guide id="62" pos="7031">
          <p15:clr>
            <a:srgbClr val="5ACBF0"/>
          </p15:clr>
        </p15:guide>
        <p15:guide id="63" orient="horz" pos="1996">
          <p15:clr>
            <a:srgbClr val="FDE53C"/>
          </p15:clr>
        </p15:guide>
        <p15:guide id="64" orient="horz" pos="1474">
          <p15:clr>
            <a:srgbClr val="5ACBF0"/>
          </p15:clr>
        </p15:guide>
        <p15:guide id="65" orient="horz" pos="1383">
          <p15:clr>
            <a:srgbClr val="5ACBF0"/>
          </p15:clr>
        </p15:guide>
        <p15:guide id="66" orient="horz" pos="839">
          <p15:clr>
            <a:srgbClr val="5ACBF0"/>
          </p15:clr>
        </p15:guide>
        <p15:guide id="67" orient="horz" pos="748">
          <p15:clr>
            <a:srgbClr val="5ACBF0"/>
          </p15:clr>
        </p15:guide>
        <p15:guide id="68" orient="horz" pos="2608">
          <p15:clr>
            <a:srgbClr val="5ACBF0"/>
          </p15:clr>
        </p15:guide>
        <p15:guide id="69" orient="horz" pos="2699">
          <p15:clr>
            <a:srgbClr val="5ACBF0"/>
          </p15:clr>
        </p15:guide>
        <p15:guide id="70" orient="horz" pos="3243">
          <p15:clr>
            <a:srgbClr val="5ACBF0"/>
          </p15:clr>
        </p15:guide>
        <p15:guide id="71" orient="horz" pos="3334">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xml"/><Relationship Id="rId4" Type="http://schemas.openxmlformats.org/officeDocument/2006/relationships/slideLayout" Target="../slideLayouts/slideLayout60.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41.xml"/><Relationship Id="rId5" Type="http://schemas.openxmlformats.org/officeDocument/2006/relationships/image" Target="../media/image18.jpeg"/><Relationship Id="rId4" Type="http://schemas.openxmlformats.org/officeDocument/2006/relationships/image" Target="../media/image17.jpe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41.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1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2.xml"/><Relationship Id="rId1" Type="http://schemas.openxmlformats.org/officeDocument/2006/relationships/slideLayout" Target="../slideLayouts/slideLayout41.xml"/><Relationship Id="rId5" Type="http://schemas.openxmlformats.org/officeDocument/2006/relationships/image" Target="../media/image25.jpeg"/><Relationship Id="rId4" Type="http://schemas.openxmlformats.org/officeDocument/2006/relationships/image" Target="../media/image24.jpeg"/></Relationships>
</file>

<file path=ppt/slides/_rels/slide1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3.xml"/><Relationship Id="rId1" Type="http://schemas.openxmlformats.org/officeDocument/2006/relationships/slideLayout" Target="../slideLayouts/slideLayout41.xml"/><Relationship Id="rId5" Type="http://schemas.openxmlformats.org/officeDocument/2006/relationships/image" Target="../media/image28.jpeg"/><Relationship Id="rId4" Type="http://schemas.openxmlformats.org/officeDocument/2006/relationships/image" Target="../media/image27.jpeg"/></Relationships>
</file>

<file path=ppt/slides/_rels/slide1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4.xml"/><Relationship Id="rId1" Type="http://schemas.openxmlformats.org/officeDocument/2006/relationships/slideLayout" Target="../slideLayouts/slideLayout41.xml"/><Relationship Id="rId5" Type="http://schemas.openxmlformats.org/officeDocument/2006/relationships/image" Target="../media/image31.jpeg"/><Relationship Id="rId4" Type="http://schemas.openxmlformats.org/officeDocument/2006/relationships/image" Target="../media/image30.jpeg"/></Relationships>
</file>

<file path=ppt/slides/_rels/slide15.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5.xml"/><Relationship Id="rId1" Type="http://schemas.openxmlformats.org/officeDocument/2006/relationships/slideLayout" Target="../slideLayouts/slideLayout41.xml"/><Relationship Id="rId5" Type="http://schemas.openxmlformats.org/officeDocument/2006/relationships/image" Target="../media/image34.jpeg"/><Relationship Id="rId4" Type="http://schemas.openxmlformats.org/officeDocument/2006/relationships/image" Target="../media/image33.jpeg"/></Relationships>
</file>

<file path=ppt/slides/_rels/slide1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6.xml"/><Relationship Id="rId1" Type="http://schemas.openxmlformats.org/officeDocument/2006/relationships/slideLayout" Target="../slideLayouts/slideLayout41.xml"/><Relationship Id="rId5" Type="http://schemas.openxmlformats.org/officeDocument/2006/relationships/image" Target="../media/image37.jpeg"/><Relationship Id="rId4" Type="http://schemas.openxmlformats.org/officeDocument/2006/relationships/image" Target="../media/image36.jpeg"/></Relationships>
</file>

<file path=ppt/slides/_rels/slide1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7.xml"/><Relationship Id="rId1" Type="http://schemas.openxmlformats.org/officeDocument/2006/relationships/slideLayout" Target="../slideLayouts/slideLayout41.xml"/><Relationship Id="rId5" Type="http://schemas.openxmlformats.org/officeDocument/2006/relationships/image" Target="../media/image40.jpeg"/><Relationship Id="rId4" Type="http://schemas.openxmlformats.org/officeDocument/2006/relationships/image" Target="../media/image39.jpeg"/></Relationships>
</file>

<file path=ppt/slides/_rels/slide1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8.xml"/><Relationship Id="rId1" Type="http://schemas.openxmlformats.org/officeDocument/2006/relationships/slideLayout" Target="../slideLayouts/slideLayout41.xml"/><Relationship Id="rId5" Type="http://schemas.openxmlformats.org/officeDocument/2006/relationships/image" Target="../media/image43.jpeg"/><Relationship Id="rId4" Type="http://schemas.openxmlformats.org/officeDocument/2006/relationships/image" Target="../media/image42.jpeg"/></Relationships>
</file>

<file path=ppt/slides/_rels/slide19.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9.xml"/><Relationship Id="rId1" Type="http://schemas.openxmlformats.org/officeDocument/2006/relationships/slideLayout" Target="../slideLayouts/slideLayout41.xml"/><Relationship Id="rId5" Type="http://schemas.openxmlformats.org/officeDocument/2006/relationships/image" Target="../media/image46.jpeg"/><Relationship Id="rId4" Type="http://schemas.openxmlformats.org/officeDocument/2006/relationships/image" Target="../media/image45.jp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32.xml"/><Relationship Id="rId4" Type="http://schemas.openxmlformats.org/officeDocument/2006/relationships/image" Target="../media/image4.jpeg"/></Relationships>
</file>

<file path=ppt/slides/_rels/slide20.xml.rels><?xml version="1.0" encoding="UTF-8" standalone="yes"?>
<Relationships xmlns="http://schemas.openxmlformats.org/package/2006/relationships"><Relationship Id="rId3" Type="http://schemas.openxmlformats.org/officeDocument/2006/relationships/image" Target="../media/image47.jpg"/><Relationship Id="rId7" Type="http://schemas.openxmlformats.org/officeDocument/2006/relationships/image" Target="../media/image51.png"/><Relationship Id="rId2" Type="http://schemas.openxmlformats.org/officeDocument/2006/relationships/notesSlide" Target="../notesSlides/notesSlide20.xml"/><Relationship Id="rId1" Type="http://schemas.openxmlformats.org/officeDocument/2006/relationships/slideLayout" Target="../slideLayouts/slideLayout47.xml"/><Relationship Id="rId6" Type="http://schemas.openxmlformats.org/officeDocument/2006/relationships/image" Target="../media/image50.jpg"/><Relationship Id="rId5" Type="http://schemas.openxmlformats.org/officeDocument/2006/relationships/image" Target="../media/image49.png"/><Relationship Id="rId4" Type="http://schemas.openxmlformats.org/officeDocument/2006/relationships/image" Target="../media/image48.png"/></Relationships>
</file>

<file path=ppt/slides/_rels/slide2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22.xml"/><Relationship Id="rId4"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8" Type="http://schemas.openxmlformats.org/officeDocument/2006/relationships/image" Target="../media/image1.emf"/><Relationship Id="rId13" Type="http://schemas.microsoft.com/office/2007/relationships/hdphoto" Target="../media/hdphoto3.wdp"/><Relationship Id="rId3" Type="http://schemas.openxmlformats.org/officeDocument/2006/relationships/tags" Target="../tags/tag32.xml"/><Relationship Id="rId7" Type="http://schemas.openxmlformats.org/officeDocument/2006/relationships/oleObject" Target="../embeddings/oleObject7.bin"/><Relationship Id="rId12" Type="http://schemas.openxmlformats.org/officeDocument/2006/relationships/image" Target="../media/image57.png"/><Relationship Id="rId17" Type="http://schemas.openxmlformats.org/officeDocument/2006/relationships/image" Target="../media/image60.jpeg"/><Relationship Id="rId2" Type="http://schemas.openxmlformats.org/officeDocument/2006/relationships/tags" Target="../tags/tag31.xml"/><Relationship Id="rId16" Type="http://schemas.openxmlformats.org/officeDocument/2006/relationships/image" Target="../media/image59.jpeg"/><Relationship Id="rId1" Type="http://schemas.openxmlformats.org/officeDocument/2006/relationships/vmlDrawing" Target="../drawings/vmlDrawing7.vml"/><Relationship Id="rId6" Type="http://schemas.openxmlformats.org/officeDocument/2006/relationships/image" Target="../media/image53.jpeg"/><Relationship Id="rId11" Type="http://schemas.openxmlformats.org/officeDocument/2006/relationships/image" Target="../media/image56.jpeg"/><Relationship Id="rId5" Type="http://schemas.openxmlformats.org/officeDocument/2006/relationships/notesSlide" Target="../notesSlides/notesSlide23.xml"/><Relationship Id="rId15" Type="http://schemas.microsoft.com/office/2007/relationships/hdphoto" Target="../media/hdphoto4.wdp"/><Relationship Id="rId10" Type="http://schemas.openxmlformats.org/officeDocument/2006/relationships/image" Target="../media/image55.png"/><Relationship Id="rId4" Type="http://schemas.openxmlformats.org/officeDocument/2006/relationships/slideLayout" Target="../slideLayouts/slideLayout6.xml"/><Relationship Id="rId9" Type="http://schemas.openxmlformats.org/officeDocument/2006/relationships/image" Target="../media/image54.png"/><Relationship Id="rId14" Type="http://schemas.openxmlformats.org/officeDocument/2006/relationships/image" Target="../media/image58.png"/></Relationships>
</file>

<file path=ppt/slides/_rels/slide24.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notesSlide" Target="../notesSlides/notesSlide24.xml"/><Relationship Id="rId1" Type="http://schemas.openxmlformats.org/officeDocument/2006/relationships/slideLayout" Target="../slideLayouts/slideLayout20.xml"/><Relationship Id="rId4" Type="http://schemas.openxmlformats.org/officeDocument/2006/relationships/image" Target="../media/image62.tmp"/></Relationships>
</file>

<file path=ppt/slides/_rels/slide25.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25.xml"/><Relationship Id="rId1" Type="http://schemas.openxmlformats.org/officeDocument/2006/relationships/slideLayout" Target="../slideLayouts/slideLayout73.xml"/></Relationships>
</file>

<file path=ppt/slides/_rels/slide26.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1.jpg"/><Relationship Id="rId7" Type="http://schemas.openxmlformats.org/officeDocument/2006/relationships/image" Target="../media/image67.png"/><Relationship Id="rId2" Type="http://schemas.openxmlformats.org/officeDocument/2006/relationships/notesSlide" Target="../notesSlides/notesSlide26.xml"/><Relationship Id="rId1" Type="http://schemas.openxmlformats.org/officeDocument/2006/relationships/slideLayout" Target="../slideLayouts/slideLayout93.xml"/><Relationship Id="rId6" Type="http://schemas.openxmlformats.org/officeDocument/2006/relationships/image" Target="../media/image66.tmp"/><Relationship Id="rId5" Type="http://schemas.openxmlformats.org/officeDocument/2006/relationships/image" Target="../media/image65.png"/><Relationship Id="rId4" Type="http://schemas.openxmlformats.org/officeDocument/2006/relationships/image" Target="../media/image64.png"/></Relationships>
</file>

<file path=ppt/slides/_rels/slide2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7.xml"/><Relationship Id="rId1" Type="http://schemas.openxmlformats.org/officeDocument/2006/relationships/slideLayout" Target="../slideLayouts/slideLayout93.xml"/><Relationship Id="rId4" Type="http://schemas.openxmlformats.org/officeDocument/2006/relationships/image" Target="../media/image61.jpg"/></Relationships>
</file>

<file path=ppt/slides/_rels/slide28.xml.rels><?xml version="1.0" encoding="UTF-8" standalone="yes"?>
<Relationships xmlns="http://schemas.openxmlformats.org/package/2006/relationships"><Relationship Id="rId3" Type="http://schemas.openxmlformats.org/officeDocument/2006/relationships/image" Target="../media/image61.jpg"/><Relationship Id="rId2" Type="http://schemas.openxmlformats.org/officeDocument/2006/relationships/notesSlide" Target="../notesSlides/notesSlide28.xml"/><Relationship Id="rId1" Type="http://schemas.openxmlformats.org/officeDocument/2006/relationships/slideLayout" Target="../slideLayouts/slideLayout93.xml"/></Relationships>
</file>

<file path=ppt/slides/_rels/slide2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9.xml"/><Relationship Id="rId1" Type="http://schemas.openxmlformats.org/officeDocument/2006/relationships/slideLayout" Target="../slideLayouts/slideLayout32.xml"/><Relationship Id="rId4" Type="http://schemas.openxmlformats.org/officeDocument/2006/relationships/image" Target="../media/image69.png"/></Relationships>
</file>

<file path=ppt/slides/_rels/slide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30.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30.xml"/><Relationship Id="rId1" Type="http://schemas.openxmlformats.org/officeDocument/2006/relationships/slideLayout" Target="../slideLayouts/slideLayout27.xml"/><Relationship Id="rId4" Type="http://schemas.openxmlformats.org/officeDocument/2006/relationships/image" Target="../media/image71.jpg"/></Relationships>
</file>

<file path=ppt/slides/_rels/slide31.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31.xml"/><Relationship Id="rId1" Type="http://schemas.openxmlformats.org/officeDocument/2006/relationships/slideLayout" Target="../slideLayouts/slideLayout27.xml"/><Relationship Id="rId4" Type="http://schemas.openxmlformats.org/officeDocument/2006/relationships/image" Target="../media/image73.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7.xml"/></Relationships>
</file>

<file path=ppt/slides/_rels/slide3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33.xml"/><Relationship Id="rId1" Type="http://schemas.openxmlformats.org/officeDocument/2006/relationships/slideLayout" Target="../slideLayouts/slideLayout27.xml"/></Relationships>
</file>

<file path=ppt/slides/_rels/slide3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34.xml"/><Relationship Id="rId1" Type="http://schemas.openxmlformats.org/officeDocument/2006/relationships/slideLayout" Target="../slideLayouts/slideLayout27.xml"/></Relationships>
</file>

<file path=ppt/slides/_rels/slide35.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35.xml"/><Relationship Id="rId1" Type="http://schemas.openxmlformats.org/officeDocument/2006/relationships/slideLayout" Target="../slideLayouts/slideLayout27.xml"/></Relationships>
</file>

<file path=ppt/slides/_rels/slide36.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36.xml"/><Relationship Id="rId1" Type="http://schemas.openxmlformats.org/officeDocument/2006/relationships/slideLayout" Target="../slideLayouts/slideLayout27.xml"/></Relationships>
</file>

<file path=ppt/slides/_rels/slide3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7.xml"/><Relationship Id="rId1" Type="http://schemas.openxmlformats.org/officeDocument/2006/relationships/slideLayout" Target="../slideLayouts/slideLayout27.xml"/></Relationships>
</file>

<file path=ppt/slides/_rels/slide3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8.xml"/><Relationship Id="rId1" Type="http://schemas.openxmlformats.org/officeDocument/2006/relationships/slideLayout" Target="../slideLayouts/slideLayout20.xml"/><Relationship Id="rId5" Type="http://schemas.microsoft.com/office/2007/relationships/hdphoto" Target="../media/hdphoto5.wdp"/><Relationship Id="rId4" Type="http://schemas.openxmlformats.org/officeDocument/2006/relationships/image" Target="../media/image79.png"/></Relationships>
</file>

<file path=ppt/slides/_rels/slide39.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39.xml"/><Relationship Id="rId1" Type="http://schemas.openxmlformats.org/officeDocument/2006/relationships/slideLayout" Target="../slideLayouts/slideLayout27.xml"/><Relationship Id="rId6" Type="http://schemas.openxmlformats.org/officeDocument/2006/relationships/image" Target="../media/image83.png"/><Relationship Id="rId11" Type="http://schemas.openxmlformats.org/officeDocument/2006/relationships/image" Target="../media/image88.png"/><Relationship Id="rId5" Type="http://schemas.openxmlformats.org/officeDocument/2006/relationships/image" Target="../media/image82.jpeg"/><Relationship Id="rId10" Type="http://schemas.openxmlformats.org/officeDocument/2006/relationships/image" Target="../media/image87.png"/><Relationship Id="rId4" Type="http://schemas.openxmlformats.org/officeDocument/2006/relationships/image" Target="../media/image81.png"/><Relationship Id="rId9" Type="http://schemas.openxmlformats.org/officeDocument/2006/relationships/image" Target="../media/image86.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7.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4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0.xml"/><Relationship Id="rId1" Type="http://schemas.openxmlformats.org/officeDocument/2006/relationships/slideLayout" Target="../slideLayouts/slideLayout27.xml"/><Relationship Id="rId5" Type="http://schemas.openxmlformats.org/officeDocument/2006/relationships/image" Target="../media/image91.png"/><Relationship Id="rId4" Type="http://schemas.openxmlformats.org/officeDocument/2006/relationships/image" Target="../media/image90.png"/></Relationships>
</file>

<file path=ppt/slides/_rels/slide41.xml.rels><?xml version="1.0" encoding="UTF-8" standalone="yes"?>
<Relationships xmlns="http://schemas.openxmlformats.org/package/2006/relationships"><Relationship Id="rId3" Type="http://schemas.openxmlformats.org/officeDocument/2006/relationships/image" Target="../media/image92.jpeg"/><Relationship Id="rId7" Type="http://schemas.openxmlformats.org/officeDocument/2006/relationships/image" Target="../media/image95.png"/><Relationship Id="rId2" Type="http://schemas.openxmlformats.org/officeDocument/2006/relationships/notesSlide" Target="../notesSlides/notesSlide41.xml"/><Relationship Id="rId1" Type="http://schemas.openxmlformats.org/officeDocument/2006/relationships/slideLayout" Target="../slideLayouts/slideLayout27.xml"/><Relationship Id="rId6" Type="http://schemas.openxmlformats.org/officeDocument/2006/relationships/image" Target="../media/image91.png"/><Relationship Id="rId5" Type="http://schemas.openxmlformats.org/officeDocument/2006/relationships/image" Target="../media/image94.png"/><Relationship Id="rId4" Type="http://schemas.openxmlformats.org/officeDocument/2006/relationships/image" Target="../media/image93.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7.xml"/><Relationship Id="rId6" Type="http://schemas.openxmlformats.org/officeDocument/2006/relationships/image" Target="../media/image13.jpeg"/><Relationship Id="rId5" Type="http://schemas.openxmlformats.org/officeDocument/2006/relationships/image" Target="../media/image12.jpg"/><Relationship Id="rId4" Type="http://schemas.openxmlformats.org/officeDocument/2006/relationships/image" Target="../media/image11.jpeg"/></Relationships>
</file>

<file path=ppt/slides/_rels/slide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6.xml"/><Relationship Id="rId1" Type="http://schemas.openxmlformats.org/officeDocument/2006/relationships/slideLayout" Target="../slideLayouts/slideLayout32.xml"/><Relationship Id="rId5" Type="http://schemas.microsoft.com/office/2007/relationships/hdphoto" Target="../media/hdphoto1.wdp"/><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oleObject" Target="../embeddings/oleObject4.bin"/><Relationship Id="rId3" Type="http://schemas.openxmlformats.org/officeDocument/2006/relationships/tags" Target="../tags/tag6.xml"/><Relationship Id="rId21" Type="http://schemas.openxmlformats.org/officeDocument/2006/relationships/tags" Target="../tags/tag24.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notesSlide" Target="../notesSlides/notesSlide7.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chart" Target="../charts/chart2.xml"/><Relationship Id="rId1" Type="http://schemas.openxmlformats.org/officeDocument/2006/relationships/vmlDrawing" Target="../drawings/vmlDrawing4.v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slideLayout" Target="../slideLayouts/slideLayout33.xml"/><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chart" Target="../charts/chart1.xml"/><Relationship Id="rId10" Type="http://schemas.openxmlformats.org/officeDocument/2006/relationships/tags" Target="../tags/tag13.xml"/><Relationship Id="rId19" Type="http://schemas.openxmlformats.org/officeDocument/2006/relationships/tags" Target="../tags/tag22.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47.xml"/><Relationship Id="rId4" Type="http://schemas.microsoft.com/office/2007/relationships/hdphoto" Target="../media/hdphoto2.wdp"/></Relationships>
</file>

<file path=ppt/slides/_rels/slide9.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9.xml"/><Relationship Id="rId4" Type="http://schemas.openxmlformats.org/officeDocument/2006/relationships/slideLayout" Target="../slideLayouts/slideLayout33.xml"/><Relationship Id="rId9"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p:custDataLst>
              <p:tags r:id="rId2"/>
            </p:custDataLst>
          </p:nvPr>
        </p:nvGraphicFramePr>
        <p:xfrm>
          <a:off x="4393" y="3168"/>
          <a:ext cx="1587" cy="1587"/>
        </p:xfrm>
        <a:graphic>
          <a:graphicData uri="http://schemas.openxmlformats.org/presentationml/2006/ole">
            <mc:AlternateContent xmlns:mc="http://schemas.openxmlformats.org/markup-compatibility/2006">
              <mc:Choice xmlns:v="urn:schemas-microsoft-com:vml" Requires="v">
                <p:oleObj spid="_x0000_s11283" name="Слайд think-cell" r:id="rId6" imgW="270" imgH="270" progId="TCLayout.ActiveDocument.1">
                  <p:embed/>
                </p:oleObj>
              </mc:Choice>
              <mc:Fallback>
                <p:oleObj name="Слайд think-cell" r:id="rId6" imgW="270" imgH="270" progId="TCLayout.ActiveDocument.1">
                  <p:embed/>
                  <p:pic>
                    <p:nvPicPr>
                      <p:cNvPr id="7" name="Объект 6" hidden="1"/>
                      <p:cNvPicPr/>
                      <p:nvPr/>
                    </p:nvPicPr>
                    <p:blipFill>
                      <a:blip r:embed="rId7"/>
                      <a:stretch>
                        <a:fillRect/>
                      </a:stretch>
                    </p:blipFill>
                    <p:spPr>
                      <a:xfrm>
                        <a:off x="4393" y="3168"/>
                        <a:ext cx="1587" cy="1587"/>
                      </a:xfrm>
                      <a:prstGeom prst="rect">
                        <a:avLst/>
                      </a:prstGeom>
                    </p:spPr>
                  </p:pic>
                </p:oleObj>
              </mc:Fallback>
            </mc:AlternateContent>
          </a:graphicData>
        </a:graphic>
      </p:graphicFrame>
      <p:sp>
        <p:nvSpPr>
          <p:cNvPr id="8" name="Прямоугольник 7" hidden="1"/>
          <p:cNvSpPr/>
          <p:nvPr>
            <p:custDataLst>
              <p:tags r:id="rId3"/>
            </p:custDataLst>
          </p:nvPr>
        </p:nvSpPr>
        <p:spPr>
          <a:xfrm>
            <a:off x="2805" y="1608"/>
            <a:ext cx="158678" cy="1586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032" rtl="0" eaLnBrk="1" fontAlgn="auto" latinLnBrk="0" hangingPunct="1">
              <a:lnSpc>
                <a:spcPct val="90000"/>
              </a:lnSpc>
              <a:spcBef>
                <a:spcPct val="0"/>
              </a:spcBef>
              <a:spcAft>
                <a:spcPct val="0"/>
              </a:spcAft>
              <a:buClrTx/>
              <a:buSzTx/>
              <a:buFontTx/>
              <a:buNone/>
              <a:tabLst/>
              <a:defRPr/>
            </a:pPr>
            <a:endParaRPr kumimoji="0" lang="ru-RU" sz="2200" b="0" i="0" u="none" strike="noStrike" kern="1200" cap="none" spc="0" normalizeH="0" baseline="0" noProof="0" dirty="0">
              <a:ln>
                <a:noFill/>
              </a:ln>
              <a:solidFill>
                <a:prstClr val="white"/>
              </a:solidFill>
              <a:effectLst/>
              <a:uLnTx/>
              <a:uFillTx/>
              <a:latin typeface="Neo Sans Cyr Medium" panose="020B0703000000000004" pitchFamily="34" charset="0"/>
              <a:ea typeface="+mn-ea"/>
              <a:cs typeface="+mn-cs"/>
              <a:sym typeface="Neo Sans Cyr Medium" panose="020B0703000000000004" pitchFamily="34" charset="0"/>
            </a:endParaRPr>
          </a:p>
        </p:txBody>
      </p:sp>
      <p:sp>
        <p:nvSpPr>
          <p:cNvPr id="2" name="Заголовок 1"/>
          <p:cNvSpPr>
            <a:spLocks noGrp="1"/>
          </p:cNvSpPr>
          <p:nvPr>
            <p:ph type="title"/>
          </p:nvPr>
        </p:nvSpPr>
        <p:spPr>
          <a:xfrm>
            <a:off x="4602343" y="81193"/>
            <a:ext cx="9711766" cy="369164"/>
          </a:xfrm>
        </p:spPr>
        <p:txBody>
          <a:bodyPr>
            <a:noAutofit/>
          </a:bodyPr>
          <a:lstStyle/>
          <a:p>
            <a:r>
              <a:rPr lang="ru-RU" sz="2800" dirty="0">
                <a:solidFill>
                  <a:schemeClr val="tx1">
                    <a:lumMod val="50000"/>
                  </a:schemeClr>
                </a:solidFill>
              </a:rPr>
              <a:t>Повестка Дня безопасности труда</a:t>
            </a:r>
            <a:r>
              <a:rPr lang="en-US" sz="2800" dirty="0">
                <a:solidFill>
                  <a:schemeClr val="tx1">
                    <a:lumMod val="50000"/>
                  </a:schemeClr>
                </a:solidFill>
              </a:rPr>
              <a:t> </a:t>
            </a:r>
            <a:r>
              <a:rPr lang="ru-RU" sz="2800" dirty="0">
                <a:solidFill>
                  <a:schemeClr val="tx1">
                    <a:lumMod val="50000"/>
                  </a:schemeClr>
                </a:solidFill>
              </a:rPr>
              <a:t>с ПО</a:t>
            </a:r>
          </a:p>
        </p:txBody>
      </p:sp>
      <p:sp>
        <p:nvSpPr>
          <p:cNvPr id="5" name="Прямоугольник 4"/>
          <p:cNvSpPr/>
          <p:nvPr/>
        </p:nvSpPr>
        <p:spPr>
          <a:xfrm>
            <a:off x="8330071" y="510380"/>
            <a:ext cx="3277155" cy="535214"/>
          </a:xfrm>
          <a:custGeom>
            <a:avLst/>
            <a:gdLst>
              <a:gd name="connsiteX0" fmla="*/ 0 w 3468130"/>
              <a:gd name="connsiteY0" fmla="*/ 0 h 263611"/>
              <a:gd name="connsiteX1" fmla="*/ 3468130 w 3468130"/>
              <a:gd name="connsiteY1" fmla="*/ 0 h 263611"/>
              <a:gd name="connsiteX2" fmla="*/ 3468130 w 3468130"/>
              <a:gd name="connsiteY2" fmla="*/ 263611 h 263611"/>
              <a:gd name="connsiteX3" fmla="*/ 0 w 3468130"/>
              <a:gd name="connsiteY3" fmla="*/ 263611 h 263611"/>
              <a:gd name="connsiteX4" fmla="*/ 0 w 3468130"/>
              <a:gd name="connsiteY4" fmla="*/ 0 h 263611"/>
              <a:gd name="connsiteX0" fmla="*/ 180975 w 3468130"/>
              <a:gd name="connsiteY0" fmla="*/ 0 h 263611"/>
              <a:gd name="connsiteX1" fmla="*/ 3468130 w 3468130"/>
              <a:gd name="connsiteY1" fmla="*/ 0 h 263611"/>
              <a:gd name="connsiteX2" fmla="*/ 3468130 w 3468130"/>
              <a:gd name="connsiteY2" fmla="*/ 263611 h 263611"/>
              <a:gd name="connsiteX3" fmla="*/ 0 w 3468130"/>
              <a:gd name="connsiteY3" fmla="*/ 263611 h 263611"/>
              <a:gd name="connsiteX4" fmla="*/ 180975 w 3468130"/>
              <a:gd name="connsiteY4" fmla="*/ 0 h 263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8130" h="263611">
                <a:moveTo>
                  <a:pt x="180975" y="0"/>
                </a:moveTo>
                <a:lnTo>
                  <a:pt x="3468130" y="0"/>
                </a:lnTo>
                <a:lnTo>
                  <a:pt x="3468130" y="263611"/>
                </a:lnTo>
                <a:lnTo>
                  <a:pt x="0" y="263611"/>
                </a:lnTo>
                <a:lnTo>
                  <a:pt x="180975" y="0"/>
                </a:lnTo>
                <a:close/>
              </a:path>
            </a:pathLst>
          </a:custGeom>
          <a:solidFill>
            <a:schemeClr val="accent3">
              <a:lumMod val="40000"/>
              <a:lumOff val="6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555" tIns="45669" rIns="90555" bIns="45669" rtlCol="0" anchor="ctr"/>
          <a:lstStyle/>
          <a:p>
            <a:pPr marL="0" marR="0" lvl="0" indent="0" algn="ctr"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prstClr val="white"/>
                </a:solidFill>
                <a:effectLst/>
                <a:uLnTx/>
                <a:uFillTx/>
                <a:latin typeface="Calibri Light" panose="020F0302020204030204"/>
                <a:ea typeface="+mn-ea"/>
                <a:cs typeface="+mn-cs"/>
              </a:rPr>
              <a:t>Место проведения:</a:t>
            </a:r>
          </a:p>
          <a:p>
            <a:pPr marL="0" marR="0" lvl="0" indent="0" algn="ctr" defTabSz="91403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Light" panose="020F0302020204030204"/>
                <a:ea typeface="+mn-ea"/>
                <a:cs typeface="+mn-cs"/>
              </a:rPr>
              <a:t>Microsoft Teams</a:t>
            </a:r>
            <a:endParaRPr kumimoji="0" lang="ru-RU"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9" name="Прямоугольник 8"/>
          <p:cNvSpPr/>
          <p:nvPr/>
        </p:nvSpPr>
        <p:spPr>
          <a:xfrm>
            <a:off x="611916" y="1265773"/>
            <a:ext cx="10817628" cy="5266174"/>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90555" tIns="45669" rIns="90555" bIns="45669" rtlCol="0" anchor="ctr"/>
          <a:lstStyle/>
          <a:p>
            <a:pPr marL="0" marR="0" lvl="0" indent="0" algn="ctr" defTabSz="914032"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Прямоугольник 9"/>
          <p:cNvSpPr/>
          <p:nvPr/>
        </p:nvSpPr>
        <p:spPr>
          <a:xfrm>
            <a:off x="752505" y="1402370"/>
            <a:ext cx="3310530" cy="2470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0555" tIns="45669" rIns="90555" bIns="45669" rtlCol="0" anchor="ctr"/>
          <a:lstStyle/>
          <a:p>
            <a:pPr marL="0" marR="0" lvl="0" indent="0" algn="ctr" defTabSz="914032" rtl="0" eaLnBrk="1" fontAlgn="auto" latinLnBrk="0" hangingPunct="1">
              <a:lnSpc>
                <a:spcPct val="100000"/>
              </a:lnSpc>
              <a:spcBef>
                <a:spcPts val="0"/>
              </a:spcBef>
              <a:spcAft>
                <a:spcPts val="0"/>
              </a:spcAft>
              <a:buClrTx/>
              <a:buSzTx/>
              <a:buFontTx/>
              <a:buNone/>
              <a:tabLst/>
              <a:defRPr/>
            </a:pPr>
            <a:r>
              <a:rPr kumimoji="0" lang="ru-RU" sz="1497" b="0" i="0" u="none" strike="noStrike" kern="1200" cap="none" spc="0" normalizeH="0" baseline="0" noProof="0" dirty="0">
                <a:ln>
                  <a:noFill/>
                </a:ln>
                <a:solidFill>
                  <a:prstClr val="white"/>
                </a:solidFill>
                <a:effectLst/>
                <a:uLnTx/>
                <a:uFillTx/>
                <a:latin typeface="Calibri Light" panose="020F0302020204030204"/>
                <a:ea typeface="+mn-ea"/>
                <a:cs typeface="+mn-cs"/>
              </a:rPr>
              <a:t>Докладчик</a:t>
            </a:r>
          </a:p>
        </p:txBody>
      </p:sp>
      <p:sp>
        <p:nvSpPr>
          <p:cNvPr id="11" name="Прямоугольник 10"/>
          <p:cNvSpPr/>
          <p:nvPr/>
        </p:nvSpPr>
        <p:spPr>
          <a:xfrm>
            <a:off x="4258112" y="1402370"/>
            <a:ext cx="5476198" cy="2470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0555" tIns="45669" rIns="90555" bIns="45669" rtlCol="0" anchor="ctr"/>
          <a:lstStyle/>
          <a:p>
            <a:pPr marL="0" marR="0" lvl="0" indent="0" algn="ctr" defTabSz="914032" rtl="0" eaLnBrk="1" fontAlgn="auto" latinLnBrk="0" hangingPunct="1">
              <a:lnSpc>
                <a:spcPct val="100000"/>
              </a:lnSpc>
              <a:spcBef>
                <a:spcPts val="0"/>
              </a:spcBef>
              <a:spcAft>
                <a:spcPts val="0"/>
              </a:spcAft>
              <a:buClrTx/>
              <a:buSzTx/>
              <a:buFontTx/>
              <a:buNone/>
              <a:tabLst/>
              <a:defRPr/>
            </a:pPr>
            <a:r>
              <a:rPr kumimoji="0" lang="ru-RU" sz="1497" b="0" i="0" u="none" strike="noStrike" kern="1200" cap="none" spc="0" normalizeH="0" baseline="0" noProof="0" dirty="0">
                <a:ln>
                  <a:noFill/>
                </a:ln>
                <a:solidFill>
                  <a:prstClr val="white"/>
                </a:solidFill>
                <a:effectLst/>
                <a:uLnTx/>
                <a:uFillTx/>
                <a:latin typeface="Calibri Light" panose="020F0302020204030204"/>
                <a:ea typeface="+mn-ea"/>
                <a:cs typeface="+mn-cs"/>
              </a:rPr>
              <a:t>Тема доклада</a:t>
            </a:r>
          </a:p>
        </p:txBody>
      </p:sp>
      <p:sp>
        <p:nvSpPr>
          <p:cNvPr id="12" name="Прямоугольник 11"/>
          <p:cNvSpPr/>
          <p:nvPr/>
        </p:nvSpPr>
        <p:spPr>
          <a:xfrm>
            <a:off x="9896566" y="1402370"/>
            <a:ext cx="1490362" cy="24702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0555" tIns="45669" rIns="90555" bIns="45669" rtlCol="0" anchor="ctr"/>
          <a:lstStyle/>
          <a:p>
            <a:pPr marL="0" marR="0" lvl="0" indent="0" algn="ctr" defTabSz="914032" rtl="0" eaLnBrk="1" fontAlgn="auto" latinLnBrk="0" hangingPunct="1">
              <a:lnSpc>
                <a:spcPct val="100000"/>
              </a:lnSpc>
              <a:spcBef>
                <a:spcPts val="0"/>
              </a:spcBef>
              <a:spcAft>
                <a:spcPts val="0"/>
              </a:spcAft>
              <a:buClrTx/>
              <a:buSzTx/>
              <a:buFontTx/>
              <a:buNone/>
              <a:tabLst/>
              <a:defRPr/>
            </a:pPr>
            <a:r>
              <a:rPr kumimoji="0" lang="ru-RU" sz="1497" b="0" i="0" u="none" strike="noStrike" kern="1200" cap="none" spc="0" normalizeH="0" baseline="0" noProof="0" dirty="0">
                <a:ln>
                  <a:noFill/>
                </a:ln>
                <a:solidFill>
                  <a:prstClr val="white"/>
                </a:solidFill>
                <a:effectLst/>
                <a:uLnTx/>
                <a:uFillTx/>
                <a:latin typeface="Calibri Light" panose="020F0302020204030204"/>
                <a:ea typeface="+mn-ea"/>
                <a:cs typeface="+mn-cs"/>
              </a:rPr>
              <a:t>Время</a:t>
            </a:r>
          </a:p>
        </p:txBody>
      </p:sp>
      <p:cxnSp>
        <p:nvCxnSpPr>
          <p:cNvPr id="14" name="Прямая соединительная линия 13"/>
          <p:cNvCxnSpPr>
            <a:cxnSpLocks/>
          </p:cNvCxnSpPr>
          <p:nvPr/>
        </p:nvCxnSpPr>
        <p:spPr>
          <a:xfrm>
            <a:off x="4156839" y="1676868"/>
            <a:ext cx="16667" cy="485507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Прямая соединительная линия 14"/>
          <p:cNvCxnSpPr>
            <a:cxnSpLocks/>
          </p:cNvCxnSpPr>
          <p:nvPr/>
        </p:nvCxnSpPr>
        <p:spPr>
          <a:xfrm flipH="1">
            <a:off x="9808948" y="1676870"/>
            <a:ext cx="3792" cy="485507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Прямая соединительная линия 17"/>
          <p:cNvCxnSpPr/>
          <p:nvPr/>
        </p:nvCxnSpPr>
        <p:spPr>
          <a:xfrm>
            <a:off x="752505" y="2887261"/>
            <a:ext cx="10634426"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0" name="Прямоугольник 29"/>
          <p:cNvSpPr/>
          <p:nvPr/>
        </p:nvSpPr>
        <p:spPr>
          <a:xfrm>
            <a:off x="760555" y="5356109"/>
            <a:ext cx="3414293" cy="5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l"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prstClr val="black"/>
                </a:solidFill>
                <a:effectLst/>
                <a:uLnTx/>
                <a:uFillTx/>
                <a:latin typeface="Calibri" panose="020F0502020204030204"/>
                <a:ea typeface="+mn-ea"/>
                <a:cs typeface="+mn-cs"/>
              </a:rPr>
              <a:t>Пилясов </a:t>
            </a:r>
            <a:r>
              <a:rPr kumimoji="0" lang="ru-RU" sz="1200" b="0" i="0" u="none" strike="noStrike" kern="1200" cap="none" spc="0" normalizeH="0" baseline="0" noProof="0" dirty="0" smtClean="0">
                <a:ln>
                  <a:noFill/>
                </a:ln>
                <a:solidFill>
                  <a:prstClr val="black"/>
                </a:solidFill>
                <a:effectLst/>
                <a:uLnTx/>
                <a:uFillTx/>
                <a:latin typeface="Calibri" panose="020F0502020204030204"/>
                <a:ea typeface="+mn-ea"/>
                <a:cs typeface="+mn-cs"/>
              </a:rPr>
              <a:t>Павел Александрович </a:t>
            </a:r>
            <a:r>
              <a:rPr kumimoji="0" lang="ru-RU" sz="1200" b="0" i="0" u="none" strike="noStrike" kern="1200" cap="none" spc="0" normalizeH="0" baseline="0" noProof="0" dirty="0">
                <a:ln>
                  <a:noFill/>
                </a:ln>
                <a:solidFill>
                  <a:prstClr val="black"/>
                </a:solidFill>
                <a:effectLst/>
                <a:uLnTx/>
                <a:uFillTx/>
                <a:latin typeface="Calibri" panose="020F0502020204030204"/>
                <a:ea typeface="+mn-ea"/>
                <a:cs typeface="+mn-cs"/>
              </a:rPr>
              <a:t>– Супервайзер</a:t>
            </a:r>
          </a:p>
        </p:txBody>
      </p:sp>
      <p:sp>
        <p:nvSpPr>
          <p:cNvPr id="32" name="Прямоугольник 31"/>
          <p:cNvSpPr/>
          <p:nvPr/>
        </p:nvSpPr>
        <p:spPr>
          <a:xfrm>
            <a:off x="9905855" y="2887306"/>
            <a:ext cx="1490362" cy="6088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ctr"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4472C4">
                    <a:lumMod val="10000"/>
                  </a:srgbClr>
                </a:solidFill>
                <a:effectLst/>
                <a:uLnTx/>
                <a:uFillTx/>
                <a:latin typeface="Calibri" panose="020F0502020204030204"/>
                <a:ea typeface="+mn-ea"/>
                <a:cs typeface="+mn-cs"/>
              </a:rPr>
              <a:t>15 минут</a:t>
            </a:r>
          </a:p>
        </p:txBody>
      </p:sp>
      <p:sp>
        <p:nvSpPr>
          <p:cNvPr id="34" name="Прямоугольник 33"/>
          <p:cNvSpPr/>
          <p:nvPr/>
        </p:nvSpPr>
        <p:spPr>
          <a:xfrm>
            <a:off x="794433" y="3647700"/>
            <a:ext cx="3414293" cy="5656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l" defTabSz="914032"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srgbClr val="4472C4">
                  <a:lumMod val="10000"/>
                </a:srgbClr>
              </a:solidFill>
              <a:effectLst/>
              <a:uLnTx/>
              <a:uFillTx/>
              <a:latin typeface="Calibri" panose="020F0502020204030204"/>
              <a:ea typeface="+mn-ea"/>
              <a:cs typeface="+mn-cs"/>
            </a:endParaRPr>
          </a:p>
        </p:txBody>
      </p:sp>
      <p:sp>
        <p:nvSpPr>
          <p:cNvPr id="35" name="Прямоугольник 34"/>
          <p:cNvSpPr/>
          <p:nvPr/>
        </p:nvSpPr>
        <p:spPr>
          <a:xfrm>
            <a:off x="4250642" y="3663455"/>
            <a:ext cx="5483678" cy="611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l" defTabSz="914032"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srgbClr val="F2F2F2">
                  <a:lumMod val="10000"/>
                </a:srgbClr>
              </a:solidFill>
              <a:effectLst/>
              <a:uLnTx/>
              <a:uFillTx/>
              <a:latin typeface="Calibri" panose="020F0502020204030204"/>
              <a:ea typeface="+mn-ea"/>
              <a:cs typeface="+mn-cs"/>
            </a:endParaRPr>
          </a:p>
        </p:txBody>
      </p:sp>
      <p:sp>
        <p:nvSpPr>
          <p:cNvPr id="36" name="Прямоугольник 35"/>
          <p:cNvSpPr/>
          <p:nvPr/>
        </p:nvSpPr>
        <p:spPr>
          <a:xfrm>
            <a:off x="9905855" y="2333495"/>
            <a:ext cx="1490362" cy="5322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ctr"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4472C4">
                    <a:lumMod val="10000"/>
                  </a:srgbClr>
                </a:solidFill>
                <a:effectLst/>
                <a:uLnTx/>
                <a:uFillTx/>
                <a:latin typeface="Calibri" panose="020F0502020204030204"/>
                <a:ea typeface="+mn-ea"/>
                <a:cs typeface="+mn-cs"/>
              </a:rPr>
              <a:t> 10 минут</a:t>
            </a:r>
          </a:p>
        </p:txBody>
      </p:sp>
      <p:sp>
        <p:nvSpPr>
          <p:cNvPr id="46" name="Прямоугольник 45"/>
          <p:cNvSpPr/>
          <p:nvPr/>
        </p:nvSpPr>
        <p:spPr>
          <a:xfrm>
            <a:off x="3810158" y="6448858"/>
            <a:ext cx="8555290" cy="2650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l" defTabSz="914032"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srgbClr val="F2F2F2">
                  <a:lumMod val="10000"/>
                </a:srgbClr>
              </a:solidFill>
              <a:effectLst/>
              <a:uLnTx/>
              <a:uFillTx/>
              <a:latin typeface="Calibri" panose="020F0502020204030204"/>
              <a:ea typeface="+mn-ea"/>
              <a:cs typeface="+mn-cs"/>
            </a:endParaRPr>
          </a:p>
        </p:txBody>
      </p:sp>
      <p:sp>
        <p:nvSpPr>
          <p:cNvPr id="48" name="Прямоугольник 47"/>
          <p:cNvSpPr/>
          <p:nvPr/>
        </p:nvSpPr>
        <p:spPr>
          <a:xfrm>
            <a:off x="9977349" y="3704393"/>
            <a:ext cx="1490362" cy="309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ctr" defTabSz="914032"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srgbClr val="4472C4">
                  <a:lumMod val="10000"/>
                </a:srgbClr>
              </a:solidFill>
              <a:effectLst/>
              <a:uLnTx/>
              <a:uFillTx/>
              <a:latin typeface="Calibri" panose="020F0502020204030204"/>
              <a:ea typeface="+mn-ea"/>
              <a:cs typeface="+mn-cs"/>
            </a:endParaRPr>
          </a:p>
        </p:txBody>
      </p:sp>
      <p:sp>
        <p:nvSpPr>
          <p:cNvPr id="41" name="Прямоугольник 3"/>
          <p:cNvSpPr/>
          <p:nvPr/>
        </p:nvSpPr>
        <p:spPr>
          <a:xfrm>
            <a:off x="1143828" y="467719"/>
            <a:ext cx="2890154" cy="541223"/>
          </a:xfrm>
          <a:custGeom>
            <a:avLst/>
            <a:gdLst>
              <a:gd name="connsiteX0" fmla="*/ 0 w 3468130"/>
              <a:gd name="connsiteY0" fmla="*/ 0 h 263611"/>
              <a:gd name="connsiteX1" fmla="*/ 3468130 w 3468130"/>
              <a:gd name="connsiteY1" fmla="*/ 0 h 263611"/>
              <a:gd name="connsiteX2" fmla="*/ 3468130 w 3468130"/>
              <a:gd name="connsiteY2" fmla="*/ 263611 h 263611"/>
              <a:gd name="connsiteX3" fmla="*/ 0 w 3468130"/>
              <a:gd name="connsiteY3" fmla="*/ 263611 h 263611"/>
              <a:gd name="connsiteX4" fmla="*/ 0 w 3468130"/>
              <a:gd name="connsiteY4" fmla="*/ 0 h 263611"/>
              <a:gd name="connsiteX0" fmla="*/ 0 w 3468130"/>
              <a:gd name="connsiteY0" fmla="*/ 0 h 263611"/>
              <a:gd name="connsiteX1" fmla="*/ 3264930 w 3468130"/>
              <a:gd name="connsiteY1" fmla="*/ 0 h 263611"/>
              <a:gd name="connsiteX2" fmla="*/ 3468130 w 3468130"/>
              <a:gd name="connsiteY2" fmla="*/ 263611 h 263611"/>
              <a:gd name="connsiteX3" fmla="*/ 0 w 3468130"/>
              <a:gd name="connsiteY3" fmla="*/ 263611 h 263611"/>
              <a:gd name="connsiteX4" fmla="*/ 0 w 3468130"/>
              <a:gd name="connsiteY4" fmla="*/ 0 h 263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8130" h="263611">
                <a:moveTo>
                  <a:pt x="0" y="0"/>
                </a:moveTo>
                <a:lnTo>
                  <a:pt x="3264930" y="0"/>
                </a:lnTo>
                <a:lnTo>
                  <a:pt x="3468130" y="263611"/>
                </a:lnTo>
                <a:lnTo>
                  <a:pt x="0" y="263611"/>
                </a:lnTo>
                <a:lnTo>
                  <a:pt x="0" y="0"/>
                </a:lnTo>
                <a:close/>
              </a:path>
            </a:pathLst>
          </a:custGeom>
          <a:solidFill>
            <a:schemeClr val="accent3">
              <a:lumMod val="40000"/>
              <a:lumOff val="6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555" tIns="45669" rIns="90555" bIns="45669" rtlCol="0" anchor="ctr"/>
          <a:lstStyle/>
          <a:p>
            <a:pPr marL="0" marR="0" lvl="0" indent="0" algn="ctr"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prstClr val="white"/>
                </a:solidFill>
                <a:effectLst/>
                <a:uLnTx/>
                <a:uFillTx/>
                <a:latin typeface="Calibri Light" panose="020F0302020204030204"/>
                <a:ea typeface="+mn-ea"/>
                <a:cs typeface="+mn-cs"/>
              </a:rPr>
              <a:t>                               Время                                </a:t>
            </a:r>
            <a:r>
              <a:rPr kumimoji="0" lang="ru-RU" sz="1200" b="0" i="0" u="none" strike="noStrike" kern="1200" cap="none" spc="0" normalizeH="0" baseline="0" noProof="0" dirty="0" smtClean="0">
                <a:ln>
                  <a:noFill/>
                </a:ln>
                <a:solidFill>
                  <a:prstClr val="white"/>
                </a:solidFill>
                <a:effectLst/>
                <a:uLnTx/>
                <a:uFillTx/>
                <a:latin typeface="Calibri Light" panose="020F0302020204030204"/>
                <a:ea typeface="+mn-ea"/>
                <a:cs typeface="+mn-cs"/>
              </a:rPr>
              <a:t>15:00-16:00</a:t>
            </a:r>
            <a:endParaRPr kumimoji="0" lang="ru-RU"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a:p>
            <a:pPr marL="0" marR="0" lvl="0" indent="0" algn="ctr" defTabSz="914032"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2" name="Прямоугольник 3"/>
          <p:cNvSpPr/>
          <p:nvPr/>
        </p:nvSpPr>
        <p:spPr>
          <a:xfrm>
            <a:off x="611916" y="467719"/>
            <a:ext cx="1506831" cy="535214"/>
          </a:xfrm>
          <a:custGeom>
            <a:avLst/>
            <a:gdLst>
              <a:gd name="connsiteX0" fmla="*/ 0 w 3468130"/>
              <a:gd name="connsiteY0" fmla="*/ 0 h 263611"/>
              <a:gd name="connsiteX1" fmla="*/ 3468130 w 3468130"/>
              <a:gd name="connsiteY1" fmla="*/ 0 h 263611"/>
              <a:gd name="connsiteX2" fmla="*/ 3468130 w 3468130"/>
              <a:gd name="connsiteY2" fmla="*/ 263611 h 263611"/>
              <a:gd name="connsiteX3" fmla="*/ 0 w 3468130"/>
              <a:gd name="connsiteY3" fmla="*/ 263611 h 263611"/>
              <a:gd name="connsiteX4" fmla="*/ 0 w 3468130"/>
              <a:gd name="connsiteY4" fmla="*/ 0 h 263611"/>
              <a:gd name="connsiteX0" fmla="*/ 0 w 3468130"/>
              <a:gd name="connsiteY0" fmla="*/ 0 h 263611"/>
              <a:gd name="connsiteX1" fmla="*/ 3264930 w 3468130"/>
              <a:gd name="connsiteY1" fmla="*/ 0 h 263611"/>
              <a:gd name="connsiteX2" fmla="*/ 3468130 w 3468130"/>
              <a:gd name="connsiteY2" fmla="*/ 263611 h 263611"/>
              <a:gd name="connsiteX3" fmla="*/ 0 w 3468130"/>
              <a:gd name="connsiteY3" fmla="*/ 263611 h 263611"/>
              <a:gd name="connsiteX4" fmla="*/ 0 w 3468130"/>
              <a:gd name="connsiteY4" fmla="*/ 0 h 2636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8130" h="263611">
                <a:moveTo>
                  <a:pt x="0" y="0"/>
                </a:moveTo>
                <a:lnTo>
                  <a:pt x="3264930" y="0"/>
                </a:lnTo>
                <a:lnTo>
                  <a:pt x="3468130" y="263611"/>
                </a:lnTo>
                <a:lnTo>
                  <a:pt x="0" y="263611"/>
                </a:lnTo>
                <a:lnTo>
                  <a:pt x="0" y="0"/>
                </a:lnTo>
                <a:close/>
              </a:path>
            </a:pathLst>
          </a:custGeom>
          <a:solidFill>
            <a:schemeClr val="accent3">
              <a:lumMod val="40000"/>
              <a:lumOff val="6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555" tIns="45669" rIns="90555" bIns="45669" rtlCol="0" anchor="ctr"/>
          <a:lstStyle/>
          <a:p>
            <a:pPr marL="0" marR="0" lvl="0" indent="0" algn="ctr"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prstClr val="white"/>
                </a:solidFill>
                <a:effectLst/>
                <a:uLnTx/>
                <a:uFillTx/>
                <a:latin typeface="Calibri Light" panose="020F0302020204030204"/>
                <a:ea typeface="+mn-ea"/>
                <a:cs typeface="+mn-cs"/>
              </a:rPr>
              <a:t>Дата:</a:t>
            </a:r>
          </a:p>
          <a:p>
            <a:pPr marL="0" marR="0" lvl="0" indent="0" algn="ctr"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white"/>
                </a:solidFill>
                <a:effectLst/>
                <a:uLnTx/>
                <a:uFillTx/>
                <a:latin typeface="Calibri Light" panose="020F0302020204030204"/>
                <a:ea typeface="+mn-ea"/>
                <a:cs typeface="+mn-cs"/>
              </a:rPr>
              <a:t>07.07.2022 </a:t>
            </a:r>
            <a:r>
              <a:rPr kumimoji="0" lang="ru-RU" sz="1200" b="0" i="0" u="none" strike="noStrike" kern="1200" cap="none" spc="0" normalizeH="0" baseline="0" noProof="0" dirty="0">
                <a:ln>
                  <a:noFill/>
                </a:ln>
                <a:solidFill>
                  <a:prstClr val="white"/>
                </a:solidFill>
                <a:effectLst/>
                <a:uLnTx/>
                <a:uFillTx/>
                <a:latin typeface="Calibri Light" panose="020F0302020204030204"/>
                <a:ea typeface="+mn-ea"/>
                <a:cs typeface="+mn-cs"/>
              </a:rPr>
              <a:t>г.</a:t>
            </a:r>
          </a:p>
        </p:txBody>
      </p:sp>
      <p:sp>
        <p:nvSpPr>
          <p:cNvPr id="38" name="Прямоугольник 37">
            <a:extLst>
              <a:ext uri="{FF2B5EF4-FFF2-40B4-BE49-F238E27FC236}">
                <a16:creationId xmlns:a16="http://schemas.microsoft.com/office/drawing/2014/main" id="{6C4026A3-12FE-43C6-A4C6-FB557B725992}"/>
              </a:ext>
            </a:extLst>
          </p:cNvPr>
          <p:cNvSpPr/>
          <p:nvPr/>
        </p:nvSpPr>
        <p:spPr>
          <a:xfrm>
            <a:off x="4281080" y="5346896"/>
            <a:ext cx="5483678" cy="5931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l"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solidFill>
                <a:effectLst/>
                <a:uLnTx/>
                <a:uFillTx/>
                <a:latin typeface="Calibri" panose="020F0502020204030204"/>
                <a:ea typeface="+mn-ea"/>
                <a:cs typeface="+mn-cs"/>
              </a:rPr>
              <a:t>Обучение ПО/Тренинги</a:t>
            </a:r>
            <a:endParaRPr kumimoji="0" lang="ru-RU" sz="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43" name="Прямая соединительная линия 42">
            <a:extLst>
              <a:ext uri="{FF2B5EF4-FFF2-40B4-BE49-F238E27FC236}">
                <a16:creationId xmlns:a16="http://schemas.microsoft.com/office/drawing/2014/main" id="{853D96DE-A07A-434A-B8A3-289FC45A25FB}"/>
              </a:ext>
            </a:extLst>
          </p:cNvPr>
          <p:cNvCxnSpPr/>
          <p:nvPr/>
        </p:nvCxnSpPr>
        <p:spPr>
          <a:xfrm>
            <a:off x="752505" y="2247409"/>
            <a:ext cx="10634426"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5" name="Прямоугольник 44">
            <a:extLst>
              <a:ext uri="{FF2B5EF4-FFF2-40B4-BE49-F238E27FC236}">
                <a16:creationId xmlns:a16="http://schemas.microsoft.com/office/drawing/2014/main" id="{739B504B-D44C-43F4-93E7-A44D8BBB9B30}"/>
              </a:ext>
            </a:extLst>
          </p:cNvPr>
          <p:cNvSpPr/>
          <p:nvPr/>
        </p:nvSpPr>
        <p:spPr>
          <a:xfrm>
            <a:off x="723453" y="1621041"/>
            <a:ext cx="3310530" cy="581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l"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solidFill>
                <a:effectLst/>
                <a:uLnTx/>
                <a:uFillTx/>
                <a:latin typeface="Calibri" panose="020F0502020204030204"/>
                <a:ea typeface="+mn-ea"/>
                <a:cs typeface="+mn-cs"/>
              </a:rPr>
              <a:t>Балашов Дмитрий Алексеевич – </a:t>
            </a:r>
            <a:r>
              <a:rPr kumimoji="0" lang="ru-RU" sz="1200" b="0" i="0" u="none" strike="noStrike" kern="1200" cap="none" spc="0" normalizeH="0" baseline="0" noProof="0" dirty="0">
                <a:ln>
                  <a:noFill/>
                </a:ln>
                <a:solidFill>
                  <a:prstClr val="black"/>
                </a:solidFill>
                <a:effectLst/>
                <a:uLnTx/>
                <a:uFillTx/>
                <a:latin typeface="Calibri" panose="020F0502020204030204"/>
                <a:ea typeface="+mn-ea"/>
                <a:cs typeface="+mn-cs"/>
              </a:rPr>
              <a:t>Супервайзер</a:t>
            </a:r>
          </a:p>
        </p:txBody>
      </p:sp>
      <p:sp>
        <p:nvSpPr>
          <p:cNvPr id="51" name="Прямоугольник 50">
            <a:extLst>
              <a:ext uri="{FF2B5EF4-FFF2-40B4-BE49-F238E27FC236}">
                <a16:creationId xmlns:a16="http://schemas.microsoft.com/office/drawing/2014/main" id="{A5DD1E3E-C1EF-4C35-A860-FE888FE046DC}"/>
              </a:ext>
            </a:extLst>
          </p:cNvPr>
          <p:cNvSpPr/>
          <p:nvPr/>
        </p:nvSpPr>
        <p:spPr>
          <a:xfrm>
            <a:off x="4250633" y="1676868"/>
            <a:ext cx="5483678" cy="5705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l" defTabSz="914032"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2" name="Прямоугольник 51">
            <a:extLst>
              <a:ext uri="{FF2B5EF4-FFF2-40B4-BE49-F238E27FC236}">
                <a16:creationId xmlns:a16="http://schemas.microsoft.com/office/drawing/2014/main" id="{E8DED27D-CD87-49C5-989C-157140E5D68F}"/>
              </a:ext>
            </a:extLst>
          </p:cNvPr>
          <p:cNvSpPr/>
          <p:nvPr/>
        </p:nvSpPr>
        <p:spPr>
          <a:xfrm>
            <a:off x="9902760" y="1676868"/>
            <a:ext cx="1490362" cy="5705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ctr"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prstClr val="black"/>
                </a:solidFill>
                <a:effectLst/>
                <a:uLnTx/>
                <a:uFillTx/>
                <a:latin typeface="Calibri" panose="020F0502020204030204"/>
                <a:ea typeface="+mn-ea"/>
                <a:cs typeface="+mn-cs"/>
              </a:rPr>
              <a:t>5 минут</a:t>
            </a:r>
          </a:p>
        </p:txBody>
      </p:sp>
      <p:sp>
        <p:nvSpPr>
          <p:cNvPr id="57" name="Прямоугольник 56">
            <a:extLst>
              <a:ext uri="{FF2B5EF4-FFF2-40B4-BE49-F238E27FC236}">
                <a16:creationId xmlns:a16="http://schemas.microsoft.com/office/drawing/2014/main" id="{0410DA48-DAE1-4D2E-BF4E-C6FD9D75F2F8}"/>
              </a:ext>
            </a:extLst>
          </p:cNvPr>
          <p:cNvSpPr/>
          <p:nvPr/>
        </p:nvSpPr>
        <p:spPr>
          <a:xfrm>
            <a:off x="9907535" y="3627848"/>
            <a:ext cx="1490362" cy="3094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ctr"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4472C4">
                    <a:lumMod val="10000"/>
                  </a:srgbClr>
                </a:solidFill>
                <a:effectLst/>
                <a:uLnTx/>
                <a:uFillTx/>
                <a:latin typeface="Calibri" panose="020F0502020204030204"/>
                <a:ea typeface="+mn-ea"/>
                <a:cs typeface="+mn-cs"/>
              </a:rPr>
              <a:t>5  минут</a:t>
            </a:r>
          </a:p>
        </p:txBody>
      </p:sp>
      <p:cxnSp>
        <p:nvCxnSpPr>
          <p:cNvPr id="58" name="Прямая соединительная линия 57">
            <a:extLst>
              <a:ext uri="{FF2B5EF4-FFF2-40B4-BE49-F238E27FC236}">
                <a16:creationId xmlns:a16="http://schemas.microsoft.com/office/drawing/2014/main" id="{53C50104-32B7-4F31-BC31-CC5F6700322C}"/>
              </a:ext>
            </a:extLst>
          </p:cNvPr>
          <p:cNvCxnSpPr/>
          <p:nvPr/>
        </p:nvCxnSpPr>
        <p:spPr>
          <a:xfrm>
            <a:off x="832105" y="4047098"/>
            <a:ext cx="10564112"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55" name="Прямоугольник 54">
            <a:extLst>
              <a:ext uri="{FF2B5EF4-FFF2-40B4-BE49-F238E27FC236}">
                <a16:creationId xmlns:a16="http://schemas.microsoft.com/office/drawing/2014/main" id="{4BC2134B-063A-4D22-A974-980C3FE1EDA2}"/>
              </a:ext>
            </a:extLst>
          </p:cNvPr>
          <p:cNvSpPr/>
          <p:nvPr/>
        </p:nvSpPr>
        <p:spPr>
          <a:xfrm>
            <a:off x="4325270" y="3467943"/>
            <a:ext cx="5483678" cy="4973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l"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F2F2F2">
                    <a:lumMod val="10000"/>
                  </a:srgbClr>
                </a:solidFill>
                <a:effectLst/>
                <a:uLnTx/>
                <a:uFillTx/>
                <a:latin typeface="Calibri" panose="020F0502020204030204"/>
                <a:ea typeface="+mn-ea"/>
                <a:cs typeface="+mn-cs"/>
              </a:rPr>
              <a:t>Профиль Аутсайдера. Рейтинг Аутсайдеров.</a:t>
            </a:r>
          </a:p>
        </p:txBody>
      </p:sp>
      <p:sp>
        <p:nvSpPr>
          <p:cNvPr id="56" name="Прямоугольник 55">
            <a:extLst>
              <a:ext uri="{FF2B5EF4-FFF2-40B4-BE49-F238E27FC236}">
                <a16:creationId xmlns:a16="http://schemas.microsoft.com/office/drawing/2014/main" id="{147D5BA1-187A-4749-A2E4-462F8C8331CF}"/>
              </a:ext>
            </a:extLst>
          </p:cNvPr>
          <p:cNvSpPr/>
          <p:nvPr/>
        </p:nvSpPr>
        <p:spPr>
          <a:xfrm>
            <a:off x="9885900" y="4145626"/>
            <a:ext cx="1490362" cy="4953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ctr"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4472C4">
                    <a:lumMod val="10000"/>
                  </a:srgbClr>
                </a:solidFill>
                <a:effectLst/>
                <a:uLnTx/>
                <a:uFillTx/>
                <a:latin typeface="Calibri" panose="020F0502020204030204"/>
                <a:ea typeface="+mn-ea"/>
                <a:cs typeface="+mn-cs"/>
              </a:rPr>
              <a:t> 5 минут</a:t>
            </a:r>
          </a:p>
        </p:txBody>
      </p:sp>
      <p:cxnSp>
        <p:nvCxnSpPr>
          <p:cNvPr id="68" name="Прямая соединительная линия 67">
            <a:extLst>
              <a:ext uri="{FF2B5EF4-FFF2-40B4-BE49-F238E27FC236}">
                <a16:creationId xmlns:a16="http://schemas.microsoft.com/office/drawing/2014/main" id="{94849C4D-ED17-4CDD-A8EB-D84AA5EF60E0}"/>
              </a:ext>
            </a:extLst>
          </p:cNvPr>
          <p:cNvCxnSpPr/>
          <p:nvPr/>
        </p:nvCxnSpPr>
        <p:spPr>
          <a:xfrm>
            <a:off x="886837" y="3469345"/>
            <a:ext cx="10564112"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Номер слайда 12">
            <a:extLst>
              <a:ext uri="{FF2B5EF4-FFF2-40B4-BE49-F238E27FC236}">
                <a16:creationId xmlns:a16="http://schemas.microsoft.com/office/drawing/2014/main" id="{9D96E40C-5291-4258-ACDE-55FC6998C3C5}"/>
              </a:ext>
            </a:extLst>
          </p:cNvPr>
          <p:cNvSpPr>
            <a:spLocks noGrp="1"/>
          </p:cNvSpPr>
          <p:nvPr>
            <p:ph type="sldNum" sz="quarter" idx="10"/>
          </p:nvPr>
        </p:nvSpPr>
        <p:spPr/>
        <p:txBody>
          <a:bodyPr/>
          <a:lstStyle/>
          <a:p>
            <a:pPr marL="0" marR="0" lvl="0" indent="0" algn="r" defTabSz="1218838" rtl="0" eaLnBrk="1" fontAlgn="auto" latinLnBrk="0" hangingPunct="1">
              <a:lnSpc>
                <a:spcPct val="100000"/>
              </a:lnSpc>
              <a:spcBef>
                <a:spcPts val="0"/>
              </a:spcBef>
              <a:spcAft>
                <a:spcPts val="0"/>
              </a:spcAft>
              <a:buClrTx/>
              <a:buSzTx/>
              <a:buFontTx/>
              <a:buNone/>
              <a:tabLst/>
              <a:defRPr/>
            </a:pPr>
            <a:fld id="{1E5EB7E5-F709-4EF6-8A34-B7FBD607401D}" type="slidenum">
              <a:rPr kumimoji="0" lang="ru-RU"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1218838" rtl="0" eaLnBrk="1" fontAlgn="auto" latinLnBrk="0" hangingPunct="1">
                <a:lnSpc>
                  <a:spcPct val="100000"/>
                </a:lnSpc>
                <a:spcBef>
                  <a:spcPts val="0"/>
                </a:spcBef>
                <a:spcAft>
                  <a:spcPts val="0"/>
                </a:spcAft>
                <a:buClrTx/>
                <a:buSzTx/>
                <a:buFontTx/>
                <a:buNone/>
                <a:tabLst/>
                <a:defRPr/>
              </a:pPr>
              <a:t>1</a:t>
            </a:fld>
            <a:endParaRPr kumimoji="0" lang="ru-RU"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cxnSp>
        <p:nvCxnSpPr>
          <p:cNvPr id="44" name="Прямая соединительная линия 43">
            <a:extLst>
              <a:ext uri="{FF2B5EF4-FFF2-40B4-BE49-F238E27FC236}">
                <a16:creationId xmlns:a16="http://schemas.microsoft.com/office/drawing/2014/main" id="{94849C4D-ED17-4CDD-A8EB-D84AA5EF60E0}"/>
              </a:ext>
            </a:extLst>
          </p:cNvPr>
          <p:cNvCxnSpPr/>
          <p:nvPr/>
        </p:nvCxnSpPr>
        <p:spPr>
          <a:xfrm>
            <a:off x="860490" y="4698478"/>
            <a:ext cx="10564112"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2" name="Прямоугольник 61"/>
          <p:cNvSpPr/>
          <p:nvPr/>
        </p:nvSpPr>
        <p:spPr>
          <a:xfrm>
            <a:off x="4289847" y="1698005"/>
            <a:ext cx="5483678" cy="5629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l"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F2F2F2">
                    <a:lumMod val="10000"/>
                  </a:srgbClr>
                </a:solidFill>
                <a:effectLst/>
                <a:uLnTx/>
                <a:uFillTx/>
                <a:latin typeface="Calibri" panose="020F0502020204030204"/>
                <a:ea typeface="+mn-ea"/>
                <a:cs typeface="+mn-cs"/>
              </a:rPr>
              <a:t>Вступительное слово. Контакт по безопасности.</a:t>
            </a:r>
          </a:p>
        </p:txBody>
      </p:sp>
      <p:sp>
        <p:nvSpPr>
          <p:cNvPr id="64" name="Прямоугольник 63"/>
          <p:cNvSpPr/>
          <p:nvPr/>
        </p:nvSpPr>
        <p:spPr>
          <a:xfrm>
            <a:off x="4316538" y="6053397"/>
            <a:ext cx="8555290" cy="3057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l"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F2F2F2">
                    <a:lumMod val="10000"/>
                  </a:srgbClr>
                </a:solidFill>
                <a:effectLst/>
                <a:uLnTx/>
                <a:uFillTx/>
                <a:latin typeface="Calibri" panose="020F0502020204030204"/>
                <a:ea typeface="+mn-ea"/>
                <a:cs typeface="+mn-cs"/>
              </a:rPr>
              <a:t>Заключительное слово.</a:t>
            </a:r>
          </a:p>
        </p:txBody>
      </p:sp>
      <p:sp>
        <p:nvSpPr>
          <p:cNvPr id="66" name="Прямоугольник 65"/>
          <p:cNvSpPr/>
          <p:nvPr/>
        </p:nvSpPr>
        <p:spPr>
          <a:xfrm>
            <a:off x="759212" y="3651948"/>
            <a:ext cx="3414293" cy="5681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l" defTabSz="914032"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a:ln>
                <a:noFill/>
              </a:ln>
              <a:solidFill>
                <a:srgbClr val="4472C4">
                  <a:lumMod val="10000"/>
                </a:srgbClr>
              </a:solidFill>
              <a:effectLst/>
              <a:uLnTx/>
              <a:uFillTx/>
              <a:latin typeface="Calibri" panose="020F0502020204030204"/>
              <a:ea typeface="+mn-ea"/>
              <a:cs typeface="+mn-cs"/>
            </a:endParaRPr>
          </a:p>
        </p:txBody>
      </p:sp>
      <p:sp>
        <p:nvSpPr>
          <p:cNvPr id="67" name="Прямоугольник 66"/>
          <p:cNvSpPr/>
          <p:nvPr/>
        </p:nvSpPr>
        <p:spPr>
          <a:xfrm>
            <a:off x="4288307" y="3067682"/>
            <a:ext cx="4816508" cy="2650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l"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F2F2F2">
                    <a:lumMod val="10000"/>
                  </a:srgbClr>
                </a:solidFill>
                <a:effectLst/>
                <a:uLnTx/>
                <a:uFillTx/>
                <a:latin typeface="Calibri" panose="020F0502020204030204"/>
                <a:ea typeface="+mn-ea"/>
                <a:cs typeface="+mn-cs"/>
              </a:rPr>
              <a:t> Работы на высоте. Установка строительных лесов и подмостей.</a:t>
            </a:r>
          </a:p>
        </p:txBody>
      </p:sp>
      <p:sp>
        <p:nvSpPr>
          <p:cNvPr id="54" name="Прямоугольник 53">
            <a:extLst>
              <a:ext uri="{FF2B5EF4-FFF2-40B4-BE49-F238E27FC236}">
                <a16:creationId xmlns:a16="http://schemas.microsoft.com/office/drawing/2014/main" id="{739B504B-D44C-43F4-93E7-A44D8BBB9B30}"/>
              </a:ext>
            </a:extLst>
          </p:cNvPr>
          <p:cNvSpPr/>
          <p:nvPr/>
        </p:nvSpPr>
        <p:spPr>
          <a:xfrm>
            <a:off x="785887" y="2943501"/>
            <a:ext cx="3310530" cy="581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l"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solidFill>
                <a:effectLst/>
                <a:uLnTx/>
                <a:uFillTx/>
                <a:latin typeface="Calibri" panose="020F0502020204030204"/>
                <a:ea typeface="+mn-ea"/>
                <a:cs typeface="+mn-cs"/>
              </a:rPr>
              <a:t>Савелов Семён Алексеевич - Супервайзер</a:t>
            </a:r>
            <a:endParaRPr kumimoji="0" lang="ru-R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Прямоугольник 64"/>
          <p:cNvSpPr/>
          <p:nvPr/>
        </p:nvSpPr>
        <p:spPr>
          <a:xfrm>
            <a:off x="780259" y="3479351"/>
            <a:ext cx="3414293" cy="5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l"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solidFill>
                <a:effectLst/>
                <a:uLnTx/>
                <a:uFillTx/>
                <a:latin typeface="Calibri" panose="020F0502020204030204"/>
                <a:ea typeface="+mn-ea"/>
                <a:cs typeface="+mn-cs"/>
              </a:rPr>
              <a:t>Горлов Андрей Сергеевич– </a:t>
            </a:r>
            <a:r>
              <a:rPr kumimoji="0" lang="ru-RU" sz="1200" b="0" i="0" u="none" strike="noStrike" kern="1200" cap="none" spc="0" normalizeH="0" baseline="0" noProof="0" dirty="0">
                <a:ln>
                  <a:noFill/>
                </a:ln>
                <a:solidFill>
                  <a:prstClr val="black"/>
                </a:solidFill>
                <a:effectLst/>
                <a:uLnTx/>
                <a:uFillTx/>
                <a:latin typeface="Calibri" panose="020F0502020204030204"/>
                <a:ea typeface="+mn-ea"/>
                <a:cs typeface="+mn-cs"/>
              </a:rPr>
              <a:t>Супервайзер</a:t>
            </a:r>
          </a:p>
        </p:txBody>
      </p:sp>
      <p:sp>
        <p:nvSpPr>
          <p:cNvPr id="3" name="Прямоугольник 2"/>
          <p:cNvSpPr/>
          <p:nvPr/>
        </p:nvSpPr>
        <p:spPr>
          <a:xfrm>
            <a:off x="4237058" y="2474481"/>
            <a:ext cx="932178" cy="276999"/>
          </a:xfrm>
          <a:prstGeom prst="rect">
            <a:avLst/>
          </a:prstGeom>
        </p:spPr>
        <p:txBody>
          <a:bodyPr wrap="none">
            <a:spAutoFit/>
          </a:bodyPr>
          <a:lstStyle/>
          <a:p>
            <a:pPr marL="0" marR="0" lvl="0" indent="0" algn="l"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F2F2F2">
                    <a:lumMod val="10000"/>
                  </a:srgbClr>
                </a:solidFill>
                <a:effectLst/>
                <a:uLnTx/>
                <a:uFillTx/>
                <a:latin typeface="Calibri" panose="020F0502020204030204"/>
                <a:ea typeface="+mn-ea"/>
                <a:cs typeface="+mn-cs"/>
              </a:rPr>
              <a:t>Статистика.</a:t>
            </a:r>
          </a:p>
        </p:txBody>
      </p:sp>
      <p:sp>
        <p:nvSpPr>
          <p:cNvPr id="59" name="Прямоугольник 58">
            <a:extLst>
              <a:ext uri="{FF2B5EF4-FFF2-40B4-BE49-F238E27FC236}">
                <a16:creationId xmlns:a16="http://schemas.microsoft.com/office/drawing/2014/main" id="{739B504B-D44C-43F4-93E7-A44D8BBB9B30}"/>
              </a:ext>
            </a:extLst>
          </p:cNvPr>
          <p:cNvSpPr/>
          <p:nvPr/>
        </p:nvSpPr>
        <p:spPr>
          <a:xfrm>
            <a:off x="752505" y="2266936"/>
            <a:ext cx="3310530" cy="5812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l"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prstClr val="black"/>
                </a:solidFill>
                <a:effectLst/>
                <a:uLnTx/>
                <a:uFillTx/>
                <a:latin typeface="Calibri" panose="020F0502020204030204"/>
                <a:ea typeface="+mn-ea"/>
                <a:cs typeface="+mn-cs"/>
              </a:rPr>
              <a:t>Азизов </a:t>
            </a:r>
            <a:r>
              <a:rPr kumimoji="0" lang="ru-RU" sz="1200" b="0" i="0" u="none" strike="noStrike" kern="1200" cap="none" spc="0" normalizeH="0" baseline="0" noProof="0" dirty="0" smtClean="0">
                <a:ln>
                  <a:noFill/>
                </a:ln>
                <a:solidFill>
                  <a:prstClr val="black"/>
                </a:solidFill>
                <a:effectLst/>
                <a:uLnTx/>
                <a:uFillTx/>
                <a:latin typeface="Calibri" panose="020F0502020204030204"/>
                <a:ea typeface="+mn-ea"/>
                <a:cs typeface="+mn-cs"/>
              </a:rPr>
              <a:t>Рустам Минзагитович </a:t>
            </a:r>
            <a:r>
              <a:rPr kumimoji="0" lang="ru-RU" sz="1200" b="0" i="0" u="none" strike="noStrike" kern="1200" cap="none" spc="0" normalizeH="0" baseline="0" noProof="0" dirty="0">
                <a:ln>
                  <a:noFill/>
                </a:ln>
                <a:solidFill>
                  <a:prstClr val="black"/>
                </a:solidFill>
                <a:effectLst/>
                <a:uLnTx/>
                <a:uFillTx/>
                <a:latin typeface="Calibri" panose="020F0502020204030204"/>
                <a:ea typeface="+mn-ea"/>
                <a:cs typeface="+mn-cs"/>
              </a:rPr>
              <a:t>– Начальник </a:t>
            </a:r>
            <a:r>
              <a:rPr kumimoji="0" lang="ru-RU" sz="1200" b="0" i="0" u="none" strike="noStrike" kern="1200" cap="none" spc="0" normalizeH="0" baseline="0" noProof="0" dirty="0" smtClean="0">
                <a:ln>
                  <a:noFill/>
                </a:ln>
                <a:solidFill>
                  <a:prstClr val="black"/>
                </a:solidFill>
                <a:effectLst/>
                <a:uLnTx/>
                <a:uFillTx/>
                <a:latin typeface="Calibri" panose="020F0502020204030204"/>
                <a:ea typeface="+mn-ea"/>
                <a:cs typeface="+mn-cs"/>
              </a:rPr>
              <a:t>отдела по работе с подрядными организациями</a:t>
            </a:r>
            <a:endParaRPr kumimoji="0" lang="ru-R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Прямоугольник 60">
            <a:extLst>
              <a:ext uri="{FF2B5EF4-FFF2-40B4-BE49-F238E27FC236}">
                <a16:creationId xmlns:a16="http://schemas.microsoft.com/office/drawing/2014/main" id="{A9682173-F641-4AC9-AE0C-FAC9C5D2883F}"/>
              </a:ext>
            </a:extLst>
          </p:cNvPr>
          <p:cNvSpPr/>
          <p:nvPr/>
        </p:nvSpPr>
        <p:spPr>
          <a:xfrm>
            <a:off x="9915143" y="4670386"/>
            <a:ext cx="1490362" cy="5931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ctr"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4472C4">
                    <a:lumMod val="10000"/>
                  </a:srgbClr>
                </a:solidFill>
                <a:effectLst/>
                <a:uLnTx/>
                <a:uFillTx/>
                <a:latin typeface="Calibri" panose="020F0502020204030204"/>
                <a:ea typeface="+mn-ea"/>
                <a:cs typeface="+mn-cs"/>
              </a:rPr>
              <a:t>10 минут</a:t>
            </a:r>
          </a:p>
        </p:txBody>
      </p:sp>
      <p:cxnSp>
        <p:nvCxnSpPr>
          <p:cNvPr id="47" name="Прямая соединительная линия 46">
            <a:extLst>
              <a:ext uri="{FF2B5EF4-FFF2-40B4-BE49-F238E27FC236}">
                <a16:creationId xmlns:a16="http://schemas.microsoft.com/office/drawing/2014/main" id="{94849C4D-ED17-4CDD-A8EB-D84AA5EF60E0}"/>
              </a:ext>
            </a:extLst>
          </p:cNvPr>
          <p:cNvCxnSpPr/>
          <p:nvPr/>
        </p:nvCxnSpPr>
        <p:spPr>
          <a:xfrm>
            <a:off x="860490" y="5336538"/>
            <a:ext cx="10564112"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9" name="Прямоугольник 48"/>
          <p:cNvSpPr/>
          <p:nvPr/>
        </p:nvSpPr>
        <p:spPr>
          <a:xfrm>
            <a:off x="780259" y="4763500"/>
            <a:ext cx="3414293" cy="5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l" defTabSz="914032" rtl="0" eaLnBrk="1" fontAlgn="auto" latinLnBrk="0" hangingPunct="1">
              <a:lnSpc>
                <a:spcPct val="100000"/>
              </a:lnSpc>
              <a:spcBef>
                <a:spcPts val="0"/>
              </a:spcBef>
              <a:spcAft>
                <a:spcPts val="0"/>
              </a:spcAft>
              <a:buClrTx/>
              <a:buSzTx/>
              <a:buFontTx/>
              <a:buNone/>
              <a:tabLst/>
              <a:defRPr/>
            </a:pPr>
            <a:r>
              <a:rPr lang="ru-RU" sz="1200" dirty="0" smtClean="0">
                <a:solidFill>
                  <a:prstClr val="black"/>
                </a:solidFill>
                <a:latin typeface="Calibri" panose="020F0502020204030204"/>
              </a:rPr>
              <a:t>Бобрик Виктор Геннадьевич</a:t>
            </a:r>
            <a:r>
              <a:rPr kumimoji="0" lang="ru-RU" sz="1200" b="0" i="0" u="none" strike="noStrike" kern="1200" cap="none" spc="0" normalizeH="0" baseline="0" noProof="0" dirty="0" smtClean="0">
                <a:ln>
                  <a:noFill/>
                </a:ln>
                <a:solidFill>
                  <a:prstClr val="black"/>
                </a:solidFill>
                <a:effectLst/>
                <a:uLnTx/>
                <a:uFillTx/>
                <a:latin typeface="Calibri" panose="020F0502020204030204"/>
                <a:ea typeface="+mn-ea"/>
                <a:cs typeface="+mn-cs"/>
              </a:rPr>
              <a:t> – </a:t>
            </a:r>
            <a:r>
              <a:rPr lang="ru-RU" sz="1200" dirty="0" smtClean="0">
                <a:solidFill>
                  <a:prstClr val="black"/>
                </a:solidFill>
                <a:latin typeface="Calibri" panose="020F0502020204030204"/>
              </a:rPr>
              <a:t>Менеджер по строительству</a:t>
            </a:r>
            <a:endParaRPr kumimoji="0" lang="ru-R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Прямоугольник 49"/>
          <p:cNvSpPr/>
          <p:nvPr/>
        </p:nvSpPr>
        <p:spPr>
          <a:xfrm>
            <a:off x="4239559" y="4908090"/>
            <a:ext cx="3660318" cy="276999"/>
          </a:xfrm>
          <a:prstGeom prst="rect">
            <a:avLst/>
          </a:prstGeom>
        </p:spPr>
        <p:txBody>
          <a:bodyPr wrap="square">
            <a:spAutoFit/>
          </a:bodyPr>
          <a:lstStyle/>
          <a:p>
            <a:pPr marL="0" marR="0" lvl="0" indent="0" algn="l"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F2F2F2">
                    <a:lumMod val="10000"/>
                  </a:srgbClr>
                </a:solidFill>
                <a:effectLst/>
                <a:uLnTx/>
                <a:uFillTx/>
                <a:latin typeface="Calibri" panose="020F0502020204030204"/>
                <a:ea typeface="+mn-ea"/>
                <a:cs typeface="+mn-cs"/>
              </a:rPr>
              <a:t>Производство земляных </a:t>
            </a:r>
            <a:r>
              <a:rPr kumimoji="0" lang="ru-RU" sz="1200" b="0" i="0" u="none" strike="noStrike" kern="1200" cap="none" spc="0" normalizeH="0" baseline="0" noProof="0" dirty="0" smtClean="0">
                <a:ln>
                  <a:noFill/>
                </a:ln>
                <a:solidFill>
                  <a:srgbClr val="F2F2F2">
                    <a:lumMod val="10000"/>
                  </a:srgbClr>
                </a:solidFill>
                <a:effectLst/>
                <a:uLnTx/>
                <a:uFillTx/>
                <a:latin typeface="Calibri" panose="020F0502020204030204"/>
                <a:ea typeface="+mn-ea"/>
                <a:cs typeface="+mn-cs"/>
              </a:rPr>
              <a:t>работ</a:t>
            </a:r>
            <a:r>
              <a:rPr kumimoji="0" lang="ru-RU" sz="1200" b="0" i="0" u="none" strike="noStrike" kern="1200" cap="none" spc="0" normalizeH="0" baseline="0" noProof="0" dirty="0">
                <a:ln>
                  <a:noFill/>
                </a:ln>
                <a:solidFill>
                  <a:srgbClr val="F2F2F2">
                    <a:lumMod val="10000"/>
                  </a:srgbClr>
                </a:solidFill>
                <a:effectLst/>
                <a:uLnTx/>
                <a:uFillTx/>
                <a:latin typeface="Calibri" panose="020F0502020204030204"/>
                <a:ea typeface="+mn-ea"/>
                <a:cs typeface="+mn-cs"/>
              </a:rPr>
              <a:t>.</a:t>
            </a:r>
          </a:p>
        </p:txBody>
      </p:sp>
      <p:cxnSp>
        <p:nvCxnSpPr>
          <p:cNvPr id="53" name="Прямая соединительная линия 52">
            <a:extLst>
              <a:ext uri="{FF2B5EF4-FFF2-40B4-BE49-F238E27FC236}">
                <a16:creationId xmlns:a16="http://schemas.microsoft.com/office/drawing/2014/main" id="{94849C4D-ED17-4CDD-A8EB-D84AA5EF60E0}"/>
              </a:ext>
            </a:extLst>
          </p:cNvPr>
          <p:cNvCxnSpPr/>
          <p:nvPr/>
        </p:nvCxnSpPr>
        <p:spPr>
          <a:xfrm>
            <a:off x="832105" y="5943426"/>
            <a:ext cx="10564112"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9" name="Прямоугольник 68"/>
          <p:cNvSpPr/>
          <p:nvPr/>
        </p:nvSpPr>
        <p:spPr>
          <a:xfrm>
            <a:off x="762148" y="4107097"/>
            <a:ext cx="3414293" cy="5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l"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prstClr val="black"/>
                </a:solidFill>
                <a:effectLst/>
                <a:uLnTx/>
                <a:uFillTx/>
                <a:latin typeface="Calibri" panose="020F0502020204030204"/>
                <a:ea typeface="+mn-ea"/>
                <a:cs typeface="+mn-cs"/>
              </a:rPr>
              <a:t>Ладугин </a:t>
            </a:r>
            <a:r>
              <a:rPr kumimoji="0" lang="ru-RU" sz="1200" b="0" i="0" u="none" strike="noStrike" kern="1200" cap="none" spc="0" normalizeH="0" baseline="0" noProof="0" dirty="0" smtClean="0">
                <a:ln>
                  <a:noFill/>
                </a:ln>
                <a:solidFill>
                  <a:prstClr val="black"/>
                </a:solidFill>
                <a:effectLst/>
                <a:uLnTx/>
                <a:uFillTx/>
                <a:latin typeface="Calibri" panose="020F0502020204030204"/>
                <a:ea typeface="+mn-ea"/>
                <a:cs typeface="+mn-cs"/>
              </a:rPr>
              <a:t>Федор Дмитриевич. </a:t>
            </a:r>
            <a:r>
              <a:rPr kumimoji="0" lang="ru-RU"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ru-RU" sz="1200" b="0" i="0" u="none" strike="noStrike" kern="1200" cap="none" spc="0" normalizeH="0" baseline="0" noProof="0" dirty="0" smtClean="0">
                <a:ln>
                  <a:noFill/>
                </a:ln>
                <a:solidFill>
                  <a:prstClr val="black"/>
                </a:solidFill>
                <a:effectLst/>
                <a:uLnTx/>
                <a:uFillTx/>
                <a:latin typeface="Calibri" panose="020F0502020204030204"/>
                <a:ea typeface="+mn-ea"/>
                <a:cs typeface="+mn-cs"/>
              </a:rPr>
              <a:t>Менеджер по работе с подрядчиками</a:t>
            </a:r>
            <a:endParaRPr kumimoji="0" lang="ru-R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Прямоугольник 69">
            <a:extLst>
              <a:ext uri="{FF2B5EF4-FFF2-40B4-BE49-F238E27FC236}">
                <a16:creationId xmlns:a16="http://schemas.microsoft.com/office/drawing/2014/main" id="{6C4026A3-12FE-43C6-A4C6-FB557B725992}"/>
              </a:ext>
            </a:extLst>
          </p:cNvPr>
          <p:cNvSpPr/>
          <p:nvPr/>
        </p:nvSpPr>
        <p:spPr>
          <a:xfrm>
            <a:off x="4281079" y="4062255"/>
            <a:ext cx="5483678" cy="5931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l"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F2F2F2">
                    <a:lumMod val="10000"/>
                  </a:srgbClr>
                </a:solidFill>
                <a:effectLst/>
                <a:uLnTx/>
                <a:uFillTx/>
                <a:latin typeface="Calibri" panose="020F0502020204030204"/>
                <a:ea typeface="+mn-ea"/>
                <a:cs typeface="+mn-cs"/>
              </a:rPr>
              <a:t> Комитет </a:t>
            </a:r>
            <a:r>
              <a:rPr kumimoji="0" lang="ru-RU" sz="1200" b="0" i="0" u="none" strike="noStrike" kern="1200" cap="none" spc="0" normalizeH="0" baseline="0" noProof="0" dirty="0" smtClean="0">
                <a:ln>
                  <a:noFill/>
                </a:ln>
                <a:solidFill>
                  <a:srgbClr val="F2F2F2">
                    <a:lumMod val="10000"/>
                  </a:srgbClr>
                </a:solidFill>
                <a:effectLst/>
                <a:uLnTx/>
                <a:uFillTx/>
                <a:latin typeface="Calibri" panose="020F0502020204030204"/>
                <a:ea typeface="+mn-ea"/>
                <a:cs typeface="+mn-cs"/>
              </a:rPr>
              <a:t>по работе с </a:t>
            </a:r>
            <a:r>
              <a:rPr kumimoji="0" lang="ru-RU" sz="1200" b="0" i="0" u="none" strike="noStrike" kern="1200" cap="none" spc="0" normalizeH="0" baseline="0" noProof="0" dirty="0">
                <a:ln>
                  <a:noFill/>
                </a:ln>
                <a:solidFill>
                  <a:srgbClr val="F2F2F2">
                    <a:lumMod val="10000"/>
                  </a:srgbClr>
                </a:solidFill>
                <a:effectLst/>
                <a:uLnTx/>
                <a:uFillTx/>
                <a:latin typeface="Calibri" panose="020F0502020204030204"/>
                <a:ea typeface="+mn-ea"/>
                <a:cs typeface="+mn-cs"/>
              </a:rPr>
              <a:t>подрядными </a:t>
            </a:r>
            <a:r>
              <a:rPr kumimoji="0" lang="ru-RU" sz="1200" b="0" i="0" u="none" strike="noStrike" kern="1200" cap="none" spc="0" normalizeH="0" baseline="0" noProof="0" dirty="0" smtClean="0">
                <a:ln>
                  <a:noFill/>
                </a:ln>
                <a:solidFill>
                  <a:srgbClr val="F2F2F2">
                    <a:lumMod val="10000"/>
                  </a:srgbClr>
                </a:solidFill>
                <a:effectLst/>
                <a:uLnTx/>
                <a:uFillTx/>
                <a:latin typeface="Calibri" panose="020F0502020204030204"/>
                <a:ea typeface="+mn-ea"/>
                <a:cs typeface="+mn-cs"/>
              </a:rPr>
              <a:t>организациями</a:t>
            </a:r>
            <a:r>
              <a:rPr kumimoji="0" lang="ru-RU" sz="1200" b="0" i="0" u="none" strike="noStrike" kern="1200" cap="none" spc="0" normalizeH="0" baseline="0" noProof="0" dirty="0">
                <a:ln>
                  <a:noFill/>
                </a:ln>
                <a:solidFill>
                  <a:srgbClr val="F2F2F2">
                    <a:lumMod val="10000"/>
                  </a:srgbClr>
                </a:solidFill>
                <a:effectLst/>
                <a:uLnTx/>
                <a:uFillTx/>
                <a:latin typeface="Calibri" panose="020F0502020204030204"/>
                <a:ea typeface="+mn-ea"/>
                <a:cs typeface="+mn-cs"/>
              </a:rPr>
              <a:t>.</a:t>
            </a:r>
            <a:endParaRPr kumimoji="0" lang="ru-RU" sz="800" b="0" i="0" u="none" strike="noStrike" kern="1200" cap="none" spc="0" normalizeH="0" baseline="0" noProof="0" dirty="0">
              <a:ln>
                <a:noFill/>
              </a:ln>
              <a:solidFill>
                <a:srgbClr val="F2F2F2">
                  <a:lumMod val="10000"/>
                </a:srgbClr>
              </a:solidFill>
              <a:effectLst/>
              <a:uLnTx/>
              <a:uFillTx/>
              <a:latin typeface="Calibri" panose="020F0502020204030204"/>
              <a:ea typeface="+mn-ea"/>
              <a:cs typeface="+mn-cs"/>
            </a:endParaRPr>
          </a:p>
        </p:txBody>
      </p:sp>
      <p:sp>
        <p:nvSpPr>
          <p:cNvPr id="71" name="Прямоугольник 70">
            <a:extLst>
              <a:ext uri="{FF2B5EF4-FFF2-40B4-BE49-F238E27FC236}">
                <a16:creationId xmlns:a16="http://schemas.microsoft.com/office/drawing/2014/main" id="{A9682173-F641-4AC9-AE0C-FAC9C5D2883F}"/>
              </a:ext>
            </a:extLst>
          </p:cNvPr>
          <p:cNvSpPr/>
          <p:nvPr/>
        </p:nvSpPr>
        <p:spPr>
          <a:xfrm>
            <a:off x="9915143" y="5400401"/>
            <a:ext cx="1490362" cy="4899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ctr"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4472C4">
                    <a:lumMod val="10000"/>
                  </a:srgbClr>
                </a:solidFill>
                <a:effectLst/>
                <a:uLnTx/>
                <a:uFillTx/>
                <a:latin typeface="Calibri" panose="020F0502020204030204"/>
                <a:ea typeface="+mn-ea"/>
                <a:cs typeface="+mn-cs"/>
              </a:rPr>
              <a:t>5</a:t>
            </a:r>
            <a:r>
              <a:rPr kumimoji="0" lang="ru-RU" sz="1200" b="0" i="0" u="none" strike="noStrike" kern="1200" cap="none" spc="0" normalizeH="0" baseline="0" noProof="0" dirty="0" smtClean="0">
                <a:ln>
                  <a:noFill/>
                </a:ln>
                <a:solidFill>
                  <a:srgbClr val="4472C4">
                    <a:lumMod val="10000"/>
                  </a:srgbClr>
                </a:solidFill>
                <a:effectLst/>
                <a:uLnTx/>
                <a:uFillTx/>
                <a:latin typeface="Calibri" panose="020F0502020204030204"/>
                <a:ea typeface="+mn-ea"/>
                <a:cs typeface="+mn-cs"/>
              </a:rPr>
              <a:t> </a:t>
            </a:r>
            <a:r>
              <a:rPr kumimoji="0" lang="ru-RU" sz="1200" b="0" i="0" u="none" strike="noStrike" kern="1200" cap="none" spc="0" normalizeH="0" baseline="0" noProof="0" dirty="0">
                <a:ln>
                  <a:noFill/>
                </a:ln>
                <a:solidFill>
                  <a:srgbClr val="4472C4">
                    <a:lumMod val="10000"/>
                  </a:srgbClr>
                </a:solidFill>
                <a:effectLst/>
                <a:uLnTx/>
                <a:uFillTx/>
                <a:latin typeface="Calibri" panose="020F0502020204030204"/>
                <a:ea typeface="+mn-ea"/>
                <a:cs typeface="+mn-cs"/>
              </a:rPr>
              <a:t>минут</a:t>
            </a:r>
          </a:p>
        </p:txBody>
      </p:sp>
      <p:sp>
        <p:nvSpPr>
          <p:cNvPr id="63" name="Прямоугольник 62">
            <a:extLst>
              <a:ext uri="{FF2B5EF4-FFF2-40B4-BE49-F238E27FC236}">
                <a16:creationId xmlns:a16="http://schemas.microsoft.com/office/drawing/2014/main" id="{147D5BA1-187A-4749-A2E4-462F8C8331CF}"/>
              </a:ext>
            </a:extLst>
          </p:cNvPr>
          <p:cNvSpPr/>
          <p:nvPr/>
        </p:nvSpPr>
        <p:spPr>
          <a:xfrm>
            <a:off x="9905855" y="5914885"/>
            <a:ext cx="1490362" cy="4953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ctr"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4472C4">
                    <a:lumMod val="10000"/>
                  </a:srgbClr>
                </a:solidFill>
                <a:effectLst/>
                <a:uLnTx/>
                <a:uFillTx/>
                <a:latin typeface="Calibri" panose="020F0502020204030204"/>
                <a:ea typeface="+mn-ea"/>
                <a:cs typeface="+mn-cs"/>
              </a:rPr>
              <a:t> 5 минут</a:t>
            </a:r>
          </a:p>
        </p:txBody>
      </p:sp>
      <p:sp>
        <p:nvSpPr>
          <p:cNvPr id="72" name="Прямоугольник 71"/>
          <p:cNvSpPr/>
          <p:nvPr/>
        </p:nvSpPr>
        <p:spPr>
          <a:xfrm>
            <a:off x="795518" y="5946838"/>
            <a:ext cx="3414293" cy="492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5957" tIns="35957" rIns="35957" bIns="35957" rtlCol="0" anchor="ctr"/>
          <a:lstStyle/>
          <a:p>
            <a:pPr marL="0" marR="0" lvl="0" indent="0" algn="l" defTabSz="914032"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srgbClr val="4472C4">
                    <a:lumMod val="10000"/>
                  </a:srgbClr>
                </a:solidFill>
                <a:effectLst/>
                <a:uLnTx/>
                <a:uFillTx/>
                <a:latin typeface="Calibri" panose="020F0502020204030204"/>
                <a:ea typeface="+mn-ea"/>
                <a:cs typeface="+mn-cs"/>
              </a:rPr>
              <a:t>Лукьянов Сергей Васильевич</a:t>
            </a:r>
            <a:r>
              <a:rPr kumimoji="0" lang="ru-RU" sz="1200" b="0" i="0" u="none" strike="noStrike" kern="1200" cap="none" spc="0" normalizeH="0" noProof="0" dirty="0" smtClean="0">
                <a:ln>
                  <a:noFill/>
                </a:ln>
                <a:solidFill>
                  <a:srgbClr val="4472C4">
                    <a:lumMod val="10000"/>
                  </a:srgbClr>
                </a:solidFill>
                <a:effectLst/>
                <a:uLnTx/>
                <a:uFillTx/>
                <a:latin typeface="Calibri" panose="020F0502020204030204"/>
                <a:ea typeface="+mn-ea"/>
                <a:cs typeface="+mn-cs"/>
              </a:rPr>
              <a:t> </a:t>
            </a:r>
            <a:r>
              <a:rPr kumimoji="0" lang="ru-RU" sz="1200" b="0" i="0" u="none" strike="noStrike" kern="1200" cap="none" spc="0" normalizeH="0" baseline="0" noProof="0" dirty="0" smtClean="0">
                <a:ln>
                  <a:noFill/>
                </a:ln>
                <a:solidFill>
                  <a:srgbClr val="4472C4">
                    <a:lumMod val="10000"/>
                  </a:srgbClr>
                </a:solidFill>
                <a:effectLst/>
                <a:uLnTx/>
                <a:uFillTx/>
                <a:latin typeface="Calibri" panose="020F0502020204030204"/>
                <a:ea typeface="+mn-ea"/>
                <a:cs typeface="+mn-cs"/>
              </a:rPr>
              <a:t>– И.О</a:t>
            </a:r>
            <a:r>
              <a:rPr kumimoji="0" lang="ru-RU" sz="1200" b="0" i="0" u="none" strike="noStrike" kern="1200" cap="none" spc="0" normalizeH="0" noProof="0" dirty="0" smtClean="0">
                <a:ln>
                  <a:noFill/>
                </a:ln>
                <a:solidFill>
                  <a:srgbClr val="4472C4">
                    <a:lumMod val="10000"/>
                  </a:srgbClr>
                </a:solidFill>
                <a:effectLst/>
                <a:uLnTx/>
                <a:uFillTx/>
                <a:latin typeface="Calibri" panose="020F0502020204030204"/>
                <a:ea typeface="+mn-ea"/>
                <a:cs typeface="+mn-cs"/>
              </a:rPr>
              <a:t> </a:t>
            </a:r>
            <a:r>
              <a:rPr kumimoji="0" lang="ru-RU" sz="1200" b="0" i="0" u="none" strike="noStrike" kern="1200" cap="none" spc="0" normalizeH="0" baseline="0" noProof="0" dirty="0" smtClean="0">
                <a:ln>
                  <a:noFill/>
                </a:ln>
                <a:solidFill>
                  <a:prstClr val="black"/>
                </a:solidFill>
                <a:effectLst/>
                <a:uLnTx/>
                <a:uFillTx/>
                <a:latin typeface="Calibri" panose="020F0502020204030204"/>
                <a:ea typeface="+mn-ea"/>
                <a:cs typeface="+mn-cs"/>
              </a:rPr>
              <a:t>Директора по капитальному строительству</a:t>
            </a:r>
            <a:endParaRPr kumimoji="0" lang="ru-R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385033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Прямая соединительная линия 6"/>
          <p:cNvCxnSpPr/>
          <p:nvPr/>
        </p:nvCxnSpPr>
        <p:spPr>
          <a:xfrm>
            <a:off x="77536" y="305494"/>
            <a:ext cx="11884561"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Прямоугольник 4"/>
          <p:cNvSpPr/>
          <p:nvPr/>
        </p:nvSpPr>
        <p:spPr>
          <a:xfrm>
            <a:off x="88008" y="330971"/>
            <a:ext cx="2614818" cy="271485"/>
          </a:xfrm>
          <a:prstGeom prst="rect">
            <a:avLst/>
          </a:prstGeom>
        </p:spPr>
        <p:txBody>
          <a:bodyPr wrap="none">
            <a:spAutoFit/>
          </a:bodyPr>
          <a:lstStyle/>
          <a:p>
            <a:pPr defTabSz="967332">
              <a:spcBef>
                <a:spcPct val="20000"/>
              </a:spcBef>
              <a:defRPr/>
            </a:pPr>
            <a:r>
              <a:rPr lang="ru-RU" sz="1164" dirty="0">
                <a:solidFill>
                  <a:srgbClr val="7F8183"/>
                </a:solidFill>
                <a:latin typeface="Verdana" panose="020B0604030504040204" pitchFamily="34" charset="0"/>
                <a:ea typeface="Verdana" panose="020B0604030504040204" pitchFamily="34" charset="0"/>
              </a:rPr>
              <a:t>Строительные леса и подмости</a:t>
            </a:r>
          </a:p>
        </p:txBody>
      </p:sp>
      <p:sp>
        <p:nvSpPr>
          <p:cNvPr id="3" name="Номер слайда 2"/>
          <p:cNvSpPr>
            <a:spLocks noGrp="1"/>
          </p:cNvSpPr>
          <p:nvPr>
            <p:ph type="sldNum" sz="quarter" idx="12"/>
          </p:nvPr>
        </p:nvSpPr>
        <p:spPr>
          <a:xfrm>
            <a:off x="9101018" y="305494"/>
            <a:ext cx="2844800" cy="365070"/>
          </a:xfrm>
        </p:spPr>
        <p:txBody>
          <a:bodyPr/>
          <a:lstStyle/>
          <a:p>
            <a:pPr defTabSz="1219084"/>
            <a:fld id="{725C68B6-61C2-468F-89AB-4B9F7531AA68}" type="slidenum">
              <a:rPr lang="ru-RU" sz="1270">
                <a:solidFill>
                  <a:srgbClr val="C00000"/>
                </a:solidFill>
                <a:latin typeface="Calibri"/>
              </a:rPr>
              <a:pPr defTabSz="1219084"/>
              <a:t>10</a:t>
            </a:fld>
            <a:endParaRPr lang="ru-RU" sz="1270" dirty="0">
              <a:solidFill>
                <a:srgbClr val="C00000"/>
              </a:solidFill>
              <a:latin typeface="Calibri"/>
            </a:endParaRPr>
          </a:p>
        </p:txBody>
      </p:sp>
      <p:sp>
        <p:nvSpPr>
          <p:cNvPr id="13" name="TextBox 12"/>
          <p:cNvSpPr txBox="1"/>
          <p:nvPr/>
        </p:nvSpPr>
        <p:spPr>
          <a:xfrm>
            <a:off x="4701399" y="1684894"/>
            <a:ext cx="2938039" cy="613373"/>
          </a:xfrm>
          <a:prstGeom prst="rect">
            <a:avLst/>
          </a:prstGeom>
          <a:solidFill>
            <a:schemeClr val="accent2">
              <a:lumMod val="40000"/>
              <a:lumOff val="60000"/>
            </a:schemeClr>
          </a:solidFill>
          <a:ln w="12700">
            <a:solidFill>
              <a:schemeClr val="tx1"/>
            </a:solidFill>
          </a:ln>
        </p:spPr>
        <p:txBody>
          <a:bodyPr wrap="square" rtlCol="0">
            <a:spAutoFit/>
          </a:bodyPr>
          <a:lstStyle/>
          <a:p>
            <a:pPr algn="ctr" defTabSz="1219084">
              <a:defRPr/>
            </a:pPr>
            <a:r>
              <a:rPr lang="ru-RU" sz="1693" b="1" dirty="0">
                <a:solidFill>
                  <a:prstClr val="black"/>
                </a:solidFill>
                <a:latin typeface="Calibri"/>
              </a:rPr>
              <a:t>Применение систем страховки</a:t>
            </a:r>
          </a:p>
        </p:txBody>
      </p:sp>
      <p:sp>
        <p:nvSpPr>
          <p:cNvPr id="14" name="TextBox 13"/>
          <p:cNvSpPr txBox="1"/>
          <p:nvPr/>
        </p:nvSpPr>
        <p:spPr>
          <a:xfrm>
            <a:off x="1295731" y="1684894"/>
            <a:ext cx="2895400" cy="613373"/>
          </a:xfrm>
          <a:prstGeom prst="rect">
            <a:avLst/>
          </a:prstGeom>
          <a:solidFill>
            <a:schemeClr val="accent2">
              <a:lumMod val="40000"/>
              <a:lumOff val="60000"/>
            </a:schemeClr>
          </a:solidFill>
          <a:ln w="12700">
            <a:solidFill>
              <a:schemeClr val="tx1"/>
            </a:solidFill>
          </a:ln>
        </p:spPr>
        <p:txBody>
          <a:bodyPr wrap="square" rtlCol="0">
            <a:spAutoFit/>
          </a:bodyPr>
          <a:lstStyle/>
          <a:p>
            <a:pPr algn="ctr" defTabSz="1219084">
              <a:defRPr/>
            </a:pPr>
            <a:r>
              <a:rPr lang="ru-RU" sz="1693" b="1" dirty="0">
                <a:solidFill>
                  <a:prstClr val="black"/>
                </a:solidFill>
                <a:latin typeface="Calibri"/>
              </a:rPr>
              <a:t>Нарушения при сборке</a:t>
            </a:r>
            <a:br>
              <a:rPr lang="ru-RU" sz="1693" b="1" dirty="0">
                <a:solidFill>
                  <a:prstClr val="black"/>
                </a:solidFill>
                <a:latin typeface="Calibri"/>
              </a:rPr>
            </a:br>
            <a:r>
              <a:rPr lang="ru-RU" sz="1693" b="1" dirty="0">
                <a:solidFill>
                  <a:prstClr val="black"/>
                </a:solidFill>
                <a:latin typeface="Calibri"/>
              </a:rPr>
              <a:t>средств </a:t>
            </a:r>
            <a:r>
              <a:rPr lang="ru-RU" sz="1693" b="1" dirty="0" err="1">
                <a:solidFill>
                  <a:prstClr val="black"/>
                </a:solidFill>
                <a:latin typeface="Calibri"/>
              </a:rPr>
              <a:t>подмащивания</a:t>
            </a:r>
            <a:endParaRPr lang="ru-RU" sz="1693" b="1" dirty="0">
              <a:solidFill>
                <a:prstClr val="black"/>
              </a:solidFill>
              <a:latin typeface="Calibri"/>
            </a:endParaRPr>
          </a:p>
        </p:txBody>
      </p:sp>
      <p:sp>
        <p:nvSpPr>
          <p:cNvPr id="15" name="TextBox 14"/>
          <p:cNvSpPr txBox="1"/>
          <p:nvPr/>
        </p:nvSpPr>
        <p:spPr>
          <a:xfrm>
            <a:off x="8282552" y="1707703"/>
            <a:ext cx="2994691" cy="613373"/>
          </a:xfrm>
          <a:prstGeom prst="rect">
            <a:avLst/>
          </a:prstGeom>
          <a:solidFill>
            <a:schemeClr val="accent2">
              <a:lumMod val="40000"/>
              <a:lumOff val="60000"/>
            </a:schemeClr>
          </a:solidFill>
          <a:ln w="12700">
            <a:solidFill>
              <a:schemeClr val="tx1"/>
            </a:solidFill>
          </a:ln>
        </p:spPr>
        <p:txBody>
          <a:bodyPr wrap="square" rtlCol="0">
            <a:spAutoFit/>
          </a:bodyPr>
          <a:lstStyle/>
          <a:p>
            <a:pPr algn="ctr" defTabSz="1219084">
              <a:defRPr/>
            </a:pPr>
            <a:r>
              <a:rPr lang="ru-RU" sz="1693" b="1" dirty="0">
                <a:solidFill>
                  <a:prstClr val="black"/>
                </a:solidFill>
                <a:latin typeface="Calibri"/>
              </a:rPr>
              <a:t>Установка средств </a:t>
            </a:r>
            <a:r>
              <a:rPr lang="ru-RU" sz="1693" b="1" dirty="0" err="1">
                <a:solidFill>
                  <a:prstClr val="black"/>
                </a:solidFill>
                <a:latin typeface="Calibri"/>
              </a:rPr>
              <a:t>подмащивания</a:t>
            </a:r>
            <a:endParaRPr lang="ru-RU" sz="1693" b="1" dirty="0">
              <a:solidFill>
                <a:prstClr val="black"/>
              </a:solidFill>
              <a:latin typeface="Calibri"/>
            </a:endParaRPr>
          </a:p>
        </p:txBody>
      </p:sp>
      <p:sp>
        <p:nvSpPr>
          <p:cNvPr id="17" name="Прямоугольник 16"/>
          <p:cNvSpPr/>
          <p:nvPr/>
        </p:nvSpPr>
        <p:spPr>
          <a:xfrm>
            <a:off x="609979" y="1447937"/>
            <a:ext cx="11124432" cy="495265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84">
              <a:defRPr/>
            </a:pPr>
            <a:endParaRPr lang="ru-RU" sz="2434">
              <a:solidFill>
                <a:prstClr val="white"/>
              </a:solidFill>
              <a:latin typeface="Calibri"/>
            </a:endParaRPr>
          </a:p>
        </p:txBody>
      </p:sp>
      <p:sp>
        <p:nvSpPr>
          <p:cNvPr id="18" name="TextBox 17"/>
          <p:cNvSpPr txBox="1"/>
          <p:nvPr/>
        </p:nvSpPr>
        <p:spPr>
          <a:xfrm>
            <a:off x="609979" y="786911"/>
            <a:ext cx="11124432" cy="352854"/>
          </a:xfrm>
          <a:prstGeom prst="rect">
            <a:avLst/>
          </a:prstGeom>
          <a:noFill/>
          <a:ln>
            <a:solidFill>
              <a:schemeClr val="tx1"/>
            </a:solidFill>
          </a:ln>
        </p:spPr>
        <p:txBody>
          <a:bodyPr wrap="square" rtlCol="0">
            <a:spAutoFit/>
          </a:bodyPr>
          <a:lstStyle/>
          <a:p>
            <a:pPr algn="ctr" defTabSz="967527">
              <a:defRPr/>
            </a:pPr>
            <a:r>
              <a:rPr lang="ru-RU" sz="1693" b="1" dirty="0">
                <a:solidFill>
                  <a:prstClr val="black"/>
                </a:solidFill>
                <a:latin typeface="Verdana" panose="020B0604030504040204"/>
              </a:rPr>
              <a:t>Основные виды нарушений в категории</a:t>
            </a:r>
            <a:r>
              <a:rPr lang="ru-RU" sz="1693" b="1" dirty="0">
                <a:solidFill>
                  <a:srgbClr val="424242"/>
                </a:solidFill>
                <a:latin typeface="Verdana" panose="020B0604030504040204"/>
              </a:rPr>
              <a:t> </a:t>
            </a:r>
            <a:r>
              <a:rPr lang="ru-RU" sz="1693" b="1" dirty="0">
                <a:solidFill>
                  <a:srgbClr val="C00000"/>
                </a:solidFill>
                <a:latin typeface="Verdana" panose="020B0604030504040204"/>
              </a:rPr>
              <a:t>работы на высоте</a:t>
            </a:r>
            <a:endParaRPr lang="ru-RU" sz="1693" b="1" dirty="0">
              <a:solidFill>
                <a:prstClr val="black"/>
              </a:solidFill>
              <a:latin typeface="Verdana" panose="020B0604030504040204"/>
            </a:endParaRPr>
          </a:p>
        </p:txBody>
      </p:sp>
      <p:pic>
        <p:nvPicPr>
          <p:cNvPr id="2" name="Рисунок 1"/>
          <p:cNvPicPr>
            <a:picLocks noChangeAspect="1"/>
          </p:cNvPicPr>
          <p:nvPr/>
        </p:nvPicPr>
        <p:blipFill rotWithShape="1">
          <a:blip r:embed="rId3"/>
          <a:srcRect r="7167"/>
          <a:stretch/>
        </p:blipFill>
        <p:spPr>
          <a:xfrm>
            <a:off x="8293668" y="2296689"/>
            <a:ext cx="2991564" cy="3555173"/>
          </a:xfrm>
          <a:prstGeom prst="rect">
            <a:avLst/>
          </a:prstGeom>
        </p:spPr>
      </p:pic>
      <p:pic>
        <p:nvPicPr>
          <p:cNvPr id="16" name="Рисунок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95732" y="2296690"/>
            <a:ext cx="2907288" cy="3555172"/>
          </a:xfrm>
          <a:prstGeom prst="rect">
            <a:avLst/>
          </a:prstGeom>
        </p:spPr>
      </p:pic>
      <p:pic>
        <p:nvPicPr>
          <p:cNvPr id="19" name="Рисунок 18"/>
          <p:cNvPicPr>
            <a:picLocks noChangeAspect="1"/>
          </p:cNvPicPr>
          <p:nvPr/>
        </p:nvPicPr>
        <p:blipFill rotWithShape="1">
          <a:blip r:embed="rId5" cstate="print">
            <a:extLst>
              <a:ext uri="{28A0092B-C50C-407E-A947-70E740481C1C}">
                <a14:useLocalDpi xmlns:a14="http://schemas.microsoft.com/office/drawing/2010/main" val="0"/>
              </a:ext>
            </a:extLst>
          </a:blip>
          <a:srcRect t="16628" b="7401"/>
          <a:stretch/>
        </p:blipFill>
        <p:spPr>
          <a:xfrm>
            <a:off x="4701399" y="2296690"/>
            <a:ext cx="2955327" cy="3555172"/>
          </a:xfrm>
          <a:prstGeom prst="rect">
            <a:avLst/>
          </a:prstGeom>
        </p:spPr>
      </p:pic>
    </p:spTree>
    <p:extLst>
      <p:ext uri="{BB962C8B-B14F-4D97-AF65-F5344CB8AC3E}">
        <p14:creationId xmlns:p14="http://schemas.microsoft.com/office/powerpoint/2010/main" val="215342253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Прямая соединительная линия 6"/>
          <p:cNvCxnSpPr/>
          <p:nvPr/>
        </p:nvCxnSpPr>
        <p:spPr>
          <a:xfrm>
            <a:off x="77536" y="305494"/>
            <a:ext cx="11884561"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Прямоугольник 4"/>
          <p:cNvSpPr/>
          <p:nvPr/>
        </p:nvSpPr>
        <p:spPr>
          <a:xfrm>
            <a:off x="88008" y="330971"/>
            <a:ext cx="2614818" cy="271485"/>
          </a:xfrm>
          <a:prstGeom prst="rect">
            <a:avLst/>
          </a:prstGeom>
        </p:spPr>
        <p:txBody>
          <a:bodyPr wrap="none">
            <a:spAutoFit/>
          </a:bodyPr>
          <a:lstStyle/>
          <a:p>
            <a:pPr defTabSz="967332">
              <a:spcBef>
                <a:spcPct val="20000"/>
              </a:spcBef>
              <a:defRPr/>
            </a:pPr>
            <a:r>
              <a:rPr lang="ru-RU" sz="1164" dirty="0">
                <a:solidFill>
                  <a:srgbClr val="7F8183"/>
                </a:solidFill>
                <a:latin typeface="Verdana" panose="020B0604030504040204" pitchFamily="34" charset="0"/>
                <a:ea typeface="Verdana" panose="020B0604030504040204" pitchFamily="34" charset="0"/>
              </a:rPr>
              <a:t>Строительные леса и подмости</a:t>
            </a:r>
          </a:p>
        </p:txBody>
      </p:sp>
      <p:sp>
        <p:nvSpPr>
          <p:cNvPr id="3" name="Номер слайда 2"/>
          <p:cNvSpPr>
            <a:spLocks noGrp="1"/>
          </p:cNvSpPr>
          <p:nvPr>
            <p:ph type="sldNum" sz="quarter" idx="12"/>
          </p:nvPr>
        </p:nvSpPr>
        <p:spPr>
          <a:xfrm>
            <a:off x="9101018" y="305494"/>
            <a:ext cx="2844800" cy="365070"/>
          </a:xfrm>
        </p:spPr>
        <p:txBody>
          <a:bodyPr/>
          <a:lstStyle/>
          <a:p>
            <a:pPr defTabSz="1219084"/>
            <a:fld id="{725C68B6-61C2-468F-89AB-4B9F7531AA68}" type="slidenum">
              <a:rPr lang="ru-RU" sz="1270">
                <a:solidFill>
                  <a:srgbClr val="C00000"/>
                </a:solidFill>
                <a:latin typeface="Calibri"/>
              </a:rPr>
              <a:pPr defTabSz="1219084"/>
              <a:t>11</a:t>
            </a:fld>
            <a:endParaRPr lang="ru-RU" sz="1270" dirty="0">
              <a:solidFill>
                <a:srgbClr val="C00000"/>
              </a:solidFill>
              <a:latin typeface="Calibri"/>
            </a:endParaRPr>
          </a:p>
        </p:txBody>
      </p:sp>
      <p:sp>
        <p:nvSpPr>
          <p:cNvPr id="18" name="TextBox 17"/>
          <p:cNvSpPr txBox="1"/>
          <p:nvPr/>
        </p:nvSpPr>
        <p:spPr>
          <a:xfrm>
            <a:off x="3657779" y="706493"/>
            <a:ext cx="4724073" cy="352854"/>
          </a:xfrm>
          <a:prstGeom prst="rect">
            <a:avLst/>
          </a:prstGeom>
          <a:noFill/>
        </p:spPr>
        <p:txBody>
          <a:bodyPr wrap="square" rtlCol="0">
            <a:spAutoFit/>
          </a:bodyPr>
          <a:lstStyle/>
          <a:p>
            <a:pPr algn="ctr" defTabSz="967527">
              <a:defRPr/>
            </a:pPr>
            <a:r>
              <a:rPr lang="ru-RU" sz="1693" b="1" dirty="0">
                <a:solidFill>
                  <a:srgbClr val="C00000"/>
                </a:solidFill>
                <a:latin typeface="Verdana" panose="020B0604030504040204"/>
              </a:rPr>
              <a:t>Документация:</a:t>
            </a:r>
          </a:p>
        </p:txBody>
      </p:sp>
      <p:sp>
        <p:nvSpPr>
          <p:cNvPr id="16" name="TextBox 15"/>
          <p:cNvSpPr txBox="1"/>
          <p:nvPr/>
        </p:nvSpPr>
        <p:spPr>
          <a:xfrm>
            <a:off x="2591043" y="1447937"/>
            <a:ext cx="7619474" cy="5302734"/>
          </a:xfrm>
          <a:prstGeom prst="rect">
            <a:avLst/>
          </a:prstGeom>
          <a:noFill/>
        </p:spPr>
        <p:txBody>
          <a:bodyPr wrap="square" rtlCol="0">
            <a:spAutoFit/>
          </a:bodyPr>
          <a:lstStyle/>
          <a:p>
            <a:pPr marL="302352" indent="-302352" defTabSz="967527">
              <a:buFontTx/>
              <a:buChar char="-"/>
              <a:defRPr/>
            </a:pPr>
            <a:r>
              <a:rPr lang="ru-RU" sz="1693" b="1" dirty="0">
                <a:solidFill>
                  <a:prstClr val="black"/>
                </a:solidFill>
                <a:latin typeface="Verdana" panose="020B0604030504040204"/>
              </a:rPr>
              <a:t>Паспорт завода изготовителя</a:t>
            </a:r>
          </a:p>
          <a:p>
            <a:pPr defTabSz="967527">
              <a:defRPr/>
            </a:pPr>
            <a:endParaRPr lang="ru-RU" sz="1693" b="1" dirty="0">
              <a:solidFill>
                <a:prstClr val="black"/>
              </a:solidFill>
              <a:latin typeface="Verdana" panose="020B0604030504040204"/>
            </a:endParaRPr>
          </a:p>
          <a:p>
            <a:pPr defTabSz="967527">
              <a:defRPr/>
            </a:pPr>
            <a:endParaRPr lang="ru-RU" sz="1693" b="1" dirty="0">
              <a:solidFill>
                <a:prstClr val="black"/>
              </a:solidFill>
              <a:latin typeface="Verdana" panose="020B0604030504040204"/>
            </a:endParaRPr>
          </a:p>
          <a:p>
            <a:pPr defTabSz="967527">
              <a:defRPr/>
            </a:pPr>
            <a:endParaRPr lang="ru-RU" sz="1693" b="1" dirty="0">
              <a:solidFill>
                <a:prstClr val="black"/>
              </a:solidFill>
              <a:latin typeface="Verdana" panose="020B0604030504040204"/>
            </a:endParaRPr>
          </a:p>
          <a:p>
            <a:pPr defTabSz="967527">
              <a:defRPr/>
            </a:pPr>
            <a:endParaRPr lang="ru-RU" sz="1693" b="1" dirty="0">
              <a:solidFill>
                <a:prstClr val="black"/>
              </a:solidFill>
              <a:latin typeface="Verdana" panose="020B0604030504040204"/>
            </a:endParaRPr>
          </a:p>
          <a:p>
            <a:pPr defTabSz="967527">
              <a:defRPr/>
            </a:pPr>
            <a:endParaRPr lang="ru-RU" sz="1693" b="1" dirty="0">
              <a:solidFill>
                <a:prstClr val="black"/>
              </a:solidFill>
              <a:latin typeface="Verdana" panose="020B0604030504040204"/>
            </a:endParaRPr>
          </a:p>
          <a:p>
            <a:pPr marL="302352" indent="-302352" defTabSz="967527">
              <a:buFontTx/>
              <a:buChar char="-"/>
              <a:defRPr/>
            </a:pPr>
            <a:r>
              <a:rPr lang="ru-RU" sz="1693" b="1" dirty="0">
                <a:solidFill>
                  <a:prstClr val="black"/>
                </a:solidFill>
                <a:latin typeface="Verdana" panose="020B0604030504040204"/>
              </a:rPr>
              <a:t>Журнал приема и осмотра лесов и подмостей</a:t>
            </a:r>
          </a:p>
          <a:p>
            <a:pPr marL="302352" indent="-302352" defTabSz="967527">
              <a:buFontTx/>
              <a:buChar char="-"/>
              <a:defRPr/>
            </a:pPr>
            <a:endParaRPr lang="ru-RU" sz="1693" b="1" dirty="0">
              <a:solidFill>
                <a:prstClr val="black"/>
              </a:solidFill>
              <a:latin typeface="Verdana" panose="020B0604030504040204"/>
            </a:endParaRPr>
          </a:p>
          <a:p>
            <a:pPr marL="302352" indent="-302352" defTabSz="967527">
              <a:buFontTx/>
              <a:buChar char="-"/>
              <a:defRPr/>
            </a:pPr>
            <a:endParaRPr lang="ru-RU" sz="1693" b="1" dirty="0">
              <a:solidFill>
                <a:prstClr val="black"/>
              </a:solidFill>
              <a:latin typeface="Verdana" panose="020B0604030504040204"/>
            </a:endParaRPr>
          </a:p>
          <a:p>
            <a:pPr marL="302352" indent="-302352" defTabSz="967527">
              <a:buFontTx/>
              <a:buChar char="-"/>
              <a:defRPr/>
            </a:pPr>
            <a:endParaRPr lang="ru-RU" sz="1693" b="1" dirty="0">
              <a:solidFill>
                <a:prstClr val="black"/>
              </a:solidFill>
              <a:latin typeface="Verdana" panose="020B0604030504040204"/>
            </a:endParaRPr>
          </a:p>
          <a:p>
            <a:pPr defTabSz="967527">
              <a:defRPr/>
            </a:pPr>
            <a:endParaRPr lang="ru-RU" sz="1693" b="1" dirty="0">
              <a:solidFill>
                <a:prstClr val="black"/>
              </a:solidFill>
              <a:latin typeface="Verdana" panose="020B0604030504040204"/>
            </a:endParaRPr>
          </a:p>
          <a:p>
            <a:pPr defTabSz="967527">
              <a:defRPr/>
            </a:pPr>
            <a:endParaRPr lang="ru-RU" sz="1693" b="1" dirty="0">
              <a:solidFill>
                <a:prstClr val="black"/>
              </a:solidFill>
              <a:latin typeface="Verdana" panose="020B0604030504040204"/>
            </a:endParaRPr>
          </a:p>
          <a:p>
            <a:pPr marL="302352" indent="-302352" defTabSz="967527">
              <a:buFontTx/>
              <a:buChar char="-"/>
              <a:defRPr/>
            </a:pPr>
            <a:r>
              <a:rPr lang="ru-RU" sz="1693" b="1" dirty="0">
                <a:solidFill>
                  <a:prstClr val="black"/>
                </a:solidFill>
                <a:latin typeface="Verdana" panose="020B0604030504040204"/>
              </a:rPr>
              <a:t>Акт приемки строительных лесов </a:t>
            </a:r>
            <a:br>
              <a:rPr lang="ru-RU" sz="1693" b="1" dirty="0">
                <a:solidFill>
                  <a:prstClr val="black"/>
                </a:solidFill>
                <a:latin typeface="Verdana" panose="020B0604030504040204"/>
              </a:rPr>
            </a:br>
            <a:r>
              <a:rPr lang="ru-RU" sz="1693" b="1" dirty="0">
                <a:solidFill>
                  <a:prstClr val="black"/>
                </a:solidFill>
                <a:latin typeface="Verdana" panose="020B0604030504040204"/>
              </a:rPr>
              <a:t>(при высоте более 4м; утверждается комиссией)</a:t>
            </a:r>
          </a:p>
          <a:p>
            <a:pPr marL="302352" indent="-302352" defTabSz="967527">
              <a:buFontTx/>
              <a:buChar char="-"/>
              <a:defRPr/>
            </a:pPr>
            <a:endParaRPr lang="ru-RU" sz="1693" b="1" dirty="0">
              <a:solidFill>
                <a:prstClr val="black"/>
              </a:solidFill>
              <a:latin typeface="Verdana" panose="020B0604030504040204"/>
            </a:endParaRPr>
          </a:p>
          <a:p>
            <a:pPr marL="302352" indent="-302352" defTabSz="967527">
              <a:buFontTx/>
              <a:buChar char="-"/>
              <a:defRPr/>
            </a:pPr>
            <a:endParaRPr lang="ru-RU" sz="1693" b="1" dirty="0">
              <a:solidFill>
                <a:prstClr val="black"/>
              </a:solidFill>
              <a:latin typeface="Verdana" panose="020B0604030504040204"/>
            </a:endParaRPr>
          </a:p>
          <a:p>
            <a:pPr marL="302352" indent="-302352" defTabSz="967527">
              <a:buFontTx/>
              <a:buChar char="-"/>
              <a:defRPr/>
            </a:pPr>
            <a:endParaRPr lang="ru-RU" sz="1693" b="1" dirty="0">
              <a:solidFill>
                <a:prstClr val="black"/>
              </a:solidFill>
              <a:latin typeface="Verdana" panose="020B0604030504040204"/>
            </a:endParaRPr>
          </a:p>
          <a:p>
            <a:pPr marL="302352" indent="-302352" defTabSz="967527">
              <a:buFontTx/>
              <a:buChar char="-"/>
              <a:defRPr/>
            </a:pPr>
            <a:endParaRPr lang="ru-RU" sz="1693" b="1" dirty="0">
              <a:solidFill>
                <a:prstClr val="black"/>
              </a:solidFill>
              <a:latin typeface="Verdana" panose="020B0604030504040204"/>
            </a:endParaRPr>
          </a:p>
          <a:p>
            <a:pPr marL="302352" indent="-302352" defTabSz="967527">
              <a:buFontTx/>
              <a:buChar char="-"/>
              <a:defRPr/>
            </a:pPr>
            <a:r>
              <a:rPr lang="ru-RU" sz="1693" b="1" dirty="0">
                <a:solidFill>
                  <a:prstClr val="black"/>
                </a:solidFill>
                <a:latin typeface="Verdana" panose="020B0604030504040204"/>
              </a:rPr>
              <a:t>Наряд допуск при сборке и разборке лесов</a:t>
            </a:r>
          </a:p>
          <a:p>
            <a:pPr marL="302352" indent="-302352" defTabSz="967527">
              <a:buFontTx/>
              <a:buChar char="-"/>
              <a:defRPr/>
            </a:pPr>
            <a:endParaRPr lang="ru-RU" sz="1693" b="1" dirty="0">
              <a:solidFill>
                <a:prstClr val="black"/>
              </a:solidFill>
              <a:latin typeface="Verdana" panose="020B0604030504040204"/>
            </a:endParaRPr>
          </a:p>
        </p:txBody>
      </p:sp>
      <p:pic>
        <p:nvPicPr>
          <p:cNvPr id="21" name="Рисунок 20"/>
          <p:cNvPicPr>
            <a:picLocks noChangeAspect="1"/>
          </p:cNvPicPr>
          <p:nvPr/>
        </p:nvPicPr>
        <p:blipFill>
          <a:blip r:embed="rId3"/>
          <a:stretch>
            <a:fillRect/>
          </a:stretch>
        </p:blipFill>
        <p:spPr>
          <a:xfrm>
            <a:off x="1247708" y="4090720"/>
            <a:ext cx="868430" cy="1189461"/>
          </a:xfrm>
          <a:prstGeom prst="rect">
            <a:avLst/>
          </a:prstGeom>
        </p:spPr>
      </p:pic>
      <p:pic>
        <p:nvPicPr>
          <p:cNvPr id="2" name="Рисунок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59593" y="1274311"/>
            <a:ext cx="861787" cy="1183634"/>
          </a:xfrm>
          <a:prstGeom prst="rect">
            <a:avLst/>
          </a:prstGeom>
        </p:spPr>
      </p:pic>
      <p:pic>
        <p:nvPicPr>
          <p:cNvPr id="6" name="Рисунок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56271" y="2658788"/>
            <a:ext cx="868430" cy="1192759"/>
          </a:xfrm>
          <a:prstGeom prst="rect">
            <a:avLst/>
          </a:prstGeom>
        </p:spPr>
      </p:pic>
      <p:pic>
        <p:nvPicPr>
          <p:cNvPr id="10" name="Рисунок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56271" y="5463875"/>
            <a:ext cx="875492" cy="1209907"/>
          </a:xfrm>
          <a:prstGeom prst="rect">
            <a:avLst/>
          </a:prstGeom>
        </p:spPr>
      </p:pic>
    </p:spTree>
    <p:extLst>
      <p:ext uri="{BB962C8B-B14F-4D97-AF65-F5344CB8AC3E}">
        <p14:creationId xmlns:p14="http://schemas.microsoft.com/office/powerpoint/2010/main" val="245623465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Прямая соединительная линия 6"/>
          <p:cNvCxnSpPr/>
          <p:nvPr/>
        </p:nvCxnSpPr>
        <p:spPr>
          <a:xfrm>
            <a:off x="77536" y="305494"/>
            <a:ext cx="11884561"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Прямоугольник 4"/>
          <p:cNvSpPr/>
          <p:nvPr/>
        </p:nvSpPr>
        <p:spPr>
          <a:xfrm>
            <a:off x="88009" y="330971"/>
            <a:ext cx="6761787" cy="271485"/>
          </a:xfrm>
          <a:prstGeom prst="rect">
            <a:avLst/>
          </a:prstGeom>
        </p:spPr>
        <p:txBody>
          <a:bodyPr wrap="none">
            <a:spAutoFit/>
          </a:bodyPr>
          <a:lstStyle/>
          <a:p>
            <a:pPr defTabSz="967332">
              <a:spcBef>
                <a:spcPct val="20000"/>
              </a:spcBef>
              <a:defRPr/>
            </a:pPr>
            <a:r>
              <a:rPr lang="ru-RU" sz="1164" dirty="0">
                <a:solidFill>
                  <a:srgbClr val="7F8183"/>
                </a:solidFill>
                <a:latin typeface="Verdana" panose="020B0604030504040204" pitchFamily="34" charset="0"/>
                <a:ea typeface="Verdana" panose="020B0604030504040204" pitchFamily="34" charset="0"/>
              </a:rPr>
              <a:t>Требования по охране труда, предъявляемые при работе со средств </a:t>
            </a:r>
            <a:r>
              <a:rPr lang="ru-RU" sz="1164" dirty="0" err="1">
                <a:solidFill>
                  <a:srgbClr val="7F8183"/>
                </a:solidFill>
                <a:latin typeface="Verdana" panose="020B0604030504040204" pitchFamily="34" charset="0"/>
                <a:ea typeface="Verdana" panose="020B0604030504040204" pitchFamily="34" charset="0"/>
              </a:rPr>
              <a:t>подмащивания</a:t>
            </a:r>
            <a:endParaRPr lang="ru-RU" sz="1164" dirty="0">
              <a:solidFill>
                <a:srgbClr val="7F8183"/>
              </a:solidFill>
              <a:latin typeface="Verdana" panose="020B0604030504040204" pitchFamily="34" charset="0"/>
              <a:ea typeface="Verdana" panose="020B0604030504040204" pitchFamily="34" charset="0"/>
            </a:endParaRPr>
          </a:p>
        </p:txBody>
      </p:sp>
      <p:sp>
        <p:nvSpPr>
          <p:cNvPr id="3" name="Номер слайда 2"/>
          <p:cNvSpPr>
            <a:spLocks noGrp="1"/>
          </p:cNvSpPr>
          <p:nvPr>
            <p:ph type="sldNum" sz="quarter" idx="12"/>
          </p:nvPr>
        </p:nvSpPr>
        <p:spPr>
          <a:xfrm>
            <a:off x="9101018" y="305494"/>
            <a:ext cx="2844800" cy="365070"/>
          </a:xfrm>
        </p:spPr>
        <p:txBody>
          <a:bodyPr/>
          <a:lstStyle/>
          <a:p>
            <a:pPr defTabSz="1219084"/>
            <a:fld id="{725C68B6-61C2-468F-89AB-4B9F7531AA68}" type="slidenum">
              <a:rPr lang="ru-RU" sz="1270">
                <a:solidFill>
                  <a:srgbClr val="C00000"/>
                </a:solidFill>
                <a:latin typeface="Calibri"/>
              </a:rPr>
              <a:pPr defTabSz="1219084"/>
              <a:t>12</a:t>
            </a:fld>
            <a:endParaRPr lang="ru-RU" sz="1270" dirty="0">
              <a:solidFill>
                <a:srgbClr val="C00000"/>
              </a:solidFill>
              <a:latin typeface="Calibri"/>
            </a:endParaRPr>
          </a:p>
        </p:txBody>
      </p:sp>
      <p:pic>
        <p:nvPicPr>
          <p:cNvPr id="4" name="Рисунок 3"/>
          <p:cNvPicPr>
            <a:picLocks noChangeAspect="1"/>
          </p:cNvPicPr>
          <p:nvPr/>
        </p:nvPicPr>
        <p:blipFill rotWithShape="1">
          <a:blip r:embed="rId3" cstate="print">
            <a:extLst>
              <a:ext uri="{28A0092B-C50C-407E-A947-70E740481C1C}">
                <a14:useLocalDpi xmlns:a14="http://schemas.microsoft.com/office/drawing/2010/main" val="0"/>
              </a:ext>
            </a:extLst>
          </a:blip>
          <a:srcRect l="9561" r="15140" b="28385"/>
          <a:stretch/>
        </p:blipFill>
        <p:spPr>
          <a:xfrm>
            <a:off x="4273802" y="2085270"/>
            <a:ext cx="3629851" cy="3352570"/>
          </a:xfrm>
          <a:prstGeom prst="rect">
            <a:avLst/>
          </a:prstGeom>
          <a:ln w="38100" cap="sq">
            <a:solidFill>
              <a:srgbClr val="C00000"/>
            </a:solidFill>
            <a:prstDash val="solid"/>
            <a:miter lim="800000"/>
          </a:ln>
          <a:effectLst/>
        </p:spPr>
      </p:pic>
      <p:pic>
        <p:nvPicPr>
          <p:cNvPr id="8" name="Рисунок 7"/>
          <p:cNvPicPr>
            <a:picLocks noChangeAspect="1"/>
          </p:cNvPicPr>
          <p:nvPr/>
        </p:nvPicPr>
        <p:blipFill rotWithShape="1">
          <a:blip r:embed="rId4" cstate="print">
            <a:extLst>
              <a:ext uri="{28A0092B-C50C-407E-A947-70E740481C1C}">
                <a14:useLocalDpi xmlns:a14="http://schemas.microsoft.com/office/drawing/2010/main" val="0"/>
              </a:ext>
            </a:extLst>
          </a:blip>
          <a:srcRect b="14000"/>
          <a:stretch/>
        </p:blipFill>
        <p:spPr>
          <a:xfrm>
            <a:off x="686173" y="2078648"/>
            <a:ext cx="2865853" cy="3352571"/>
          </a:xfrm>
          <a:prstGeom prst="rect">
            <a:avLst/>
          </a:prstGeom>
          <a:ln w="38100" cap="sq">
            <a:solidFill>
              <a:srgbClr val="C00000"/>
            </a:solidFill>
            <a:prstDash val="solid"/>
            <a:miter lim="800000"/>
          </a:ln>
          <a:effectLst/>
        </p:spPr>
      </p:pic>
      <p:sp>
        <p:nvSpPr>
          <p:cNvPr id="2" name="TextBox 1"/>
          <p:cNvSpPr txBox="1"/>
          <p:nvPr/>
        </p:nvSpPr>
        <p:spPr>
          <a:xfrm>
            <a:off x="4477669" y="1072719"/>
            <a:ext cx="3209166" cy="483081"/>
          </a:xfrm>
          <a:prstGeom prst="rect">
            <a:avLst/>
          </a:prstGeom>
          <a:noFill/>
        </p:spPr>
        <p:txBody>
          <a:bodyPr wrap="square" rtlCol="0">
            <a:spAutoFit/>
          </a:bodyPr>
          <a:lstStyle/>
          <a:p>
            <a:pPr defTabSz="1219084"/>
            <a:r>
              <a:rPr lang="ru-RU" sz="2539" dirty="0">
                <a:solidFill>
                  <a:prstClr val="black"/>
                </a:solidFill>
                <a:latin typeface="Verdana" panose="020B0604030504040204" pitchFamily="34" charset="0"/>
                <a:ea typeface="Verdana" panose="020B0604030504040204" pitchFamily="34" charset="0"/>
              </a:rPr>
              <a:t>Место установки.</a:t>
            </a:r>
          </a:p>
        </p:txBody>
      </p:sp>
      <p:pic>
        <p:nvPicPr>
          <p:cNvPr id="10" name="Рисунок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a:off x="8256243" y="2447834"/>
            <a:ext cx="3352570" cy="2614198"/>
          </a:xfrm>
          <a:prstGeom prst="rect">
            <a:avLst/>
          </a:prstGeom>
          <a:ln w="38100" cap="sq">
            <a:solidFill>
              <a:srgbClr val="C00000"/>
            </a:solidFill>
            <a:prstDash val="solid"/>
            <a:miter lim="800000"/>
          </a:ln>
          <a:effectLst/>
        </p:spPr>
      </p:pic>
    </p:spTree>
    <p:extLst>
      <p:ext uri="{BB962C8B-B14F-4D97-AF65-F5344CB8AC3E}">
        <p14:creationId xmlns:p14="http://schemas.microsoft.com/office/powerpoint/2010/main" val="129422674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Прямая соединительная линия 6"/>
          <p:cNvCxnSpPr/>
          <p:nvPr/>
        </p:nvCxnSpPr>
        <p:spPr>
          <a:xfrm>
            <a:off x="77536" y="305494"/>
            <a:ext cx="11884561"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Номер слайда 2"/>
          <p:cNvSpPr>
            <a:spLocks noGrp="1"/>
          </p:cNvSpPr>
          <p:nvPr>
            <p:ph type="sldNum" sz="quarter" idx="12"/>
          </p:nvPr>
        </p:nvSpPr>
        <p:spPr>
          <a:xfrm>
            <a:off x="9101018" y="305494"/>
            <a:ext cx="2844800" cy="365070"/>
          </a:xfrm>
        </p:spPr>
        <p:txBody>
          <a:bodyPr/>
          <a:lstStyle/>
          <a:p>
            <a:pPr defTabSz="1219084"/>
            <a:fld id="{725C68B6-61C2-468F-89AB-4B9F7531AA68}" type="slidenum">
              <a:rPr lang="ru-RU" sz="1270">
                <a:solidFill>
                  <a:srgbClr val="C00000"/>
                </a:solidFill>
                <a:latin typeface="Calibri"/>
              </a:rPr>
              <a:pPr defTabSz="1219084"/>
              <a:t>13</a:t>
            </a:fld>
            <a:endParaRPr lang="ru-RU" sz="1270" dirty="0">
              <a:solidFill>
                <a:srgbClr val="C00000"/>
              </a:solidFill>
              <a:latin typeface="Calibri"/>
            </a:endParaRPr>
          </a:p>
        </p:txBody>
      </p:sp>
      <p:pic>
        <p:nvPicPr>
          <p:cNvPr id="10" name="Рисунок 9"/>
          <p:cNvPicPr>
            <a:picLocks noChangeAspect="1"/>
          </p:cNvPicPr>
          <p:nvPr/>
        </p:nvPicPr>
        <p:blipFill rotWithShape="1">
          <a:blip r:embed="rId3" cstate="print">
            <a:extLst>
              <a:ext uri="{28A0092B-C50C-407E-A947-70E740481C1C}">
                <a14:useLocalDpi xmlns:a14="http://schemas.microsoft.com/office/drawing/2010/main" val="0"/>
              </a:ext>
            </a:extLst>
          </a:blip>
          <a:srcRect l="8511" t="371" r="6726" b="34997"/>
          <a:stretch/>
        </p:blipFill>
        <p:spPr>
          <a:xfrm>
            <a:off x="4447006" y="2091764"/>
            <a:ext cx="3400155" cy="3803683"/>
          </a:xfrm>
          <a:prstGeom prst="rect">
            <a:avLst/>
          </a:prstGeom>
          <a:ln w="38100" cap="sq">
            <a:solidFill>
              <a:srgbClr val="C00000"/>
            </a:solidFill>
            <a:prstDash val="solid"/>
            <a:miter lim="800000"/>
          </a:ln>
          <a:effectLst/>
        </p:spPr>
      </p:pic>
      <p:sp>
        <p:nvSpPr>
          <p:cNvPr id="16" name="TextBox 15"/>
          <p:cNvSpPr txBox="1"/>
          <p:nvPr/>
        </p:nvSpPr>
        <p:spPr>
          <a:xfrm>
            <a:off x="3310218" y="1132433"/>
            <a:ext cx="5790800" cy="483081"/>
          </a:xfrm>
          <a:prstGeom prst="rect">
            <a:avLst/>
          </a:prstGeom>
          <a:noFill/>
        </p:spPr>
        <p:txBody>
          <a:bodyPr wrap="square" rtlCol="0">
            <a:spAutoFit/>
          </a:bodyPr>
          <a:lstStyle/>
          <a:p>
            <a:pPr defTabSz="1219084"/>
            <a:r>
              <a:rPr lang="ru-RU" sz="2539" dirty="0">
                <a:solidFill>
                  <a:prstClr val="black"/>
                </a:solidFill>
                <a:latin typeface="Verdana" panose="020B0604030504040204" pitchFamily="34" charset="0"/>
                <a:ea typeface="Verdana" panose="020B0604030504040204" pitchFamily="34" charset="0"/>
              </a:rPr>
              <a:t>Подкладки под опоры на грунте </a:t>
            </a:r>
          </a:p>
        </p:txBody>
      </p:sp>
      <p:pic>
        <p:nvPicPr>
          <p:cNvPr id="17" name="Рисунок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0953" y="2094763"/>
            <a:ext cx="2962413" cy="3803683"/>
          </a:xfrm>
          <a:prstGeom prst="rect">
            <a:avLst/>
          </a:prstGeom>
          <a:ln w="38100" cap="sq">
            <a:solidFill>
              <a:srgbClr val="C00000"/>
            </a:solidFill>
            <a:prstDash val="solid"/>
            <a:miter lim="800000"/>
          </a:ln>
          <a:effectLst/>
        </p:spPr>
      </p:pic>
      <p:sp>
        <p:nvSpPr>
          <p:cNvPr id="11" name="Прямоугольник 10"/>
          <p:cNvSpPr/>
          <p:nvPr/>
        </p:nvSpPr>
        <p:spPr>
          <a:xfrm>
            <a:off x="88009" y="330971"/>
            <a:ext cx="6761787" cy="271485"/>
          </a:xfrm>
          <a:prstGeom prst="rect">
            <a:avLst/>
          </a:prstGeom>
        </p:spPr>
        <p:txBody>
          <a:bodyPr wrap="none">
            <a:spAutoFit/>
          </a:bodyPr>
          <a:lstStyle/>
          <a:p>
            <a:pPr defTabSz="967332">
              <a:spcBef>
                <a:spcPct val="20000"/>
              </a:spcBef>
              <a:defRPr/>
            </a:pPr>
            <a:r>
              <a:rPr lang="ru-RU" sz="1164" dirty="0">
                <a:solidFill>
                  <a:srgbClr val="7F8183"/>
                </a:solidFill>
                <a:latin typeface="Verdana" panose="020B0604030504040204" pitchFamily="34" charset="0"/>
                <a:ea typeface="Verdana" panose="020B0604030504040204" pitchFamily="34" charset="0"/>
              </a:rPr>
              <a:t>Требования по охране труда, предъявляемые при работе со средств </a:t>
            </a:r>
            <a:r>
              <a:rPr lang="ru-RU" sz="1164" dirty="0" err="1">
                <a:solidFill>
                  <a:srgbClr val="7F8183"/>
                </a:solidFill>
                <a:latin typeface="Verdana" panose="020B0604030504040204" pitchFamily="34" charset="0"/>
                <a:ea typeface="Verdana" panose="020B0604030504040204" pitchFamily="34" charset="0"/>
              </a:rPr>
              <a:t>подмащивания</a:t>
            </a:r>
            <a:endParaRPr lang="ru-RU" sz="1164" dirty="0">
              <a:solidFill>
                <a:srgbClr val="7F8183"/>
              </a:solidFill>
              <a:latin typeface="Verdana" panose="020B0604030504040204" pitchFamily="34" charset="0"/>
              <a:ea typeface="Verdana" panose="020B0604030504040204" pitchFamily="34" charset="0"/>
            </a:endParaRPr>
          </a:p>
        </p:txBody>
      </p:sp>
      <p:pic>
        <p:nvPicPr>
          <p:cNvPr id="2" name="Рисунок 1"/>
          <p:cNvPicPr>
            <a:picLocks noChangeAspect="1"/>
          </p:cNvPicPr>
          <p:nvPr/>
        </p:nvPicPr>
        <p:blipFill rotWithShape="1">
          <a:blip r:embed="rId5" cstate="print">
            <a:extLst>
              <a:ext uri="{28A0092B-C50C-407E-A947-70E740481C1C}">
                <a14:useLocalDpi xmlns:a14="http://schemas.microsoft.com/office/drawing/2010/main" val="0"/>
              </a:ext>
            </a:extLst>
          </a:blip>
          <a:srcRect b="13730"/>
          <a:stretch/>
        </p:blipFill>
        <p:spPr>
          <a:xfrm>
            <a:off x="8346756" y="2091763"/>
            <a:ext cx="3269882" cy="3803683"/>
          </a:xfrm>
          <a:prstGeom prst="rect">
            <a:avLst/>
          </a:prstGeom>
          <a:ln w="38100" cap="sq">
            <a:solidFill>
              <a:srgbClr val="C00000"/>
            </a:solidFill>
            <a:prstDash val="solid"/>
            <a:miter lim="800000"/>
          </a:ln>
          <a:effectLst/>
        </p:spPr>
      </p:pic>
    </p:spTree>
    <p:extLst>
      <p:ext uri="{BB962C8B-B14F-4D97-AF65-F5344CB8AC3E}">
        <p14:creationId xmlns:p14="http://schemas.microsoft.com/office/powerpoint/2010/main" val="30431451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Прямая соединительная линия 6"/>
          <p:cNvCxnSpPr/>
          <p:nvPr/>
        </p:nvCxnSpPr>
        <p:spPr>
          <a:xfrm>
            <a:off x="77536" y="305494"/>
            <a:ext cx="11884561"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Номер слайда 2"/>
          <p:cNvSpPr>
            <a:spLocks noGrp="1"/>
          </p:cNvSpPr>
          <p:nvPr>
            <p:ph type="sldNum" sz="quarter" idx="12"/>
          </p:nvPr>
        </p:nvSpPr>
        <p:spPr>
          <a:xfrm>
            <a:off x="9101018" y="305494"/>
            <a:ext cx="2844800" cy="365070"/>
          </a:xfrm>
        </p:spPr>
        <p:txBody>
          <a:bodyPr/>
          <a:lstStyle/>
          <a:p>
            <a:pPr defTabSz="1219084"/>
            <a:fld id="{725C68B6-61C2-468F-89AB-4B9F7531AA68}" type="slidenum">
              <a:rPr lang="ru-RU" sz="1270">
                <a:solidFill>
                  <a:srgbClr val="C00000"/>
                </a:solidFill>
                <a:latin typeface="Calibri"/>
              </a:rPr>
              <a:pPr defTabSz="1219084"/>
              <a:t>14</a:t>
            </a:fld>
            <a:endParaRPr lang="ru-RU" sz="1270" dirty="0">
              <a:solidFill>
                <a:srgbClr val="C00000"/>
              </a:solidFill>
              <a:latin typeface="Calibri"/>
            </a:endParaRPr>
          </a:p>
        </p:txBody>
      </p:sp>
      <p:sp>
        <p:nvSpPr>
          <p:cNvPr id="16" name="TextBox 15"/>
          <p:cNvSpPr txBox="1"/>
          <p:nvPr/>
        </p:nvSpPr>
        <p:spPr>
          <a:xfrm>
            <a:off x="1130641" y="1169425"/>
            <a:ext cx="9905317" cy="483081"/>
          </a:xfrm>
          <a:prstGeom prst="rect">
            <a:avLst/>
          </a:prstGeom>
          <a:noFill/>
        </p:spPr>
        <p:txBody>
          <a:bodyPr wrap="square" rtlCol="0">
            <a:spAutoFit/>
          </a:bodyPr>
          <a:lstStyle/>
          <a:p>
            <a:pPr defTabSz="1219084"/>
            <a:r>
              <a:rPr lang="ru-RU" sz="2539" dirty="0">
                <a:solidFill>
                  <a:prstClr val="black"/>
                </a:solidFill>
                <a:latin typeface="Verdana" panose="020B0604030504040204" pitchFamily="34" charset="0"/>
                <a:ea typeface="Verdana" panose="020B0604030504040204" pitchFamily="34" charset="0"/>
              </a:rPr>
              <a:t>Сборка в соответствии с паспортом завода изготовителя</a:t>
            </a:r>
          </a:p>
        </p:txBody>
      </p:sp>
      <p:pic>
        <p:nvPicPr>
          <p:cNvPr id="2" name="Рисунок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2401" y="2156794"/>
            <a:ext cx="2974905" cy="3838089"/>
          </a:xfrm>
          <a:prstGeom prst="rect">
            <a:avLst/>
          </a:prstGeom>
          <a:ln w="38100" cap="sq">
            <a:solidFill>
              <a:srgbClr val="C00000"/>
            </a:solidFill>
            <a:prstDash val="solid"/>
            <a:miter lim="800000"/>
          </a:ln>
          <a:effectLst>
            <a:outerShdw blurRad="50800" dist="38100" dir="2700000" algn="tl" rotWithShape="0">
              <a:srgbClr val="000000">
                <a:alpha val="43000"/>
              </a:srgbClr>
            </a:outerShdw>
          </a:effectLst>
        </p:spPr>
      </p:pic>
      <p:pic>
        <p:nvPicPr>
          <p:cNvPr id="4" name="Рисунок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19748" y="2156289"/>
            <a:ext cx="3023953" cy="3901368"/>
          </a:xfrm>
          <a:prstGeom prst="rect">
            <a:avLst/>
          </a:prstGeom>
          <a:ln w="38100" cap="sq">
            <a:solidFill>
              <a:srgbClr val="C00000"/>
            </a:solidFill>
            <a:prstDash val="solid"/>
            <a:miter lim="800000"/>
          </a:ln>
          <a:effectLst>
            <a:outerShdw blurRad="50800" dist="38100" dir="2700000" algn="tl" rotWithShape="0">
              <a:srgbClr val="000000">
                <a:alpha val="43000"/>
              </a:srgbClr>
            </a:outerShdw>
          </a:effectLst>
        </p:spPr>
      </p:pic>
      <p:pic>
        <p:nvPicPr>
          <p:cNvPr id="6" name="Рисунок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66142" y="2156289"/>
            <a:ext cx="2935351" cy="3898513"/>
          </a:xfrm>
          <a:prstGeom prst="rect">
            <a:avLst/>
          </a:prstGeom>
          <a:ln w="38100" cap="sq">
            <a:solidFill>
              <a:srgbClr val="C00000"/>
            </a:solidFill>
            <a:prstDash val="solid"/>
            <a:miter lim="800000"/>
          </a:ln>
          <a:effectLst>
            <a:outerShdw blurRad="50800" dist="38100" dir="2700000" algn="tl" rotWithShape="0">
              <a:srgbClr val="000000">
                <a:alpha val="43000"/>
              </a:srgbClr>
            </a:outerShdw>
          </a:effectLst>
        </p:spPr>
      </p:pic>
      <p:sp>
        <p:nvSpPr>
          <p:cNvPr id="10" name="Прямоугольник 9"/>
          <p:cNvSpPr/>
          <p:nvPr/>
        </p:nvSpPr>
        <p:spPr>
          <a:xfrm>
            <a:off x="88009" y="330971"/>
            <a:ext cx="6761787" cy="271485"/>
          </a:xfrm>
          <a:prstGeom prst="rect">
            <a:avLst/>
          </a:prstGeom>
        </p:spPr>
        <p:txBody>
          <a:bodyPr wrap="none">
            <a:spAutoFit/>
          </a:bodyPr>
          <a:lstStyle/>
          <a:p>
            <a:pPr defTabSz="967332">
              <a:spcBef>
                <a:spcPct val="20000"/>
              </a:spcBef>
              <a:defRPr/>
            </a:pPr>
            <a:r>
              <a:rPr lang="ru-RU" sz="1164" dirty="0">
                <a:solidFill>
                  <a:srgbClr val="7F8183"/>
                </a:solidFill>
                <a:latin typeface="Verdana" panose="020B0604030504040204" pitchFamily="34" charset="0"/>
                <a:ea typeface="Verdana" panose="020B0604030504040204" pitchFamily="34" charset="0"/>
              </a:rPr>
              <a:t>Требования по охране труда, предъявляемые при работе со средств </a:t>
            </a:r>
            <a:r>
              <a:rPr lang="ru-RU" sz="1164" dirty="0" err="1">
                <a:solidFill>
                  <a:srgbClr val="7F8183"/>
                </a:solidFill>
                <a:latin typeface="Verdana" panose="020B0604030504040204" pitchFamily="34" charset="0"/>
                <a:ea typeface="Verdana" panose="020B0604030504040204" pitchFamily="34" charset="0"/>
              </a:rPr>
              <a:t>подмащивания</a:t>
            </a:r>
            <a:endParaRPr lang="ru-RU" sz="1164" dirty="0">
              <a:solidFill>
                <a:srgbClr val="7F8183"/>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337761167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Прямая соединительная линия 6"/>
          <p:cNvCxnSpPr/>
          <p:nvPr/>
        </p:nvCxnSpPr>
        <p:spPr>
          <a:xfrm>
            <a:off x="77536" y="305494"/>
            <a:ext cx="11884561"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Номер слайда 2"/>
          <p:cNvSpPr>
            <a:spLocks noGrp="1"/>
          </p:cNvSpPr>
          <p:nvPr>
            <p:ph type="sldNum" sz="quarter" idx="12"/>
          </p:nvPr>
        </p:nvSpPr>
        <p:spPr>
          <a:xfrm>
            <a:off x="9101018" y="305494"/>
            <a:ext cx="2844800" cy="365070"/>
          </a:xfrm>
        </p:spPr>
        <p:txBody>
          <a:bodyPr/>
          <a:lstStyle/>
          <a:p>
            <a:pPr defTabSz="1219084"/>
            <a:fld id="{725C68B6-61C2-468F-89AB-4B9F7531AA68}" type="slidenum">
              <a:rPr lang="ru-RU" sz="1270">
                <a:solidFill>
                  <a:srgbClr val="C00000"/>
                </a:solidFill>
                <a:latin typeface="Calibri"/>
              </a:rPr>
              <a:pPr defTabSz="1219084"/>
              <a:t>15</a:t>
            </a:fld>
            <a:endParaRPr lang="ru-RU" sz="1270" dirty="0">
              <a:solidFill>
                <a:srgbClr val="C00000"/>
              </a:solidFill>
              <a:latin typeface="Calibri"/>
            </a:endParaRPr>
          </a:p>
        </p:txBody>
      </p:sp>
      <p:sp>
        <p:nvSpPr>
          <p:cNvPr id="16" name="TextBox 15"/>
          <p:cNvSpPr txBox="1"/>
          <p:nvPr/>
        </p:nvSpPr>
        <p:spPr>
          <a:xfrm>
            <a:off x="2400555" y="901644"/>
            <a:ext cx="7543279" cy="873829"/>
          </a:xfrm>
          <a:prstGeom prst="rect">
            <a:avLst/>
          </a:prstGeom>
          <a:noFill/>
        </p:spPr>
        <p:txBody>
          <a:bodyPr wrap="square" rtlCol="0">
            <a:spAutoFit/>
          </a:bodyPr>
          <a:lstStyle/>
          <a:p>
            <a:pPr algn="ctr" defTabSz="1219084"/>
            <a:r>
              <a:rPr lang="ru-RU" sz="2539" dirty="0">
                <a:solidFill>
                  <a:prstClr val="black"/>
                </a:solidFill>
                <a:latin typeface="Verdana" panose="020B0604030504040204" pitchFamily="34" charset="0"/>
                <a:ea typeface="Verdana" panose="020B0604030504040204" pitchFamily="34" charset="0"/>
              </a:rPr>
              <a:t>Инвентарные настилы, защита от падения </a:t>
            </a:r>
            <a:br>
              <a:rPr lang="ru-RU" sz="2539" dirty="0">
                <a:solidFill>
                  <a:prstClr val="black"/>
                </a:solidFill>
                <a:latin typeface="Verdana" panose="020B0604030504040204" pitchFamily="34" charset="0"/>
                <a:ea typeface="Verdana" panose="020B0604030504040204" pitchFamily="34" charset="0"/>
              </a:rPr>
            </a:br>
            <a:r>
              <a:rPr lang="ru-RU" sz="2539" dirty="0">
                <a:solidFill>
                  <a:prstClr val="black"/>
                </a:solidFill>
                <a:latin typeface="Verdana" panose="020B0604030504040204" pitchFamily="34" charset="0"/>
                <a:ea typeface="Verdana" panose="020B0604030504040204" pitchFamily="34" charset="0"/>
              </a:rPr>
              <a:t>оборудования и материалов</a:t>
            </a:r>
          </a:p>
        </p:txBody>
      </p:sp>
      <p:pic>
        <p:nvPicPr>
          <p:cNvPr id="4" name="Рисунок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6877" y="2329352"/>
            <a:ext cx="3107844" cy="4115658"/>
          </a:xfrm>
          <a:prstGeom prst="rect">
            <a:avLst/>
          </a:prstGeom>
          <a:ln w="38100" cap="sq">
            <a:solidFill>
              <a:srgbClr val="C00000"/>
            </a:solidFill>
            <a:prstDash val="solid"/>
            <a:miter lim="800000"/>
          </a:ln>
          <a:effectLst/>
        </p:spPr>
      </p:pic>
      <p:pic>
        <p:nvPicPr>
          <p:cNvPr id="6" name="Рисунок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31066" y="2329352"/>
            <a:ext cx="3082258" cy="4127604"/>
          </a:xfrm>
          <a:prstGeom prst="rect">
            <a:avLst/>
          </a:prstGeom>
          <a:ln w="38100" cap="sq">
            <a:solidFill>
              <a:srgbClr val="C00000"/>
            </a:solidFill>
            <a:prstDash val="solid"/>
            <a:miter lim="800000"/>
          </a:ln>
          <a:effectLst/>
        </p:spPr>
      </p:pic>
      <p:pic>
        <p:nvPicPr>
          <p:cNvPr id="8" name="Рисунок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12832" y="2334931"/>
            <a:ext cx="3057206" cy="4127604"/>
          </a:xfrm>
          <a:prstGeom prst="rect">
            <a:avLst/>
          </a:prstGeom>
          <a:ln w="38100" cap="sq">
            <a:solidFill>
              <a:srgbClr val="C00000"/>
            </a:solidFill>
            <a:prstDash val="solid"/>
            <a:miter lim="800000"/>
          </a:ln>
          <a:effectLst/>
        </p:spPr>
      </p:pic>
      <p:sp>
        <p:nvSpPr>
          <p:cNvPr id="10" name="Прямоугольник 9"/>
          <p:cNvSpPr/>
          <p:nvPr/>
        </p:nvSpPr>
        <p:spPr>
          <a:xfrm>
            <a:off x="88009" y="330971"/>
            <a:ext cx="6761787" cy="271485"/>
          </a:xfrm>
          <a:prstGeom prst="rect">
            <a:avLst/>
          </a:prstGeom>
        </p:spPr>
        <p:txBody>
          <a:bodyPr wrap="none">
            <a:spAutoFit/>
          </a:bodyPr>
          <a:lstStyle/>
          <a:p>
            <a:pPr defTabSz="967332">
              <a:spcBef>
                <a:spcPct val="20000"/>
              </a:spcBef>
              <a:defRPr/>
            </a:pPr>
            <a:r>
              <a:rPr lang="ru-RU" sz="1164" dirty="0">
                <a:solidFill>
                  <a:srgbClr val="7F8183"/>
                </a:solidFill>
                <a:latin typeface="Verdana" panose="020B0604030504040204" pitchFamily="34" charset="0"/>
                <a:ea typeface="Verdana" panose="020B0604030504040204" pitchFamily="34" charset="0"/>
              </a:rPr>
              <a:t>Требования по охране труда, предъявляемые при работе со средств </a:t>
            </a:r>
            <a:r>
              <a:rPr lang="ru-RU" sz="1164" dirty="0" err="1">
                <a:solidFill>
                  <a:srgbClr val="7F8183"/>
                </a:solidFill>
                <a:latin typeface="Verdana" panose="020B0604030504040204" pitchFamily="34" charset="0"/>
                <a:ea typeface="Verdana" panose="020B0604030504040204" pitchFamily="34" charset="0"/>
              </a:rPr>
              <a:t>подмащивания</a:t>
            </a:r>
            <a:endParaRPr lang="ru-RU" sz="1164" dirty="0">
              <a:solidFill>
                <a:srgbClr val="7F8183"/>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326989990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Прямая соединительная линия 6"/>
          <p:cNvCxnSpPr/>
          <p:nvPr/>
        </p:nvCxnSpPr>
        <p:spPr>
          <a:xfrm>
            <a:off x="77536" y="305494"/>
            <a:ext cx="11884561"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Номер слайда 2"/>
          <p:cNvSpPr>
            <a:spLocks noGrp="1"/>
          </p:cNvSpPr>
          <p:nvPr>
            <p:ph type="sldNum" sz="quarter" idx="12"/>
          </p:nvPr>
        </p:nvSpPr>
        <p:spPr>
          <a:xfrm>
            <a:off x="9101018" y="305494"/>
            <a:ext cx="2844800" cy="365070"/>
          </a:xfrm>
        </p:spPr>
        <p:txBody>
          <a:bodyPr/>
          <a:lstStyle/>
          <a:p>
            <a:pPr defTabSz="1219084"/>
            <a:fld id="{725C68B6-61C2-468F-89AB-4B9F7531AA68}" type="slidenum">
              <a:rPr lang="ru-RU" sz="1270">
                <a:solidFill>
                  <a:srgbClr val="C00000"/>
                </a:solidFill>
                <a:latin typeface="Calibri"/>
              </a:rPr>
              <a:pPr defTabSz="1219084"/>
              <a:t>16</a:t>
            </a:fld>
            <a:endParaRPr lang="ru-RU" sz="1270" dirty="0">
              <a:solidFill>
                <a:srgbClr val="C00000"/>
              </a:solidFill>
              <a:latin typeface="Calibri"/>
            </a:endParaRPr>
          </a:p>
        </p:txBody>
      </p:sp>
      <p:sp>
        <p:nvSpPr>
          <p:cNvPr id="12" name="TextBox 11"/>
          <p:cNvSpPr txBox="1"/>
          <p:nvPr/>
        </p:nvSpPr>
        <p:spPr>
          <a:xfrm>
            <a:off x="1725262" y="886673"/>
            <a:ext cx="8790034" cy="483081"/>
          </a:xfrm>
          <a:prstGeom prst="rect">
            <a:avLst/>
          </a:prstGeom>
          <a:noFill/>
        </p:spPr>
        <p:txBody>
          <a:bodyPr wrap="square" rtlCol="0">
            <a:spAutoFit/>
          </a:bodyPr>
          <a:lstStyle/>
          <a:p>
            <a:pPr defTabSz="1219084"/>
            <a:r>
              <a:rPr lang="ru-RU" sz="2539" dirty="0">
                <a:solidFill>
                  <a:prstClr val="black"/>
                </a:solidFill>
                <a:latin typeface="Verdana" panose="020B0604030504040204" pitchFamily="34" charset="0"/>
                <a:ea typeface="Verdana" panose="020B0604030504040204" pitchFamily="34" charset="0"/>
              </a:rPr>
              <a:t>Отсутствие механических повреждений элементов</a:t>
            </a:r>
          </a:p>
        </p:txBody>
      </p:sp>
      <p:grpSp>
        <p:nvGrpSpPr>
          <p:cNvPr id="27" name="Группа 26"/>
          <p:cNvGrpSpPr/>
          <p:nvPr/>
        </p:nvGrpSpPr>
        <p:grpSpPr>
          <a:xfrm>
            <a:off x="686173" y="1956358"/>
            <a:ext cx="3025139" cy="4205450"/>
            <a:chOff x="212622" y="2291543"/>
            <a:chExt cx="2664296" cy="3552395"/>
          </a:xfrm>
        </p:grpSpPr>
        <p:pic>
          <p:nvPicPr>
            <p:cNvPr id="4" name="Рисунок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2622" y="2291543"/>
              <a:ext cx="2664296" cy="3552395"/>
            </a:xfrm>
            <a:prstGeom prst="rect">
              <a:avLst/>
            </a:prstGeom>
            <a:ln w="38100" cap="sq">
              <a:solidFill>
                <a:srgbClr val="C00000"/>
              </a:solidFill>
              <a:prstDash val="solid"/>
              <a:miter lim="800000"/>
            </a:ln>
            <a:effectLst/>
          </p:spPr>
        </p:pic>
        <p:cxnSp>
          <p:nvCxnSpPr>
            <p:cNvPr id="9" name="Прямая со стрелкой 8"/>
            <p:cNvCxnSpPr/>
            <p:nvPr/>
          </p:nvCxnSpPr>
          <p:spPr>
            <a:xfrm flipH="1" flipV="1">
              <a:off x="1561727" y="4291589"/>
              <a:ext cx="999180" cy="720080"/>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6" name="Группа 25"/>
          <p:cNvGrpSpPr/>
          <p:nvPr/>
        </p:nvGrpSpPr>
        <p:grpSpPr>
          <a:xfrm>
            <a:off x="8077064" y="1956358"/>
            <a:ext cx="3151842" cy="4284106"/>
            <a:chOff x="8624941" y="2280939"/>
            <a:chExt cx="2720047" cy="3626729"/>
          </a:xfrm>
          <a:effectLst/>
        </p:grpSpPr>
        <p:pic>
          <p:nvPicPr>
            <p:cNvPr id="11" name="Рисунок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5400000">
              <a:off x="8171600" y="2734280"/>
              <a:ext cx="3626729" cy="2720047"/>
            </a:xfrm>
            <a:prstGeom prst="rect">
              <a:avLst/>
            </a:prstGeom>
            <a:ln w="38100" cap="sq">
              <a:solidFill>
                <a:srgbClr val="C00000"/>
              </a:solidFill>
              <a:prstDash val="solid"/>
              <a:miter lim="800000"/>
            </a:ln>
            <a:effectLst>
              <a:outerShdw blurRad="50800" dist="38100" dir="2700000" algn="tl" rotWithShape="0">
                <a:srgbClr val="000000">
                  <a:alpha val="43000"/>
                </a:srgbClr>
              </a:outerShdw>
            </a:effectLst>
          </p:spPr>
        </p:pic>
        <p:cxnSp>
          <p:nvCxnSpPr>
            <p:cNvPr id="14" name="Прямая со стрелкой 13"/>
            <p:cNvCxnSpPr/>
            <p:nvPr/>
          </p:nvCxnSpPr>
          <p:spPr>
            <a:xfrm flipH="1" flipV="1">
              <a:off x="10297541" y="3672136"/>
              <a:ext cx="936104" cy="576063"/>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5" name="Группа 24"/>
          <p:cNvGrpSpPr/>
          <p:nvPr/>
        </p:nvGrpSpPr>
        <p:grpSpPr>
          <a:xfrm>
            <a:off x="4191131" y="1956358"/>
            <a:ext cx="3252263" cy="4227889"/>
            <a:chOff x="2985970" y="2280939"/>
            <a:chExt cx="2690712" cy="3573602"/>
          </a:xfrm>
          <a:effectLst/>
        </p:grpSpPr>
        <p:pic>
          <p:nvPicPr>
            <p:cNvPr id="6" name="Рисунок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85970" y="2280939"/>
              <a:ext cx="2690712" cy="3573602"/>
            </a:xfrm>
            <a:prstGeom prst="rect">
              <a:avLst/>
            </a:prstGeom>
            <a:ln w="38100" cap="sq">
              <a:solidFill>
                <a:srgbClr val="C00000"/>
              </a:solidFill>
              <a:prstDash val="solid"/>
              <a:miter lim="800000"/>
            </a:ln>
            <a:effectLst>
              <a:outerShdw blurRad="50800" dist="38100" dir="2700000" algn="tl" rotWithShape="0">
                <a:srgbClr val="000000">
                  <a:alpha val="43000"/>
                </a:srgbClr>
              </a:outerShdw>
            </a:effectLst>
          </p:spPr>
        </p:pic>
        <p:cxnSp>
          <p:nvCxnSpPr>
            <p:cNvPr id="16" name="Прямая со стрелкой 15"/>
            <p:cNvCxnSpPr/>
            <p:nvPr/>
          </p:nvCxnSpPr>
          <p:spPr>
            <a:xfrm flipH="1" flipV="1">
              <a:off x="4546058" y="3761707"/>
              <a:ext cx="854939" cy="702516"/>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grpSp>
      <p:sp>
        <p:nvSpPr>
          <p:cNvPr id="17" name="Прямоугольник 16"/>
          <p:cNvSpPr/>
          <p:nvPr/>
        </p:nvSpPr>
        <p:spPr>
          <a:xfrm>
            <a:off x="88009" y="330971"/>
            <a:ext cx="6761787" cy="271485"/>
          </a:xfrm>
          <a:prstGeom prst="rect">
            <a:avLst/>
          </a:prstGeom>
        </p:spPr>
        <p:txBody>
          <a:bodyPr wrap="none">
            <a:spAutoFit/>
          </a:bodyPr>
          <a:lstStyle/>
          <a:p>
            <a:pPr defTabSz="967332">
              <a:spcBef>
                <a:spcPct val="20000"/>
              </a:spcBef>
              <a:defRPr/>
            </a:pPr>
            <a:r>
              <a:rPr lang="ru-RU" sz="1164" dirty="0">
                <a:solidFill>
                  <a:srgbClr val="7F8183"/>
                </a:solidFill>
                <a:latin typeface="Verdana" panose="020B0604030504040204" pitchFamily="34" charset="0"/>
                <a:ea typeface="Verdana" panose="020B0604030504040204" pitchFamily="34" charset="0"/>
              </a:rPr>
              <a:t>Требования по охране труда, предъявляемые при работе со средств </a:t>
            </a:r>
            <a:r>
              <a:rPr lang="ru-RU" sz="1164" dirty="0" err="1">
                <a:solidFill>
                  <a:srgbClr val="7F8183"/>
                </a:solidFill>
                <a:latin typeface="Verdana" panose="020B0604030504040204" pitchFamily="34" charset="0"/>
                <a:ea typeface="Verdana" panose="020B0604030504040204" pitchFamily="34" charset="0"/>
              </a:rPr>
              <a:t>подмащивания</a:t>
            </a:r>
            <a:endParaRPr lang="ru-RU" sz="1164" dirty="0">
              <a:solidFill>
                <a:srgbClr val="7F8183"/>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53252748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Прямая соединительная линия 6"/>
          <p:cNvCxnSpPr/>
          <p:nvPr/>
        </p:nvCxnSpPr>
        <p:spPr>
          <a:xfrm>
            <a:off x="77536" y="305494"/>
            <a:ext cx="11884561"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Номер слайда 2"/>
          <p:cNvSpPr>
            <a:spLocks noGrp="1"/>
          </p:cNvSpPr>
          <p:nvPr>
            <p:ph type="sldNum" sz="quarter" idx="12"/>
          </p:nvPr>
        </p:nvSpPr>
        <p:spPr>
          <a:xfrm>
            <a:off x="9101018" y="305494"/>
            <a:ext cx="2844800" cy="365070"/>
          </a:xfrm>
        </p:spPr>
        <p:txBody>
          <a:bodyPr/>
          <a:lstStyle/>
          <a:p>
            <a:pPr defTabSz="1219084"/>
            <a:fld id="{725C68B6-61C2-468F-89AB-4B9F7531AA68}" type="slidenum">
              <a:rPr lang="ru-RU" sz="1270">
                <a:solidFill>
                  <a:srgbClr val="C00000"/>
                </a:solidFill>
                <a:latin typeface="Calibri"/>
              </a:rPr>
              <a:pPr defTabSz="1219084"/>
              <a:t>17</a:t>
            </a:fld>
            <a:endParaRPr lang="ru-RU" sz="1270" dirty="0">
              <a:solidFill>
                <a:srgbClr val="C00000"/>
              </a:solidFill>
              <a:latin typeface="Calibri"/>
            </a:endParaRPr>
          </a:p>
        </p:txBody>
      </p:sp>
      <p:pic>
        <p:nvPicPr>
          <p:cNvPr id="2" name="Рисунок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62548" y="2180513"/>
            <a:ext cx="4517989" cy="3812915"/>
          </a:xfrm>
          <a:prstGeom prst="rect">
            <a:avLst/>
          </a:prstGeom>
          <a:ln w="38100" cap="sq">
            <a:solidFill>
              <a:srgbClr val="C00000"/>
            </a:solidFill>
            <a:prstDash val="solid"/>
            <a:miter lim="800000"/>
          </a:ln>
          <a:effectLst/>
        </p:spPr>
      </p:pic>
      <p:pic>
        <p:nvPicPr>
          <p:cNvPr id="9" name="Рисунок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9979" y="2137836"/>
            <a:ext cx="2929832" cy="3842790"/>
          </a:xfrm>
          <a:prstGeom prst="rect">
            <a:avLst/>
          </a:prstGeom>
          <a:ln w="38100" cap="sq">
            <a:solidFill>
              <a:srgbClr val="C00000"/>
            </a:solidFill>
            <a:prstDash val="solid"/>
            <a:miter lim="800000"/>
          </a:ln>
          <a:effectLst/>
        </p:spPr>
      </p:pic>
      <p:sp>
        <p:nvSpPr>
          <p:cNvPr id="11" name="TextBox 10"/>
          <p:cNvSpPr txBox="1"/>
          <p:nvPr/>
        </p:nvSpPr>
        <p:spPr>
          <a:xfrm>
            <a:off x="1905289" y="938653"/>
            <a:ext cx="8873892" cy="483081"/>
          </a:xfrm>
          <a:prstGeom prst="rect">
            <a:avLst/>
          </a:prstGeom>
          <a:noFill/>
        </p:spPr>
        <p:txBody>
          <a:bodyPr wrap="square" rtlCol="0">
            <a:spAutoFit/>
          </a:bodyPr>
          <a:lstStyle/>
          <a:p>
            <a:pPr defTabSz="1219084"/>
            <a:r>
              <a:rPr lang="ru-RU" sz="2539" dirty="0">
                <a:solidFill>
                  <a:prstClr val="black"/>
                </a:solidFill>
                <a:latin typeface="Verdana" panose="020B0604030504040204" pitchFamily="34" charset="0"/>
                <a:ea typeface="Verdana" panose="020B0604030504040204" pitchFamily="34" charset="0"/>
              </a:rPr>
              <a:t>Техническое обслуживание средств </a:t>
            </a:r>
            <a:r>
              <a:rPr lang="ru-RU" sz="2539" dirty="0" err="1">
                <a:solidFill>
                  <a:prstClr val="black"/>
                </a:solidFill>
                <a:latin typeface="Verdana" panose="020B0604030504040204" pitchFamily="34" charset="0"/>
                <a:ea typeface="Verdana" panose="020B0604030504040204" pitchFamily="34" charset="0"/>
              </a:rPr>
              <a:t>подмащивания</a:t>
            </a:r>
            <a:endParaRPr lang="ru-RU" sz="2539" dirty="0">
              <a:solidFill>
                <a:prstClr val="black"/>
              </a:solidFill>
              <a:latin typeface="Verdana" panose="020B0604030504040204" pitchFamily="34" charset="0"/>
              <a:ea typeface="Verdana" panose="020B0604030504040204" pitchFamily="34" charset="0"/>
            </a:endParaRPr>
          </a:p>
        </p:txBody>
      </p:sp>
      <p:grpSp>
        <p:nvGrpSpPr>
          <p:cNvPr id="12" name="Группа 11"/>
          <p:cNvGrpSpPr/>
          <p:nvPr/>
        </p:nvGrpSpPr>
        <p:grpSpPr>
          <a:xfrm>
            <a:off x="8842019" y="2180513"/>
            <a:ext cx="2759247" cy="3831962"/>
            <a:chOff x="8702346" y="2375988"/>
            <a:chExt cx="2322388" cy="3305617"/>
          </a:xfrm>
          <a:effectLst/>
        </p:grpSpPr>
        <p:grpSp>
          <p:nvGrpSpPr>
            <p:cNvPr id="6" name="Группа 5"/>
            <p:cNvGrpSpPr/>
            <p:nvPr/>
          </p:nvGrpSpPr>
          <p:grpSpPr>
            <a:xfrm>
              <a:off x="8716376" y="2375988"/>
              <a:ext cx="2308358" cy="3305617"/>
              <a:chOff x="8667279" y="2377458"/>
              <a:chExt cx="2308358" cy="3305617"/>
            </a:xfrm>
          </p:grpSpPr>
          <p:pic>
            <p:nvPicPr>
              <p:cNvPr id="10" name="Рисунок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67279" y="2377458"/>
                <a:ext cx="2293020" cy="3305617"/>
              </a:xfrm>
              <a:prstGeom prst="rect">
                <a:avLst/>
              </a:prstGeom>
              <a:ln w="38100" cap="sq">
                <a:solidFill>
                  <a:srgbClr val="C00000"/>
                </a:solidFill>
                <a:prstDash val="solid"/>
                <a:miter lim="800000"/>
              </a:ln>
              <a:effectLst/>
            </p:spPr>
          </p:pic>
          <p:sp>
            <p:nvSpPr>
              <p:cNvPr id="4" name="Овал 3"/>
              <p:cNvSpPr/>
              <p:nvPr/>
            </p:nvSpPr>
            <p:spPr>
              <a:xfrm>
                <a:off x="9946382" y="4030266"/>
                <a:ext cx="1029255" cy="1155507"/>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84"/>
                <a:endParaRPr lang="ru-RU" sz="2434">
                  <a:solidFill>
                    <a:prstClr val="white"/>
                  </a:solidFill>
                  <a:latin typeface="Calibri"/>
                </a:endParaRPr>
              </a:p>
            </p:txBody>
          </p:sp>
        </p:grpSp>
        <p:sp>
          <p:nvSpPr>
            <p:cNvPr id="8" name="Овал 7"/>
            <p:cNvSpPr/>
            <p:nvPr/>
          </p:nvSpPr>
          <p:spPr>
            <a:xfrm>
              <a:off x="8702346" y="3998697"/>
              <a:ext cx="804025" cy="867475"/>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84"/>
              <a:endParaRPr lang="ru-RU" sz="2434">
                <a:solidFill>
                  <a:prstClr val="white"/>
                </a:solidFill>
                <a:latin typeface="Calibri"/>
              </a:endParaRPr>
            </a:p>
          </p:txBody>
        </p:sp>
      </p:grpSp>
      <p:sp>
        <p:nvSpPr>
          <p:cNvPr id="14" name="Прямоугольник 13"/>
          <p:cNvSpPr/>
          <p:nvPr/>
        </p:nvSpPr>
        <p:spPr>
          <a:xfrm>
            <a:off x="88009" y="330971"/>
            <a:ext cx="6761787" cy="271485"/>
          </a:xfrm>
          <a:prstGeom prst="rect">
            <a:avLst/>
          </a:prstGeom>
        </p:spPr>
        <p:txBody>
          <a:bodyPr wrap="none">
            <a:spAutoFit/>
          </a:bodyPr>
          <a:lstStyle/>
          <a:p>
            <a:pPr defTabSz="967332">
              <a:spcBef>
                <a:spcPct val="20000"/>
              </a:spcBef>
              <a:defRPr/>
            </a:pPr>
            <a:r>
              <a:rPr lang="ru-RU" sz="1164" dirty="0">
                <a:solidFill>
                  <a:srgbClr val="7F8183"/>
                </a:solidFill>
                <a:latin typeface="Verdana" panose="020B0604030504040204" pitchFamily="34" charset="0"/>
                <a:ea typeface="Verdana" panose="020B0604030504040204" pitchFamily="34" charset="0"/>
              </a:rPr>
              <a:t>Требования по охране труда, предъявляемые при работе со средств </a:t>
            </a:r>
            <a:r>
              <a:rPr lang="ru-RU" sz="1164" dirty="0" err="1">
                <a:solidFill>
                  <a:srgbClr val="7F8183"/>
                </a:solidFill>
                <a:latin typeface="Verdana" panose="020B0604030504040204" pitchFamily="34" charset="0"/>
                <a:ea typeface="Verdana" panose="020B0604030504040204" pitchFamily="34" charset="0"/>
              </a:rPr>
              <a:t>подмащивания</a:t>
            </a:r>
            <a:endParaRPr lang="ru-RU" sz="1164" dirty="0">
              <a:solidFill>
                <a:srgbClr val="7F8183"/>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340693484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Прямая соединительная линия 6"/>
          <p:cNvCxnSpPr/>
          <p:nvPr/>
        </p:nvCxnSpPr>
        <p:spPr>
          <a:xfrm>
            <a:off x="77536" y="305494"/>
            <a:ext cx="11884561"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Номер слайда 2"/>
          <p:cNvSpPr>
            <a:spLocks noGrp="1"/>
          </p:cNvSpPr>
          <p:nvPr>
            <p:ph type="sldNum" sz="quarter" idx="12"/>
          </p:nvPr>
        </p:nvSpPr>
        <p:spPr>
          <a:xfrm>
            <a:off x="9101018" y="305494"/>
            <a:ext cx="2844800" cy="365070"/>
          </a:xfrm>
        </p:spPr>
        <p:txBody>
          <a:bodyPr/>
          <a:lstStyle/>
          <a:p>
            <a:pPr defTabSz="1219084"/>
            <a:fld id="{725C68B6-61C2-468F-89AB-4B9F7531AA68}" type="slidenum">
              <a:rPr lang="ru-RU" sz="1270">
                <a:solidFill>
                  <a:srgbClr val="C00000"/>
                </a:solidFill>
                <a:latin typeface="Calibri"/>
              </a:rPr>
              <a:pPr defTabSz="1219084"/>
              <a:t>18</a:t>
            </a:fld>
            <a:endParaRPr lang="ru-RU" sz="1270" dirty="0">
              <a:solidFill>
                <a:srgbClr val="C00000"/>
              </a:solidFill>
              <a:latin typeface="Calibri"/>
            </a:endParaRPr>
          </a:p>
        </p:txBody>
      </p:sp>
      <p:pic>
        <p:nvPicPr>
          <p:cNvPr id="2" name="Рисунок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469172" y="2470057"/>
            <a:ext cx="4235818" cy="3121718"/>
          </a:xfrm>
          <a:prstGeom prst="rect">
            <a:avLst/>
          </a:prstGeom>
          <a:ln w="38100" cap="sq">
            <a:solidFill>
              <a:srgbClr val="C00000"/>
            </a:solidFill>
            <a:prstDash val="solid"/>
            <a:miter lim="800000"/>
          </a:ln>
          <a:effectLst/>
        </p:spPr>
      </p:pic>
      <p:pic>
        <p:nvPicPr>
          <p:cNvPr id="10" name="Рисунок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10203" y="1924031"/>
            <a:ext cx="3123984" cy="4235819"/>
          </a:xfrm>
          <a:prstGeom prst="rect">
            <a:avLst/>
          </a:prstGeom>
          <a:ln w="38100" cap="sq">
            <a:solidFill>
              <a:srgbClr val="C00000"/>
            </a:solidFill>
            <a:prstDash val="solid"/>
            <a:miter lim="800000"/>
          </a:ln>
          <a:effectLst/>
        </p:spPr>
      </p:pic>
      <p:sp>
        <p:nvSpPr>
          <p:cNvPr id="14" name="TextBox 13"/>
          <p:cNvSpPr txBox="1"/>
          <p:nvPr/>
        </p:nvSpPr>
        <p:spPr>
          <a:xfrm>
            <a:off x="5188112" y="1133227"/>
            <a:ext cx="1968165" cy="483081"/>
          </a:xfrm>
          <a:prstGeom prst="rect">
            <a:avLst/>
          </a:prstGeom>
          <a:noFill/>
        </p:spPr>
        <p:txBody>
          <a:bodyPr wrap="square" rtlCol="0">
            <a:spAutoFit/>
          </a:bodyPr>
          <a:lstStyle/>
          <a:p>
            <a:pPr defTabSz="1219084"/>
            <a:r>
              <a:rPr lang="ru-RU" sz="2539" dirty="0">
                <a:solidFill>
                  <a:prstClr val="black"/>
                </a:solidFill>
                <a:latin typeface="Verdana" panose="020B0604030504040204" pitchFamily="34" charset="0"/>
                <a:ea typeface="Verdana" panose="020B0604030504040204" pitchFamily="34" charset="0"/>
              </a:rPr>
              <a:t>Установка</a:t>
            </a:r>
          </a:p>
        </p:txBody>
      </p:sp>
      <p:pic>
        <p:nvPicPr>
          <p:cNvPr id="12" name="Рисунок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96450" y="1924031"/>
            <a:ext cx="3199444" cy="4286724"/>
          </a:xfrm>
          <a:prstGeom prst="rect">
            <a:avLst/>
          </a:prstGeom>
          <a:ln w="38100" cap="sq">
            <a:solidFill>
              <a:srgbClr val="C00000"/>
            </a:solidFill>
            <a:prstDash val="solid"/>
            <a:miter lim="800000"/>
          </a:ln>
          <a:effectLst/>
        </p:spPr>
      </p:pic>
      <p:sp>
        <p:nvSpPr>
          <p:cNvPr id="11" name="Прямоугольник 10"/>
          <p:cNvSpPr/>
          <p:nvPr/>
        </p:nvSpPr>
        <p:spPr>
          <a:xfrm>
            <a:off x="88009" y="330971"/>
            <a:ext cx="6761787" cy="271485"/>
          </a:xfrm>
          <a:prstGeom prst="rect">
            <a:avLst/>
          </a:prstGeom>
        </p:spPr>
        <p:txBody>
          <a:bodyPr wrap="none">
            <a:spAutoFit/>
          </a:bodyPr>
          <a:lstStyle/>
          <a:p>
            <a:pPr defTabSz="967332">
              <a:spcBef>
                <a:spcPct val="20000"/>
              </a:spcBef>
              <a:defRPr/>
            </a:pPr>
            <a:r>
              <a:rPr lang="ru-RU" sz="1164" dirty="0">
                <a:solidFill>
                  <a:srgbClr val="7F8183"/>
                </a:solidFill>
                <a:latin typeface="Verdana" panose="020B0604030504040204" pitchFamily="34" charset="0"/>
                <a:ea typeface="Verdana" panose="020B0604030504040204" pitchFamily="34" charset="0"/>
              </a:rPr>
              <a:t>Требования по охране труда, предъявляемые при работе со средств </a:t>
            </a:r>
            <a:r>
              <a:rPr lang="ru-RU" sz="1164" dirty="0" err="1">
                <a:solidFill>
                  <a:srgbClr val="7F8183"/>
                </a:solidFill>
                <a:latin typeface="Verdana" panose="020B0604030504040204" pitchFamily="34" charset="0"/>
                <a:ea typeface="Verdana" panose="020B0604030504040204" pitchFamily="34" charset="0"/>
              </a:rPr>
              <a:t>подмащивания</a:t>
            </a:r>
            <a:endParaRPr lang="ru-RU" sz="1164" dirty="0">
              <a:solidFill>
                <a:srgbClr val="7F8183"/>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427612823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Прямая соединительная линия 6"/>
          <p:cNvCxnSpPr/>
          <p:nvPr/>
        </p:nvCxnSpPr>
        <p:spPr>
          <a:xfrm>
            <a:off x="77536" y="305494"/>
            <a:ext cx="11884561"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Номер слайда 2"/>
          <p:cNvSpPr>
            <a:spLocks noGrp="1"/>
          </p:cNvSpPr>
          <p:nvPr>
            <p:ph type="sldNum" sz="quarter" idx="12"/>
          </p:nvPr>
        </p:nvSpPr>
        <p:spPr>
          <a:xfrm>
            <a:off x="9101018" y="305494"/>
            <a:ext cx="2844800" cy="365070"/>
          </a:xfrm>
        </p:spPr>
        <p:txBody>
          <a:bodyPr/>
          <a:lstStyle/>
          <a:p>
            <a:pPr defTabSz="1219084"/>
            <a:fld id="{725C68B6-61C2-468F-89AB-4B9F7531AA68}" type="slidenum">
              <a:rPr lang="ru-RU" sz="1270">
                <a:solidFill>
                  <a:srgbClr val="C00000"/>
                </a:solidFill>
                <a:latin typeface="Calibri"/>
              </a:rPr>
              <a:pPr defTabSz="1219084"/>
              <a:t>19</a:t>
            </a:fld>
            <a:endParaRPr lang="ru-RU" sz="1270" dirty="0">
              <a:solidFill>
                <a:srgbClr val="C00000"/>
              </a:solidFill>
              <a:latin typeface="Calibri"/>
            </a:endParaRPr>
          </a:p>
        </p:txBody>
      </p:sp>
      <p:pic>
        <p:nvPicPr>
          <p:cNvPr id="6" name="Рисунок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33010" y="2046130"/>
            <a:ext cx="2866276" cy="3757031"/>
          </a:xfrm>
          <a:prstGeom prst="rect">
            <a:avLst/>
          </a:prstGeom>
          <a:ln w="38100" cap="sq">
            <a:solidFill>
              <a:srgbClr val="C00000"/>
            </a:solidFill>
            <a:prstDash val="solid"/>
            <a:miter lim="800000"/>
          </a:ln>
          <a:effectLst/>
        </p:spPr>
      </p:pic>
      <p:pic>
        <p:nvPicPr>
          <p:cNvPr id="11" name="Рисунок 10"/>
          <p:cNvPicPr>
            <a:picLocks noChangeAspect="1"/>
          </p:cNvPicPr>
          <p:nvPr/>
        </p:nvPicPr>
        <p:blipFill rotWithShape="1">
          <a:blip r:embed="rId4">
            <a:extLst>
              <a:ext uri="{28A0092B-C50C-407E-A947-70E740481C1C}">
                <a14:useLocalDpi xmlns:a14="http://schemas.microsoft.com/office/drawing/2010/main" val="0"/>
              </a:ext>
            </a:extLst>
          </a:blip>
          <a:srcRect l="19085" r="16237"/>
          <a:stretch/>
        </p:blipFill>
        <p:spPr>
          <a:xfrm>
            <a:off x="4003890" y="2046130"/>
            <a:ext cx="4342277" cy="3757031"/>
          </a:xfrm>
          <a:prstGeom prst="rect">
            <a:avLst/>
          </a:prstGeom>
          <a:ln w="38100" cap="sq">
            <a:solidFill>
              <a:srgbClr val="C00000"/>
            </a:solidFill>
            <a:prstDash val="solid"/>
            <a:miter lim="800000"/>
          </a:ln>
          <a:effectLst/>
        </p:spPr>
      </p:pic>
      <p:pic>
        <p:nvPicPr>
          <p:cNvPr id="12" name="Рисунок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0771" y="2046130"/>
            <a:ext cx="2866276" cy="3806772"/>
          </a:xfrm>
          <a:prstGeom prst="rect">
            <a:avLst/>
          </a:prstGeom>
          <a:ln w="38100" cap="sq">
            <a:solidFill>
              <a:srgbClr val="C00000"/>
            </a:solidFill>
            <a:prstDash val="solid"/>
            <a:miter lim="800000"/>
          </a:ln>
          <a:effectLst/>
        </p:spPr>
      </p:pic>
      <p:sp>
        <p:nvSpPr>
          <p:cNvPr id="15" name="TextBox 14"/>
          <p:cNvSpPr txBox="1"/>
          <p:nvPr/>
        </p:nvSpPr>
        <p:spPr>
          <a:xfrm>
            <a:off x="3210124" y="1082708"/>
            <a:ext cx="5924141" cy="483081"/>
          </a:xfrm>
          <a:prstGeom prst="rect">
            <a:avLst/>
          </a:prstGeom>
          <a:noFill/>
        </p:spPr>
        <p:txBody>
          <a:bodyPr wrap="square" rtlCol="0">
            <a:spAutoFit/>
          </a:bodyPr>
          <a:lstStyle/>
          <a:p>
            <a:pPr defTabSz="1219084"/>
            <a:r>
              <a:rPr lang="ru-RU" sz="2539" dirty="0">
                <a:solidFill>
                  <a:prstClr val="black"/>
                </a:solidFill>
                <a:latin typeface="Verdana" panose="020B0604030504040204" pitchFamily="34" charset="0"/>
                <a:ea typeface="Verdana" panose="020B0604030504040204" pitchFamily="34" charset="0"/>
              </a:rPr>
              <a:t>Подъем и спуск на леса/подмости</a:t>
            </a:r>
          </a:p>
        </p:txBody>
      </p:sp>
      <p:sp>
        <p:nvSpPr>
          <p:cNvPr id="10" name="Прямоугольник 9"/>
          <p:cNvSpPr/>
          <p:nvPr/>
        </p:nvSpPr>
        <p:spPr>
          <a:xfrm>
            <a:off x="88009" y="330971"/>
            <a:ext cx="6761787" cy="271485"/>
          </a:xfrm>
          <a:prstGeom prst="rect">
            <a:avLst/>
          </a:prstGeom>
        </p:spPr>
        <p:txBody>
          <a:bodyPr wrap="none">
            <a:spAutoFit/>
          </a:bodyPr>
          <a:lstStyle/>
          <a:p>
            <a:pPr defTabSz="967332">
              <a:spcBef>
                <a:spcPct val="20000"/>
              </a:spcBef>
              <a:defRPr/>
            </a:pPr>
            <a:r>
              <a:rPr lang="ru-RU" sz="1164" dirty="0">
                <a:solidFill>
                  <a:srgbClr val="7F8183"/>
                </a:solidFill>
                <a:latin typeface="Verdana" panose="020B0604030504040204" pitchFamily="34" charset="0"/>
                <a:ea typeface="Verdana" panose="020B0604030504040204" pitchFamily="34" charset="0"/>
              </a:rPr>
              <a:t>Требования по охране труда, предъявляемые при работе со средств </a:t>
            </a:r>
            <a:r>
              <a:rPr lang="ru-RU" sz="1164" dirty="0" err="1">
                <a:solidFill>
                  <a:srgbClr val="7F8183"/>
                </a:solidFill>
                <a:latin typeface="Verdana" panose="020B0604030504040204" pitchFamily="34" charset="0"/>
                <a:ea typeface="Verdana" panose="020B0604030504040204" pitchFamily="34" charset="0"/>
              </a:rPr>
              <a:t>подмащивания</a:t>
            </a:r>
            <a:endParaRPr lang="ru-RU" sz="1164" dirty="0">
              <a:solidFill>
                <a:srgbClr val="7F8183"/>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34798708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B55A3CF3-1A1E-441B-9FBC-32F21D06A2C9}"/>
              </a:ext>
            </a:extLst>
          </p:cNvPr>
          <p:cNvSpPr txBox="1">
            <a:spLocks/>
          </p:cNvSpPr>
          <p:nvPr/>
        </p:nvSpPr>
        <p:spPr>
          <a:xfrm>
            <a:off x="10146222" y="6319358"/>
            <a:ext cx="1790667" cy="374103"/>
          </a:xfrm>
          <a:prstGeom prst="rect">
            <a:avLst/>
          </a:prstGeom>
        </p:spPr>
        <p:txBody>
          <a:bodyPr/>
          <a:lstStyle>
            <a:lvl1pPr marL="0" indent="0" algn="r" defTabSz="914400" rtl="0" eaLnBrk="1" latinLnBrk="0" hangingPunct="1">
              <a:spcBef>
                <a:spcPct val="20000"/>
              </a:spcBef>
              <a:buFontTx/>
              <a:buNone/>
              <a:defRPr sz="800" b="0" i="0" kern="120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67527">
              <a:defRPr/>
            </a:pPr>
            <a:r>
              <a:rPr lang="ru-RU" sz="846" dirty="0"/>
              <a:t>День безопасности труда с подрядными организациями</a:t>
            </a:r>
          </a:p>
        </p:txBody>
      </p:sp>
      <p:sp>
        <p:nvSpPr>
          <p:cNvPr id="7" name="Текст 8">
            <a:extLst>
              <a:ext uri="{FF2B5EF4-FFF2-40B4-BE49-F238E27FC236}">
                <a16:creationId xmlns:a16="http://schemas.microsoft.com/office/drawing/2014/main" id="{A1584F74-92CE-481B-9F91-C1014731D164}"/>
              </a:ext>
            </a:extLst>
          </p:cNvPr>
          <p:cNvSpPr>
            <a:spLocks noGrp="1"/>
          </p:cNvSpPr>
          <p:nvPr>
            <p:ph type="body" sz="quarter" idx="11"/>
          </p:nvPr>
        </p:nvSpPr>
        <p:spPr>
          <a:xfrm>
            <a:off x="2362458" y="2667053"/>
            <a:ext cx="11495654" cy="914509"/>
          </a:xfrm>
        </p:spPr>
        <p:txBody>
          <a:bodyPr>
            <a:normAutofit/>
          </a:bodyPr>
          <a:lstStyle/>
          <a:p>
            <a:r>
              <a:rPr lang="ru-RU" b="1" dirty="0">
                <a:solidFill>
                  <a:srgbClr val="C00000"/>
                </a:solidFill>
              </a:rPr>
              <a:t>Контакт по безопасности</a:t>
            </a:r>
          </a:p>
        </p:txBody>
      </p:sp>
      <p:pic>
        <p:nvPicPr>
          <p:cNvPr id="4" name="Рисунок 3" descr="image001.jpg"/>
          <p:cNvPicPr>
            <a:picLocks noChangeAspect="1"/>
          </p:cNvPicPr>
          <p:nvPr/>
        </p:nvPicPr>
        <p:blipFill>
          <a:blip r:embed="rId3" cstate="print"/>
          <a:stretch>
            <a:fillRect/>
          </a:stretch>
        </p:blipFill>
        <p:spPr>
          <a:xfrm>
            <a:off x="762368" y="5257674"/>
            <a:ext cx="3265534" cy="1239694"/>
          </a:xfrm>
          <a:prstGeom prst="rect">
            <a:avLst/>
          </a:prstGeom>
        </p:spPr>
      </p:pic>
      <p:pic>
        <p:nvPicPr>
          <p:cNvPr id="5" name="Рисунок 4" descr="unnamed (2).jpg"/>
          <p:cNvPicPr>
            <a:picLocks noChangeAspect="1"/>
          </p:cNvPicPr>
          <p:nvPr/>
        </p:nvPicPr>
        <p:blipFill>
          <a:blip r:embed="rId4" cstate="print">
            <a:grayscl/>
          </a:blip>
          <a:stretch>
            <a:fillRect/>
          </a:stretch>
        </p:blipFill>
        <p:spPr>
          <a:xfrm>
            <a:off x="1170092" y="1981300"/>
            <a:ext cx="1219116" cy="2065596"/>
          </a:xfrm>
          <a:prstGeom prst="rect">
            <a:avLst/>
          </a:prstGeom>
        </p:spPr>
      </p:pic>
    </p:spTree>
    <p:extLst>
      <p:ext uri="{BB962C8B-B14F-4D97-AF65-F5344CB8AC3E}">
        <p14:creationId xmlns:p14="http://schemas.microsoft.com/office/powerpoint/2010/main" val="1413118579"/>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p:cNvPicPr>
            <a:picLocks noChangeAspect="1"/>
          </p:cNvPicPr>
          <p:nvPr/>
        </p:nvPicPr>
        <p:blipFill rotWithShape="1">
          <a:blip r:embed="rId3">
            <a:extLst>
              <a:ext uri="{28A0092B-C50C-407E-A947-70E740481C1C}">
                <a14:useLocalDpi xmlns:a14="http://schemas.microsoft.com/office/drawing/2010/main" val="0"/>
              </a:ext>
            </a:extLst>
          </a:blip>
          <a:srcRect l="16753" r="13842"/>
          <a:stretch/>
        </p:blipFill>
        <p:spPr>
          <a:xfrm>
            <a:off x="305200" y="991979"/>
            <a:ext cx="3807883" cy="5486462"/>
          </a:xfrm>
          <a:prstGeom prst="rect">
            <a:avLst/>
          </a:prstGeom>
          <a:scene3d>
            <a:camera prst="orthographicFront">
              <a:rot lat="0" lon="0" rev="0"/>
            </a:camera>
            <a:lightRig rig="threePt" dir="t"/>
          </a:scene3d>
        </p:spPr>
      </p:pic>
      <p:sp>
        <p:nvSpPr>
          <p:cNvPr id="28" name="Text Placeholder 4">
            <a:extLst>
              <a:ext uri="{FF2B5EF4-FFF2-40B4-BE49-F238E27FC236}">
                <a16:creationId xmlns:a16="http://schemas.microsoft.com/office/drawing/2014/main" id="{24B4FDA7-8FDE-4DF7-9010-6D2BDE719FA3}"/>
              </a:ext>
            </a:extLst>
          </p:cNvPr>
          <p:cNvSpPr txBox="1">
            <a:spLocks/>
          </p:cNvSpPr>
          <p:nvPr/>
        </p:nvSpPr>
        <p:spPr>
          <a:xfrm>
            <a:off x="10145603" y="6318916"/>
            <a:ext cx="1790393" cy="374046"/>
          </a:xfrm>
          <a:prstGeom prst="rect">
            <a:avLst/>
          </a:prstGeom>
        </p:spPr>
        <p:txBody>
          <a:bodyPr/>
          <a:lstStyle>
            <a:lvl1pPr marL="0" indent="0" algn="r" defTabSz="914400" rtl="0" eaLnBrk="1" latinLnBrk="0" hangingPunct="1">
              <a:spcBef>
                <a:spcPct val="20000"/>
              </a:spcBef>
              <a:buFontTx/>
              <a:buNone/>
              <a:defRPr sz="800" b="0" i="0" kern="120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67332">
              <a:defRPr/>
            </a:pPr>
            <a:r>
              <a:rPr lang="ru-RU" sz="845" dirty="0"/>
              <a:t>День безопасности труда с подрядными организациями</a:t>
            </a:r>
          </a:p>
        </p:txBody>
      </p:sp>
      <p:sp>
        <p:nvSpPr>
          <p:cNvPr id="14" name="Текст 11">
            <a:extLst>
              <a:ext uri="{FF2B5EF4-FFF2-40B4-BE49-F238E27FC236}">
                <a16:creationId xmlns:a16="http://schemas.microsoft.com/office/drawing/2014/main" id="{139E9BE7-890A-4097-8CE4-8D80690658B7}"/>
              </a:ext>
            </a:extLst>
          </p:cNvPr>
          <p:cNvSpPr txBox="1">
            <a:spLocks/>
          </p:cNvSpPr>
          <p:nvPr/>
        </p:nvSpPr>
        <p:spPr>
          <a:xfrm>
            <a:off x="158297" y="440641"/>
            <a:ext cx="1442902" cy="288037"/>
          </a:xfrm>
          <a:prstGeom prst="rect">
            <a:avLst/>
          </a:prstGeom>
        </p:spPr>
        <p:txBody>
          <a:bodyPr/>
          <a:lstStyle>
            <a:lvl1pPr marL="0" indent="0" algn="l" defTabSz="914400" rtl="0" eaLnBrk="1" latinLnBrk="0" hangingPunct="1">
              <a:spcBef>
                <a:spcPct val="20000"/>
              </a:spcBef>
              <a:buFontTx/>
              <a:buNone/>
              <a:defRPr sz="1100" b="0" i="0" kern="1200">
                <a:solidFill>
                  <a:srgbClr val="7F8183"/>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67332">
              <a:defRPr/>
            </a:pPr>
            <a:endParaRPr lang="ru-RU" sz="1164" dirty="0"/>
          </a:p>
        </p:txBody>
      </p:sp>
      <p:sp>
        <p:nvSpPr>
          <p:cNvPr id="7" name="TextBox 6">
            <a:extLst>
              <a:ext uri="{FF2B5EF4-FFF2-40B4-BE49-F238E27FC236}">
                <a16:creationId xmlns:a16="http://schemas.microsoft.com/office/drawing/2014/main" id="{7FD2CE89-D6E1-4257-A8FC-A5B7ECB784C4}"/>
              </a:ext>
            </a:extLst>
          </p:cNvPr>
          <p:cNvSpPr txBox="1"/>
          <p:nvPr/>
        </p:nvSpPr>
        <p:spPr>
          <a:xfrm>
            <a:off x="4047226" y="734767"/>
            <a:ext cx="3883397" cy="385490"/>
          </a:xfrm>
          <a:prstGeom prst="rect">
            <a:avLst/>
          </a:prstGeom>
          <a:noFill/>
        </p:spPr>
        <p:txBody>
          <a:bodyPr wrap="square" rtlCol="0">
            <a:spAutoFit/>
          </a:bodyPr>
          <a:lstStyle/>
          <a:p>
            <a:pPr defTabSz="1218838">
              <a:defRPr/>
            </a:pPr>
            <a:r>
              <a:rPr lang="ru-RU" sz="1905" b="1" dirty="0">
                <a:solidFill>
                  <a:srgbClr val="C00000"/>
                </a:solidFill>
                <a:latin typeface="Calibri"/>
              </a:rPr>
              <a:t>Форма информационной бирки…</a:t>
            </a:r>
          </a:p>
        </p:txBody>
      </p:sp>
      <p:pic>
        <p:nvPicPr>
          <p:cNvPr id="12" name="Рисунок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45038" y="630977"/>
            <a:ext cx="352848" cy="458704"/>
          </a:xfrm>
          <a:prstGeom prst="rect">
            <a:avLst/>
          </a:prstGeom>
        </p:spPr>
      </p:pic>
      <p:sp>
        <p:nvSpPr>
          <p:cNvPr id="2" name="Прямоугольник 1"/>
          <p:cNvSpPr/>
          <p:nvPr/>
        </p:nvSpPr>
        <p:spPr>
          <a:xfrm>
            <a:off x="217749" y="395042"/>
            <a:ext cx="2614818" cy="271485"/>
          </a:xfrm>
          <a:prstGeom prst="rect">
            <a:avLst/>
          </a:prstGeom>
        </p:spPr>
        <p:txBody>
          <a:bodyPr wrap="none">
            <a:spAutoFit/>
          </a:bodyPr>
          <a:lstStyle/>
          <a:p>
            <a:pPr defTabSz="967332">
              <a:spcBef>
                <a:spcPct val="20000"/>
              </a:spcBef>
              <a:defRPr/>
            </a:pPr>
            <a:r>
              <a:rPr lang="ru-RU" sz="1164" dirty="0">
                <a:solidFill>
                  <a:srgbClr val="7F8183"/>
                </a:solidFill>
                <a:latin typeface="Verdana" panose="020B0604030504040204" pitchFamily="34" charset="0"/>
                <a:ea typeface="Verdana" panose="020B0604030504040204" pitchFamily="34" charset="0"/>
              </a:rPr>
              <a:t>Строительные леса и подмости</a:t>
            </a:r>
          </a:p>
        </p:txBody>
      </p:sp>
      <p:sp>
        <p:nvSpPr>
          <p:cNvPr id="5" name="Овал 4"/>
          <p:cNvSpPr/>
          <p:nvPr/>
        </p:nvSpPr>
        <p:spPr>
          <a:xfrm>
            <a:off x="1437204" y="3444297"/>
            <a:ext cx="1092822" cy="1136713"/>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84"/>
            <a:endParaRPr lang="ru-RU" sz="2434">
              <a:solidFill>
                <a:prstClr val="white"/>
              </a:solidFill>
              <a:latin typeface="Calibri"/>
            </a:endParaRPr>
          </a:p>
        </p:txBody>
      </p:sp>
      <p:pic>
        <p:nvPicPr>
          <p:cNvPr id="13" name="Рисунок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01199" y="3749077"/>
            <a:ext cx="764832" cy="527155"/>
          </a:xfrm>
          <a:prstGeom prst="rect">
            <a:avLst/>
          </a:prstGeom>
          <a:scene3d>
            <a:camera prst="orthographicFront">
              <a:rot lat="448895" lon="20176295" rev="20465053"/>
            </a:camera>
            <a:lightRig rig="threePt" dir="t"/>
          </a:scene3d>
        </p:spPr>
      </p:pic>
      <p:pic>
        <p:nvPicPr>
          <p:cNvPr id="3" name="Рисунок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77078" y="1545468"/>
            <a:ext cx="3423693" cy="4656438"/>
          </a:xfrm>
          <a:prstGeom prst="rect">
            <a:avLst/>
          </a:prstGeom>
        </p:spPr>
      </p:pic>
      <p:pic>
        <p:nvPicPr>
          <p:cNvPr id="6" name="Рисунок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00869" y="1514161"/>
            <a:ext cx="3457549" cy="4687744"/>
          </a:xfrm>
          <a:prstGeom prst="rect">
            <a:avLst/>
          </a:prstGeom>
        </p:spPr>
      </p:pic>
    </p:spTree>
    <p:extLst>
      <p:ext uri="{BB962C8B-B14F-4D97-AF65-F5344CB8AC3E}">
        <p14:creationId xmlns:p14="http://schemas.microsoft.com/office/powerpoint/2010/main" val="309735236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B55A3CF3-1A1E-441B-9FBC-32F21D06A2C9}"/>
              </a:ext>
            </a:extLst>
          </p:cNvPr>
          <p:cNvSpPr txBox="1">
            <a:spLocks/>
          </p:cNvSpPr>
          <p:nvPr/>
        </p:nvSpPr>
        <p:spPr>
          <a:xfrm>
            <a:off x="10145603" y="6318916"/>
            <a:ext cx="1790393" cy="374046"/>
          </a:xfrm>
          <a:prstGeom prst="rect">
            <a:avLst/>
          </a:prstGeom>
        </p:spPr>
        <p:txBody>
          <a:bodyPr/>
          <a:lstStyle>
            <a:lvl1pPr marL="0" indent="0" algn="r" defTabSz="914400" rtl="0" eaLnBrk="1" latinLnBrk="0" hangingPunct="1">
              <a:spcBef>
                <a:spcPct val="20000"/>
              </a:spcBef>
              <a:buFontTx/>
              <a:buNone/>
              <a:defRPr sz="800" b="0" i="0" kern="120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67527">
              <a:defRPr/>
            </a:pPr>
            <a:r>
              <a:rPr lang="ru-RU" sz="845" dirty="0"/>
              <a:t>День безопасности труда с подрядными организациями</a:t>
            </a:r>
          </a:p>
        </p:txBody>
      </p:sp>
      <p:sp>
        <p:nvSpPr>
          <p:cNvPr id="7" name="Текст 8">
            <a:extLst>
              <a:ext uri="{FF2B5EF4-FFF2-40B4-BE49-F238E27FC236}">
                <a16:creationId xmlns:a16="http://schemas.microsoft.com/office/drawing/2014/main" id="{A1584F74-92CE-481B-9F91-C1014731D164}"/>
              </a:ext>
            </a:extLst>
          </p:cNvPr>
          <p:cNvSpPr>
            <a:spLocks noGrp="1"/>
          </p:cNvSpPr>
          <p:nvPr>
            <p:ph type="body" sz="quarter" idx="11"/>
          </p:nvPr>
        </p:nvSpPr>
        <p:spPr>
          <a:xfrm>
            <a:off x="3657768" y="2819442"/>
            <a:ext cx="10808247" cy="914369"/>
          </a:xfrm>
        </p:spPr>
        <p:txBody>
          <a:bodyPr>
            <a:normAutofit/>
          </a:bodyPr>
          <a:lstStyle/>
          <a:p>
            <a:r>
              <a:rPr lang="ru-RU" b="1" dirty="0" smtClean="0">
                <a:solidFill>
                  <a:srgbClr val="C00000"/>
                </a:solidFill>
              </a:rPr>
              <a:t>«Профиль Аутсайдера»</a:t>
            </a:r>
            <a:endParaRPr lang="ru-RU" b="1" dirty="0">
              <a:solidFill>
                <a:srgbClr val="C00000"/>
              </a:solidFill>
            </a:endParaRPr>
          </a:p>
        </p:txBody>
      </p:sp>
      <p:sp>
        <p:nvSpPr>
          <p:cNvPr id="5" name="Текст 6">
            <a:extLst>
              <a:ext uri="{FF2B5EF4-FFF2-40B4-BE49-F238E27FC236}">
                <a16:creationId xmlns:a16="http://schemas.microsoft.com/office/drawing/2014/main" id="{8E6B8E05-B925-406A-B527-E6B8316ACA98}"/>
              </a:ext>
            </a:extLst>
          </p:cNvPr>
          <p:cNvSpPr txBox="1">
            <a:spLocks/>
          </p:cNvSpPr>
          <p:nvPr/>
        </p:nvSpPr>
        <p:spPr>
          <a:xfrm>
            <a:off x="295484" y="394129"/>
            <a:ext cx="2590254" cy="288081"/>
          </a:xfrm>
          <a:prstGeom prst="rect">
            <a:avLst/>
          </a:prstGeom>
        </p:spPr>
        <p:txBody>
          <a:bodyPr vert="horz" lIns="121913" tIns="60956" rIns="121913" bIns="60956" rtlCol="0">
            <a:normAutofit lnSpcReduction="10000"/>
          </a:bodyPr>
          <a:lstStyle>
            <a:lvl1pPr marL="0" indent="0" algn="l" defTabSz="1152144" rtl="0" eaLnBrk="1" latinLnBrk="0" hangingPunct="1">
              <a:spcBef>
                <a:spcPct val="20000"/>
              </a:spcBef>
              <a:buFontTx/>
              <a:buNone/>
              <a:defRPr sz="1100" b="0" i="0" kern="1200">
                <a:solidFill>
                  <a:srgbClr val="7F8183"/>
                </a:solidFill>
                <a:latin typeface="Verdana" panose="020B0604030504040204" pitchFamily="34" charset="0"/>
                <a:ea typeface="Verdana" panose="020B0604030504040204" pitchFamily="34" charset="0"/>
                <a:cs typeface="Verdana" panose="020B0604030504040204" pitchFamily="34" charset="0"/>
              </a:defRPr>
            </a:lvl1pPr>
            <a:lvl2pPr marL="936117" indent="-360045" algn="l" defTabSz="1152144" rtl="0" eaLnBrk="1" latinLnBrk="0" hangingPunct="1">
              <a:spcBef>
                <a:spcPct val="20000"/>
              </a:spcBef>
              <a:buFont typeface="Arial" pitchFamily="34" charset="0"/>
              <a:buChar char="–"/>
              <a:defRPr sz="3500" kern="1200">
                <a:solidFill>
                  <a:schemeClr val="tx1"/>
                </a:solidFill>
                <a:latin typeface="+mn-lt"/>
                <a:ea typeface="+mn-ea"/>
                <a:cs typeface="+mn-cs"/>
              </a:defRPr>
            </a:lvl2pPr>
            <a:lvl3pPr marL="1440180" indent="-288036" algn="l" defTabSz="1152144" rtl="0" eaLnBrk="1" latinLnBrk="0" hangingPunct="1">
              <a:spcBef>
                <a:spcPct val="20000"/>
              </a:spcBef>
              <a:buFont typeface="Arial" pitchFamily="34" charset="0"/>
              <a:buChar char="•"/>
              <a:defRPr sz="3000" kern="1200">
                <a:solidFill>
                  <a:schemeClr val="tx1"/>
                </a:solidFill>
                <a:latin typeface="+mn-lt"/>
                <a:ea typeface="+mn-ea"/>
                <a:cs typeface="+mn-cs"/>
              </a:defRPr>
            </a:lvl3pPr>
            <a:lvl4pPr marL="201625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4pPr>
            <a:lvl5pPr marL="2592324"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5pPr>
            <a:lvl6pPr marL="3168396"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744468"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320540"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89661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defTabSz="1219084">
              <a:defRPr/>
            </a:pPr>
            <a:r>
              <a:rPr lang="ru-RU" sz="1164" dirty="0"/>
              <a:t>Профиль Аутсайдера</a:t>
            </a:r>
          </a:p>
        </p:txBody>
      </p:sp>
      <p:pic>
        <p:nvPicPr>
          <p:cNvPr id="3" name="Рисунок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4758" y="2129880"/>
            <a:ext cx="2400102" cy="1756289"/>
          </a:xfrm>
          <a:prstGeom prst="rect">
            <a:avLst/>
          </a:prstGeom>
        </p:spPr>
      </p:pic>
    </p:spTree>
    <p:extLst>
      <p:ext uri="{BB962C8B-B14F-4D97-AF65-F5344CB8AC3E}">
        <p14:creationId xmlns:p14="http://schemas.microsoft.com/office/powerpoint/2010/main" val="1357621836"/>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9F6A5ECB-6564-4A74-8F21-DDFC18BF4629}"/>
              </a:ext>
            </a:extLst>
          </p:cNvPr>
          <p:cNvGraphicFramePr>
            <a:graphicFrameLocks noChangeAspect="1"/>
          </p:cNvGraphicFramePr>
          <p:nvPr>
            <p:custDataLst>
              <p:tags r:id="rId2"/>
            </p:custDataLst>
            <p:extLst/>
          </p:nvPr>
        </p:nvGraphicFramePr>
        <p:xfrm>
          <a:off x="2615" y="2731"/>
          <a:ext cx="1679" cy="1679"/>
        </p:xfrm>
        <a:graphic>
          <a:graphicData uri="http://schemas.openxmlformats.org/presentationml/2006/ole">
            <mc:AlternateContent xmlns:mc="http://schemas.openxmlformats.org/markup-compatibility/2006">
              <mc:Choice xmlns:v="urn:schemas-microsoft-com:vml" Requires="v">
                <p:oleObj spid="_x0000_s7189" name="Слайд think-cell" r:id="rId6" imgW="270" imgH="270" progId="TCLayout.ActiveDocument.1">
                  <p:embed/>
                </p:oleObj>
              </mc:Choice>
              <mc:Fallback>
                <p:oleObj name="Слайд think-cell" r:id="rId6" imgW="270" imgH="270" progId="TCLayout.ActiveDocument.1">
                  <p:embed/>
                  <p:pic>
                    <p:nvPicPr>
                      <p:cNvPr id="2" name="Объект 1" hidden="1">
                        <a:extLst>
                          <a:ext uri="{FF2B5EF4-FFF2-40B4-BE49-F238E27FC236}">
                            <a16:creationId xmlns:a16="http://schemas.microsoft.com/office/drawing/2014/main" id="{9F6A5ECB-6564-4A74-8F21-DDFC18BF4629}"/>
                          </a:ext>
                        </a:extLst>
                      </p:cNvPr>
                      <p:cNvPicPr/>
                      <p:nvPr/>
                    </p:nvPicPr>
                    <p:blipFill>
                      <a:blip r:embed="rId7"/>
                      <a:stretch>
                        <a:fillRect/>
                      </a:stretch>
                    </p:blipFill>
                    <p:spPr>
                      <a:xfrm>
                        <a:off x="2615" y="2731"/>
                        <a:ext cx="1679" cy="1679"/>
                      </a:xfrm>
                      <a:prstGeom prst="rect">
                        <a:avLst/>
                      </a:prstGeom>
                    </p:spPr>
                  </p:pic>
                </p:oleObj>
              </mc:Fallback>
            </mc:AlternateContent>
          </a:graphicData>
        </a:graphic>
      </p:graphicFrame>
      <p:sp>
        <p:nvSpPr>
          <p:cNvPr id="3" name="Прямоугольник 2" hidden="1">
            <a:extLst>
              <a:ext uri="{FF2B5EF4-FFF2-40B4-BE49-F238E27FC236}">
                <a16:creationId xmlns:a16="http://schemas.microsoft.com/office/drawing/2014/main" id="{10680F9D-A981-4133-93A3-D60528F412AC}"/>
              </a:ext>
            </a:extLst>
          </p:cNvPr>
          <p:cNvSpPr/>
          <p:nvPr>
            <p:custDataLst>
              <p:tags r:id="rId3"/>
            </p:custDataLst>
          </p:nvPr>
        </p:nvSpPr>
        <p:spPr>
          <a:xfrm>
            <a:off x="934" y="1050"/>
            <a:ext cx="167955" cy="16795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967332">
              <a:defRPr/>
            </a:pPr>
            <a:endParaRPr lang="en-US" sz="1270" dirty="0" err="1">
              <a:solidFill>
                <a:srgbClr val="424242"/>
              </a:solidFill>
              <a:latin typeface="Verdana" panose="020B0604030504040204" pitchFamily="34" charset="0"/>
              <a:sym typeface="Verdana" panose="020B0604030504040204" pitchFamily="34" charset="0"/>
            </a:endParaRPr>
          </a:p>
        </p:txBody>
      </p:sp>
      <p:sp>
        <p:nvSpPr>
          <p:cNvPr id="128" name="Текст 4">
            <a:extLst>
              <a:ext uri="{FF2B5EF4-FFF2-40B4-BE49-F238E27FC236}">
                <a16:creationId xmlns:a16="http://schemas.microsoft.com/office/drawing/2014/main" id="{4B580ABA-5942-45EC-A26A-57B5CB481C87}"/>
              </a:ext>
            </a:extLst>
          </p:cNvPr>
          <p:cNvSpPr txBox="1">
            <a:spLocks/>
          </p:cNvSpPr>
          <p:nvPr/>
        </p:nvSpPr>
        <p:spPr>
          <a:xfrm>
            <a:off x="10136174" y="6318916"/>
            <a:ext cx="1790393" cy="374046"/>
          </a:xfrm>
          <a:prstGeom prst="rect">
            <a:avLst/>
          </a:prstGeom>
        </p:spPr>
        <p:txBody>
          <a:bodyPr/>
          <a:lstStyle>
            <a:lvl1pPr marL="0" indent="0" algn="r" defTabSz="914400" rtl="0" eaLnBrk="1" latinLnBrk="0" hangingPunct="1">
              <a:spcBef>
                <a:spcPct val="20000"/>
              </a:spcBef>
              <a:buFontTx/>
              <a:buNone/>
              <a:defRPr sz="800" b="0" i="0" kern="120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67332">
              <a:defRPr/>
            </a:pPr>
            <a:r>
              <a:rPr lang="ru-RU" sz="845" dirty="0"/>
              <a:t>День безопасности ПО</a:t>
            </a:r>
          </a:p>
        </p:txBody>
      </p:sp>
      <p:sp>
        <p:nvSpPr>
          <p:cNvPr id="218" name="TextBox 217">
            <a:extLst>
              <a:ext uri="{FF2B5EF4-FFF2-40B4-BE49-F238E27FC236}">
                <a16:creationId xmlns:a16="http://schemas.microsoft.com/office/drawing/2014/main" id="{698AAB2B-F8E5-4C9E-92A4-DBD424AEA757}"/>
              </a:ext>
            </a:extLst>
          </p:cNvPr>
          <p:cNvSpPr txBox="1"/>
          <p:nvPr/>
        </p:nvSpPr>
        <p:spPr>
          <a:xfrm>
            <a:off x="333021" y="502527"/>
            <a:ext cx="11513438" cy="352854"/>
          </a:xfrm>
          <a:prstGeom prst="rect">
            <a:avLst/>
          </a:prstGeom>
          <a:noFill/>
        </p:spPr>
        <p:txBody>
          <a:bodyPr wrap="square" rtlCol="0">
            <a:spAutoFit/>
          </a:bodyPr>
          <a:lstStyle/>
          <a:p>
            <a:pPr algn="ctr" defTabSz="967332">
              <a:defRPr/>
            </a:pPr>
            <a:r>
              <a:rPr lang="ru-RU" sz="1693" b="1" dirty="0">
                <a:solidFill>
                  <a:srgbClr val="424242"/>
                </a:solidFill>
                <a:latin typeface="Verdana" panose="020B0604030504040204"/>
              </a:rPr>
              <a:t>Расчёт коэффициента безопасности работ </a:t>
            </a:r>
            <a:r>
              <a:rPr lang="ru-RU" sz="1693" b="1" dirty="0">
                <a:solidFill>
                  <a:srgbClr val="C00000"/>
                </a:solidFill>
                <a:latin typeface="Verdana" panose="020B0604030504040204"/>
              </a:rPr>
              <a:t>подрядных организаций </a:t>
            </a:r>
          </a:p>
        </p:txBody>
      </p:sp>
      <p:sp>
        <p:nvSpPr>
          <p:cNvPr id="699" name="TextBox 698"/>
          <p:cNvSpPr txBox="1"/>
          <p:nvPr/>
        </p:nvSpPr>
        <p:spPr>
          <a:xfrm>
            <a:off x="399813" y="876471"/>
            <a:ext cx="11446643" cy="287771"/>
          </a:xfrm>
          <a:prstGeom prst="rect">
            <a:avLst/>
          </a:prstGeom>
          <a:noFill/>
        </p:spPr>
        <p:txBody>
          <a:bodyPr wrap="square" rtlCol="0">
            <a:spAutoFit/>
          </a:bodyPr>
          <a:lstStyle/>
          <a:p>
            <a:pPr algn="ctr" defTabSz="967332">
              <a:defRPr/>
            </a:pPr>
            <a:r>
              <a:rPr lang="ru-RU" sz="1270" b="1" dirty="0">
                <a:solidFill>
                  <a:srgbClr val="424242"/>
                </a:solidFill>
                <a:latin typeface="Verdana" panose="020B0604030504040204"/>
              </a:rPr>
              <a:t>Аутсайдеры из числа подрядных организаций за отчётный период на 01.04.2022г.  </a:t>
            </a:r>
          </a:p>
        </p:txBody>
      </p:sp>
      <p:sp>
        <p:nvSpPr>
          <p:cNvPr id="41" name="Прямоугольник 40"/>
          <p:cNvSpPr/>
          <p:nvPr/>
        </p:nvSpPr>
        <p:spPr>
          <a:xfrm>
            <a:off x="351883" y="851839"/>
            <a:ext cx="11494573" cy="382301"/>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67332">
              <a:defRPr/>
            </a:pPr>
            <a:endParaRPr lang="ru-RU" sz="1480" dirty="0" err="1">
              <a:solidFill>
                <a:srgbClr val="424242"/>
              </a:solidFill>
              <a:latin typeface="Arial" charset="0"/>
              <a:ea typeface="Arial" charset="0"/>
              <a:cs typeface="Arial" charset="0"/>
            </a:endParaRPr>
          </a:p>
        </p:txBody>
      </p:sp>
      <p:sp>
        <p:nvSpPr>
          <p:cNvPr id="5" name="Текст 4"/>
          <p:cNvSpPr>
            <a:spLocks noGrp="1"/>
          </p:cNvSpPr>
          <p:nvPr>
            <p:ph type="body" sz="quarter" idx="14"/>
          </p:nvPr>
        </p:nvSpPr>
        <p:spPr/>
        <p:txBody>
          <a:bodyPr/>
          <a:lstStyle/>
          <a:p>
            <a:r>
              <a:rPr lang="ru-RU" dirty="0" smtClean="0"/>
              <a:t>Профиль ПО</a:t>
            </a:r>
            <a:endParaRPr lang="ru-RU" dirty="0"/>
          </a:p>
        </p:txBody>
      </p:sp>
      <p:graphicFrame>
        <p:nvGraphicFramePr>
          <p:cNvPr id="16" name="Таблица 15"/>
          <p:cNvGraphicFramePr>
            <a:graphicFrameLocks noGrp="1"/>
          </p:cNvGraphicFramePr>
          <p:nvPr>
            <p:extLst>
              <p:ext uri="{D42A27DB-BD31-4B8C-83A1-F6EECF244321}">
                <p14:modId xmlns:p14="http://schemas.microsoft.com/office/powerpoint/2010/main" val="1596296831"/>
              </p:ext>
            </p:extLst>
          </p:nvPr>
        </p:nvGraphicFramePr>
        <p:xfrm>
          <a:off x="363464" y="1251222"/>
          <a:ext cx="11482992" cy="1970421"/>
        </p:xfrm>
        <a:graphic>
          <a:graphicData uri="http://schemas.openxmlformats.org/drawingml/2006/table">
            <a:tbl>
              <a:tblPr>
                <a:tableStyleId>{5C22544A-7EE6-4342-B048-85BDC9FD1C3A}</a:tableStyleId>
              </a:tblPr>
              <a:tblGrid>
                <a:gridCol w="1729402">
                  <a:extLst>
                    <a:ext uri="{9D8B030D-6E8A-4147-A177-3AD203B41FA5}">
                      <a16:colId xmlns:a16="http://schemas.microsoft.com/office/drawing/2014/main" val="3401856632"/>
                    </a:ext>
                  </a:extLst>
                </a:gridCol>
                <a:gridCol w="936760">
                  <a:extLst>
                    <a:ext uri="{9D8B030D-6E8A-4147-A177-3AD203B41FA5}">
                      <a16:colId xmlns:a16="http://schemas.microsoft.com/office/drawing/2014/main" val="1132004719"/>
                    </a:ext>
                  </a:extLst>
                </a:gridCol>
                <a:gridCol w="855694">
                  <a:extLst>
                    <a:ext uri="{9D8B030D-6E8A-4147-A177-3AD203B41FA5}">
                      <a16:colId xmlns:a16="http://schemas.microsoft.com/office/drawing/2014/main" val="4259075254"/>
                    </a:ext>
                  </a:extLst>
                </a:gridCol>
                <a:gridCol w="891724">
                  <a:extLst>
                    <a:ext uri="{9D8B030D-6E8A-4147-A177-3AD203B41FA5}">
                      <a16:colId xmlns:a16="http://schemas.microsoft.com/office/drawing/2014/main" val="2503439605"/>
                    </a:ext>
                  </a:extLst>
                </a:gridCol>
                <a:gridCol w="855694">
                  <a:extLst>
                    <a:ext uri="{9D8B030D-6E8A-4147-A177-3AD203B41FA5}">
                      <a16:colId xmlns:a16="http://schemas.microsoft.com/office/drawing/2014/main" val="4049606556"/>
                    </a:ext>
                  </a:extLst>
                </a:gridCol>
                <a:gridCol w="888721">
                  <a:extLst>
                    <a:ext uri="{9D8B030D-6E8A-4147-A177-3AD203B41FA5}">
                      <a16:colId xmlns:a16="http://schemas.microsoft.com/office/drawing/2014/main" val="771481054"/>
                    </a:ext>
                  </a:extLst>
                </a:gridCol>
                <a:gridCol w="816662">
                  <a:extLst>
                    <a:ext uri="{9D8B030D-6E8A-4147-A177-3AD203B41FA5}">
                      <a16:colId xmlns:a16="http://schemas.microsoft.com/office/drawing/2014/main" val="284712370"/>
                    </a:ext>
                  </a:extLst>
                </a:gridCol>
                <a:gridCol w="816662">
                  <a:extLst>
                    <a:ext uri="{9D8B030D-6E8A-4147-A177-3AD203B41FA5}">
                      <a16:colId xmlns:a16="http://schemas.microsoft.com/office/drawing/2014/main" val="329447804"/>
                    </a:ext>
                  </a:extLst>
                </a:gridCol>
                <a:gridCol w="756614">
                  <a:extLst>
                    <a:ext uri="{9D8B030D-6E8A-4147-A177-3AD203B41FA5}">
                      <a16:colId xmlns:a16="http://schemas.microsoft.com/office/drawing/2014/main" val="2879980065"/>
                    </a:ext>
                  </a:extLst>
                </a:gridCol>
                <a:gridCol w="576468">
                  <a:extLst>
                    <a:ext uri="{9D8B030D-6E8A-4147-A177-3AD203B41FA5}">
                      <a16:colId xmlns:a16="http://schemas.microsoft.com/office/drawing/2014/main" val="2126495456"/>
                    </a:ext>
                  </a:extLst>
                </a:gridCol>
                <a:gridCol w="576468">
                  <a:extLst>
                    <a:ext uri="{9D8B030D-6E8A-4147-A177-3AD203B41FA5}">
                      <a16:colId xmlns:a16="http://schemas.microsoft.com/office/drawing/2014/main" val="3294688723"/>
                    </a:ext>
                  </a:extLst>
                </a:gridCol>
                <a:gridCol w="576468">
                  <a:extLst>
                    <a:ext uri="{9D8B030D-6E8A-4147-A177-3AD203B41FA5}">
                      <a16:colId xmlns:a16="http://schemas.microsoft.com/office/drawing/2014/main" val="3658246060"/>
                    </a:ext>
                  </a:extLst>
                </a:gridCol>
                <a:gridCol w="576468">
                  <a:extLst>
                    <a:ext uri="{9D8B030D-6E8A-4147-A177-3AD203B41FA5}">
                      <a16:colId xmlns:a16="http://schemas.microsoft.com/office/drawing/2014/main" val="3509234718"/>
                    </a:ext>
                  </a:extLst>
                </a:gridCol>
                <a:gridCol w="629187">
                  <a:extLst>
                    <a:ext uri="{9D8B030D-6E8A-4147-A177-3AD203B41FA5}">
                      <a16:colId xmlns:a16="http://schemas.microsoft.com/office/drawing/2014/main" val="345468308"/>
                    </a:ext>
                  </a:extLst>
                </a:gridCol>
              </a:tblGrid>
              <a:tr h="1073442">
                <a:tc>
                  <a:txBody>
                    <a:bodyPr/>
                    <a:lstStyle/>
                    <a:p>
                      <a:pPr algn="ctr" fontAlgn="ctr"/>
                      <a:r>
                        <a:rPr lang="ru-RU" sz="1000" u="none" strike="noStrike" dirty="0">
                          <a:effectLst/>
                        </a:rPr>
                        <a:t>ПО</a:t>
                      </a:r>
                      <a:endParaRPr lang="ru-RU" sz="1000" b="0" i="0" u="none" strike="noStrike" dirty="0">
                        <a:solidFill>
                          <a:srgbClr val="000000"/>
                        </a:solidFill>
                        <a:effectLst/>
                        <a:latin typeface="Calibri" panose="020F0502020204030204" pitchFamily="34" charset="0"/>
                      </a:endParaRPr>
                    </a:p>
                  </a:txBody>
                  <a:tcPr marL="8653" marR="8653" marT="8653"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fontAlgn="ctr"/>
                      <a:r>
                        <a:rPr lang="ru-RU" sz="1000" u="none" strike="noStrike" dirty="0" smtClean="0">
                          <a:effectLst/>
                        </a:rPr>
                        <a:t>Количество проверенных </a:t>
                      </a:r>
                      <a:r>
                        <a:rPr lang="ru-RU" sz="1000" u="none" strike="noStrike" dirty="0">
                          <a:effectLst/>
                        </a:rPr>
                        <a:t>Н-Д</a:t>
                      </a:r>
                      <a:endParaRPr lang="ru-RU" sz="1000" b="0" i="0" u="none" strike="noStrike" dirty="0">
                        <a:solidFill>
                          <a:srgbClr val="000000"/>
                        </a:solidFill>
                        <a:effectLst/>
                        <a:latin typeface="Calibri" panose="020F0502020204030204" pitchFamily="34" charset="0"/>
                      </a:endParaRPr>
                    </a:p>
                  </a:txBody>
                  <a:tcPr marL="8653" marR="8653" marT="8653" marB="0" anchor="ctr">
                    <a:lnT w="12700" cap="flat" cmpd="sng" algn="ctr">
                      <a:solidFill>
                        <a:schemeClr val="tx1"/>
                      </a:solidFill>
                      <a:prstDash val="solid"/>
                      <a:round/>
                      <a:headEnd type="none" w="med" len="med"/>
                      <a:tailEnd type="none" w="med" len="med"/>
                    </a:lnT>
                  </a:tcPr>
                </a:tc>
                <a:tc>
                  <a:txBody>
                    <a:bodyPr/>
                    <a:lstStyle/>
                    <a:p>
                      <a:pPr algn="ctr" fontAlgn="ctr"/>
                      <a:r>
                        <a:rPr lang="ru-RU" sz="1000" u="none" strike="noStrike" dirty="0" smtClean="0">
                          <a:effectLst/>
                        </a:rPr>
                        <a:t>допустимые</a:t>
                      </a:r>
                      <a:endParaRPr lang="ru-RU" sz="1000" b="1" i="0" u="none" strike="noStrike" dirty="0">
                        <a:solidFill>
                          <a:srgbClr val="000000"/>
                        </a:solidFill>
                        <a:effectLst/>
                        <a:latin typeface="Calibri" panose="020F0502020204030204" pitchFamily="34" charset="0"/>
                      </a:endParaRPr>
                    </a:p>
                  </a:txBody>
                  <a:tcPr marL="8653" marR="8653" marT="8653" marB="0" anchor="ctr">
                    <a:lnT w="12700" cap="flat" cmpd="sng" algn="ctr">
                      <a:solidFill>
                        <a:schemeClr val="tx1"/>
                      </a:solidFill>
                      <a:prstDash val="solid"/>
                      <a:round/>
                      <a:headEnd type="none" w="med" len="med"/>
                      <a:tailEnd type="none" w="med" len="med"/>
                    </a:lnT>
                  </a:tcPr>
                </a:tc>
                <a:tc>
                  <a:txBody>
                    <a:bodyPr/>
                    <a:lstStyle/>
                    <a:p>
                      <a:pPr algn="ctr" fontAlgn="ctr"/>
                      <a:r>
                        <a:rPr lang="ru-RU" sz="1000" u="none" strike="noStrike" dirty="0" smtClean="0">
                          <a:effectLst/>
                        </a:rPr>
                        <a:t>умеренные</a:t>
                      </a:r>
                      <a:endParaRPr lang="ru-RU" sz="1000" b="1" i="0" u="none" strike="noStrike" dirty="0">
                        <a:solidFill>
                          <a:srgbClr val="000000"/>
                        </a:solidFill>
                        <a:effectLst/>
                        <a:latin typeface="Calibri" panose="020F0502020204030204" pitchFamily="34" charset="0"/>
                      </a:endParaRPr>
                    </a:p>
                  </a:txBody>
                  <a:tcPr marL="8653" marR="8653" marT="8653" marB="0" anchor="ctr">
                    <a:lnT w="12700" cap="flat" cmpd="sng" algn="ctr">
                      <a:solidFill>
                        <a:schemeClr val="tx1"/>
                      </a:solidFill>
                      <a:prstDash val="solid"/>
                      <a:round/>
                      <a:headEnd type="none" w="med" len="med"/>
                      <a:tailEnd type="none" w="med" len="med"/>
                    </a:lnT>
                  </a:tcPr>
                </a:tc>
                <a:tc>
                  <a:txBody>
                    <a:bodyPr/>
                    <a:lstStyle/>
                    <a:p>
                      <a:pPr algn="ctr" fontAlgn="ctr"/>
                      <a:r>
                        <a:rPr lang="ru-RU" sz="1000" u="none" strike="noStrike" dirty="0" smtClean="0">
                          <a:effectLst/>
                        </a:rPr>
                        <a:t>высокий</a:t>
                      </a:r>
                      <a:endParaRPr lang="ru-RU" sz="1000" b="1" i="0" u="none" strike="noStrike" dirty="0">
                        <a:solidFill>
                          <a:srgbClr val="000000"/>
                        </a:solidFill>
                        <a:effectLst/>
                        <a:latin typeface="Calibri" panose="020F0502020204030204" pitchFamily="34" charset="0"/>
                      </a:endParaRPr>
                    </a:p>
                  </a:txBody>
                  <a:tcPr marL="8653" marR="8653" marT="8653" marB="0" anchor="ctr">
                    <a:lnT w="12700" cap="flat" cmpd="sng" algn="ctr">
                      <a:solidFill>
                        <a:schemeClr val="tx1"/>
                      </a:solidFill>
                      <a:prstDash val="solid"/>
                      <a:round/>
                      <a:headEnd type="none" w="med" len="med"/>
                      <a:tailEnd type="none" w="med" len="med"/>
                    </a:lnT>
                  </a:tcPr>
                </a:tc>
                <a:tc>
                  <a:txBody>
                    <a:bodyPr/>
                    <a:lstStyle/>
                    <a:p>
                      <a:pPr algn="ctr" fontAlgn="ctr"/>
                      <a:r>
                        <a:rPr lang="ru-RU" sz="1000" u="none" strike="noStrike" dirty="0" smtClean="0">
                          <a:effectLst/>
                        </a:rPr>
                        <a:t>повторы</a:t>
                      </a:r>
                      <a:endParaRPr lang="ru-RU" sz="1000" b="1" i="0" u="none" strike="noStrike" dirty="0">
                        <a:solidFill>
                          <a:srgbClr val="000000"/>
                        </a:solidFill>
                        <a:effectLst/>
                        <a:latin typeface="Calibri" panose="020F0502020204030204" pitchFamily="34" charset="0"/>
                      </a:endParaRPr>
                    </a:p>
                  </a:txBody>
                  <a:tcPr marL="8653" marR="8653" marT="8653" marB="0" anchor="ctr">
                    <a:lnT w="12700" cap="flat" cmpd="sng" algn="ctr">
                      <a:solidFill>
                        <a:schemeClr val="tx1"/>
                      </a:solidFill>
                      <a:prstDash val="solid"/>
                      <a:round/>
                      <a:headEnd type="none" w="med" len="med"/>
                      <a:tailEnd type="none" w="med" len="med"/>
                    </a:lnT>
                  </a:tcPr>
                </a:tc>
                <a:tc>
                  <a:txBody>
                    <a:bodyPr/>
                    <a:lstStyle/>
                    <a:p>
                      <a:pPr algn="ctr" fontAlgn="ctr"/>
                      <a:r>
                        <a:rPr lang="ru-RU" sz="1000" u="none" strike="noStrike" dirty="0" smtClean="0">
                          <a:effectLst/>
                        </a:rPr>
                        <a:t>блокировка</a:t>
                      </a:r>
                      <a:endParaRPr lang="ru-RU" sz="1000" b="1" i="0" u="none" strike="noStrike" dirty="0">
                        <a:solidFill>
                          <a:srgbClr val="000000"/>
                        </a:solidFill>
                        <a:effectLst/>
                        <a:latin typeface="Calibri" panose="020F0502020204030204" pitchFamily="34" charset="0"/>
                      </a:endParaRPr>
                    </a:p>
                  </a:txBody>
                  <a:tcPr marL="8653" marR="8653" marT="8653" marB="0" anchor="ctr">
                    <a:lnT w="12700" cap="flat" cmpd="sng" algn="ctr">
                      <a:solidFill>
                        <a:schemeClr val="tx1"/>
                      </a:solidFill>
                      <a:prstDash val="solid"/>
                      <a:round/>
                      <a:headEnd type="none" w="med" len="med"/>
                      <a:tailEnd type="none" w="med" len="med"/>
                    </a:lnT>
                  </a:tcPr>
                </a:tc>
                <a:tc>
                  <a:txBody>
                    <a:bodyPr/>
                    <a:lstStyle/>
                    <a:p>
                      <a:pPr algn="ctr" fontAlgn="ctr"/>
                      <a:r>
                        <a:rPr lang="ru-RU" sz="1000" u="none" strike="noStrike" dirty="0" smtClean="0">
                          <a:effectLst/>
                        </a:rPr>
                        <a:t>просрочки</a:t>
                      </a:r>
                      <a:endParaRPr lang="ru-RU" sz="1000" b="1" i="0" u="none" strike="noStrike" dirty="0">
                        <a:solidFill>
                          <a:srgbClr val="000000"/>
                        </a:solidFill>
                        <a:effectLst/>
                        <a:latin typeface="Calibri" panose="020F0502020204030204" pitchFamily="34" charset="0"/>
                      </a:endParaRPr>
                    </a:p>
                  </a:txBody>
                  <a:tcPr marL="8653" marR="8653" marT="8653" marB="0" anchor="ctr">
                    <a:lnT w="12700" cap="flat" cmpd="sng" algn="ctr">
                      <a:solidFill>
                        <a:schemeClr val="tx1"/>
                      </a:solidFill>
                      <a:prstDash val="solid"/>
                      <a:round/>
                      <a:headEnd type="none" w="med" len="med"/>
                      <a:tailEnd type="none" w="med" len="med"/>
                    </a:lnT>
                  </a:tcPr>
                </a:tc>
                <a:tc>
                  <a:txBody>
                    <a:bodyPr/>
                    <a:lstStyle/>
                    <a:p>
                      <a:pPr algn="ctr" fontAlgn="ctr"/>
                      <a:r>
                        <a:rPr lang="ru-RU" sz="1000" u="none" strike="noStrike" dirty="0" smtClean="0">
                          <a:effectLst/>
                        </a:rPr>
                        <a:t>остановка </a:t>
                      </a:r>
                      <a:r>
                        <a:rPr lang="ru-RU" sz="1000" u="none" strike="noStrike" dirty="0">
                          <a:effectLst/>
                        </a:rPr>
                        <a:t>работ</a:t>
                      </a:r>
                      <a:endParaRPr lang="ru-RU" sz="1000" b="1" i="0" u="none" strike="noStrike" dirty="0">
                        <a:solidFill>
                          <a:srgbClr val="000000"/>
                        </a:solidFill>
                        <a:effectLst/>
                        <a:latin typeface="Calibri" panose="020F0502020204030204" pitchFamily="34" charset="0"/>
                      </a:endParaRPr>
                    </a:p>
                  </a:txBody>
                  <a:tcPr marL="8653" marR="8653" marT="8653" marB="0" anchor="ctr">
                    <a:lnT w="12700" cap="flat" cmpd="sng" algn="ctr">
                      <a:solidFill>
                        <a:schemeClr val="tx1"/>
                      </a:solidFill>
                      <a:prstDash val="solid"/>
                      <a:round/>
                      <a:headEnd type="none" w="med" len="med"/>
                      <a:tailEnd type="none" w="med" len="med"/>
                    </a:lnT>
                  </a:tcPr>
                </a:tc>
                <a:tc>
                  <a:txBody>
                    <a:bodyPr/>
                    <a:lstStyle/>
                    <a:p>
                      <a:pPr algn="ctr" fontAlgn="ctr"/>
                      <a:r>
                        <a:rPr lang="ru-RU" sz="1000" u="none" strike="noStrike" dirty="0">
                          <a:effectLst/>
                        </a:rPr>
                        <a:t>Оценка </a:t>
                      </a:r>
                      <a:r>
                        <a:rPr lang="ru-RU" sz="1000" u="none" strike="noStrike" dirty="0" smtClean="0">
                          <a:effectLst/>
                        </a:rPr>
                        <a:t>безопасности </a:t>
                      </a:r>
                      <a:r>
                        <a:rPr lang="ru-RU" sz="1000" u="none" strike="noStrike" dirty="0">
                          <a:effectLst/>
                        </a:rPr>
                        <a:t>- высокий риск</a:t>
                      </a:r>
                      <a:endParaRPr lang="ru-RU" sz="1000" b="0" i="0" u="none" strike="noStrike" dirty="0">
                        <a:solidFill>
                          <a:srgbClr val="000000"/>
                        </a:solidFill>
                        <a:effectLst/>
                        <a:latin typeface="Calibri" panose="020F0502020204030204" pitchFamily="34" charset="0"/>
                      </a:endParaRPr>
                    </a:p>
                  </a:txBody>
                  <a:tcPr marL="8653" marR="8653" marT="8653" marB="0" anchor="ctr">
                    <a:lnT w="12700" cap="flat" cmpd="sng" algn="ctr">
                      <a:solidFill>
                        <a:schemeClr val="tx1"/>
                      </a:solidFill>
                      <a:prstDash val="solid"/>
                      <a:round/>
                      <a:headEnd type="none" w="med" len="med"/>
                      <a:tailEnd type="none" w="med" len="med"/>
                    </a:lnT>
                  </a:tcPr>
                </a:tc>
                <a:tc>
                  <a:txBody>
                    <a:bodyPr/>
                    <a:lstStyle/>
                    <a:p>
                      <a:pPr algn="ctr" fontAlgn="ctr"/>
                      <a:r>
                        <a:rPr lang="ru-RU" sz="1000" u="none" strike="noStrike" dirty="0">
                          <a:effectLst/>
                        </a:rPr>
                        <a:t>Оценка </a:t>
                      </a:r>
                      <a:r>
                        <a:rPr lang="ru-RU" sz="1000" u="none" strike="noStrike" dirty="0" smtClean="0">
                          <a:effectLst/>
                        </a:rPr>
                        <a:t>безопасности </a:t>
                      </a:r>
                      <a:r>
                        <a:rPr lang="ru-RU" sz="1000" u="none" strike="noStrike" dirty="0">
                          <a:effectLst/>
                        </a:rPr>
                        <a:t>- умеренный риск</a:t>
                      </a:r>
                      <a:endParaRPr lang="ru-RU" sz="1000" b="0" i="0" u="none" strike="noStrike" dirty="0">
                        <a:solidFill>
                          <a:srgbClr val="000000"/>
                        </a:solidFill>
                        <a:effectLst/>
                        <a:latin typeface="Calibri" panose="020F0502020204030204" pitchFamily="34" charset="0"/>
                      </a:endParaRPr>
                    </a:p>
                  </a:txBody>
                  <a:tcPr marL="8653" marR="8653" marT="8653" marB="0" anchor="ctr">
                    <a:lnT w="12700" cap="flat" cmpd="sng" algn="ctr">
                      <a:solidFill>
                        <a:schemeClr val="tx1"/>
                      </a:solidFill>
                      <a:prstDash val="solid"/>
                      <a:round/>
                      <a:headEnd type="none" w="med" len="med"/>
                      <a:tailEnd type="none" w="med" len="med"/>
                    </a:lnT>
                  </a:tcPr>
                </a:tc>
                <a:tc>
                  <a:txBody>
                    <a:bodyPr/>
                    <a:lstStyle/>
                    <a:p>
                      <a:pPr algn="ctr" fontAlgn="ctr"/>
                      <a:r>
                        <a:rPr lang="ru-RU" sz="1000" u="none" strike="noStrike" dirty="0">
                          <a:effectLst/>
                        </a:rPr>
                        <a:t>Оценка </a:t>
                      </a:r>
                      <a:r>
                        <a:rPr lang="ru-RU" sz="1000" u="none" strike="noStrike" dirty="0" smtClean="0">
                          <a:effectLst/>
                        </a:rPr>
                        <a:t>безопасности </a:t>
                      </a:r>
                      <a:r>
                        <a:rPr lang="ru-RU" sz="1000" u="none" strike="noStrike" dirty="0">
                          <a:effectLst/>
                        </a:rPr>
                        <a:t>- допустимый риск</a:t>
                      </a:r>
                      <a:endParaRPr lang="ru-RU" sz="1000" b="0" i="0" u="none" strike="noStrike" dirty="0">
                        <a:solidFill>
                          <a:srgbClr val="000000"/>
                        </a:solidFill>
                        <a:effectLst/>
                        <a:latin typeface="Calibri" panose="020F0502020204030204" pitchFamily="34" charset="0"/>
                      </a:endParaRPr>
                    </a:p>
                  </a:txBody>
                  <a:tcPr marL="8653" marR="8653" marT="8653" marB="0" anchor="ctr">
                    <a:lnT w="12700" cap="flat" cmpd="sng" algn="ctr">
                      <a:solidFill>
                        <a:schemeClr val="tx1"/>
                      </a:solidFill>
                      <a:prstDash val="solid"/>
                      <a:round/>
                      <a:headEnd type="none" w="med" len="med"/>
                      <a:tailEnd type="none" w="med" len="med"/>
                    </a:lnT>
                  </a:tcPr>
                </a:tc>
                <a:tc>
                  <a:txBody>
                    <a:bodyPr/>
                    <a:lstStyle/>
                    <a:p>
                      <a:pPr algn="ctr" fontAlgn="ctr"/>
                      <a:r>
                        <a:rPr lang="ru-RU" sz="1000" u="none" strike="noStrike" dirty="0">
                          <a:effectLst/>
                        </a:rPr>
                        <a:t>Количество аудитов проведенных </a:t>
                      </a:r>
                      <a:r>
                        <a:rPr lang="ru-RU" sz="1000" u="none" strike="noStrike" dirty="0" smtClean="0">
                          <a:effectLst/>
                        </a:rPr>
                        <a:t>ПО</a:t>
                      </a:r>
                      <a:endParaRPr lang="ru-RU" sz="1000" b="0" i="0" u="none" strike="noStrike" dirty="0">
                        <a:solidFill>
                          <a:srgbClr val="000000"/>
                        </a:solidFill>
                        <a:effectLst/>
                        <a:latin typeface="Calibri" panose="020F0502020204030204" pitchFamily="34" charset="0"/>
                      </a:endParaRPr>
                    </a:p>
                  </a:txBody>
                  <a:tcPr marL="8653" marR="8653" marT="8653" marB="0" anchor="ctr">
                    <a:lnT w="12700" cap="flat" cmpd="sng" algn="ctr">
                      <a:solidFill>
                        <a:schemeClr val="tx1"/>
                      </a:solidFill>
                      <a:prstDash val="solid"/>
                      <a:round/>
                      <a:headEnd type="none" w="med" len="med"/>
                      <a:tailEnd type="none" w="med" len="med"/>
                    </a:lnT>
                  </a:tcPr>
                </a:tc>
                <a:tc>
                  <a:txBody>
                    <a:bodyPr/>
                    <a:lstStyle/>
                    <a:p>
                      <a:pPr algn="ctr" fontAlgn="ctr"/>
                      <a:r>
                        <a:rPr lang="ru-RU" sz="1000" u="none" strike="noStrike" dirty="0" smtClean="0">
                          <a:effectLst/>
                        </a:rPr>
                        <a:t>Коэффициент безопасности</a:t>
                      </a:r>
                      <a:endParaRPr lang="ru-RU" sz="1000" b="0" i="0" u="none" strike="noStrike" dirty="0">
                        <a:solidFill>
                          <a:srgbClr val="000000"/>
                        </a:solidFill>
                        <a:effectLst/>
                        <a:latin typeface="Calibri" panose="020F0502020204030204" pitchFamily="34" charset="0"/>
                      </a:endParaRPr>
                    </a:p>
                  </a:txBody>
                  <a:tcPr marL="8653" marR="8653" marT="8653"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2">
                        <a:lumMod val="40000"/>
                        <a:lumOff val="60000"/>
                      </a:schemeClr>
                    </a:solidFill>
                  </a:tcPr>
                </a:tc>
                <a:extLst>
                  <a:ext uri="{0D108BD9-81ED-4DB2-BD59-A6C34878D82A}">
                    <a16:rowId xmlns:a16="http://schemas.microsoft.com/office/drawing/2014/main" val="1862269657"/>
                  </a:ext>
                </a:extLst>
              </a:tr>
              <a:tr h="177620">
                <a:tc>
                  <a:txBody>
                    <a:bodyPr/>
                    <a:lstStyle/>
                    <a:p>
                      <a:pPr algn="l" fontAlgn="b"/>
                      <a:r>
                        <a:rPr lang="ru-RU" sz="1000" u="none" strike="noStrike" dirty="0" smtClean="0">
                          <a:effectLst/>
                        </a:rPr>
                        <a:t> Прокат Монтаж</a:t>
                      </a:r>
                      <a:endParaRPr lang="ru-RU" sz="1000" b="0" i="0" u="none" strike="noStrike" dirty="0">
                        <a:solidFill>
                          <a:srgbClr val="9C0006"/>
                        </a:solidFill>
                        <a:effectLst/>
                        <a:latin typeface="Calibri" panose="020F0502020204030204" pitchFamily="34" charset="0"/>
                      </a:endParaRPr>
                    </a:p>
                  </a:txBody>
                  <a:tcPr marL="8653" marR="8653" marT="8653" marB="0" anchor="b">
                    <a:lnL w="12700" cap="flat" cmpd="sng" algn="ctr">
                      <a:solidFill>
                        <a:schemeClr val="tx1"/>
                      </a:solidFill>
                      <a:prstDash val="solid"/>
                      <a:round/>
                      <a:headEnd type="none" w="med" len="med"/>
                      <a:tailEnd type="none" w="med" len="med"/>
                    </a:lnL>
                  </a:tcPr>
                </a:tc>
                <a:tc>
                  <a:txBody>
                    <a:bodyPr/>
                    <a:lstStyle/>
                    <a:p>
                      <a:pPr algn="r" fontAlgn="b"/>
                      <a:r>
                        <a:rPr lang="ru-RU" sz="1000" u="none" strike="noStrike">
                          <a:effectLst/>
                        </a:rPr>
                        <a:t>1</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l" fontAlgn="b"/>
                      <a:r>
                        <a:rPr lang="ru-RU" sz="1000" u="none" strike="noStrike" dirty="0">
                          <a:effectLst/>
                        </a:rPr>
                        <a:t> </a:t>
                      </a:r>
                      <a:endParaRPr lang="ru-RU" sz="1000" b="0" i="0" u="none" strike="noStrike" dirty="0">
                        <a:solidFill>
                          <a:srgbClr val="9C0006"/>
                        </a:solidFill>
                        <a:effectLst/>
                        <a:latin typeface="Calibri" panose="020F0502020204030204" pitchFamily="34" charset="0"/>
                      </a:endParaRPr>
                    </a:p>
                  </a:txBody>
                  <a:tcPr marL="8653" marR="8653" marT="8653" marB="0" anchor="b"/>
                </a:tc>
                <a:tc>
                  <a:txBody>
                    <a:bodyPr/>
                    <a:lstStyle/>
                    <a:p>
                      <a:pPr algn="l" fontAlgn="b"/>
                      <a:r>
                        <a:rPr lang="ru-RU" sz="1000" u="none" strike="noStrike">
                          <a:effectLst/>
                        </a:rPr>
                        <a:t> </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4</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l" fontAlgn="b"/>
                      <a:r>
                        <a:rPr lang="ru-RU" sz="1000" u="none" strike="noStrike">
                          <a:effectLst/>
                        </a:rPr>
                        <a:t> </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4</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4</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1</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l" fontAlgn="b"/>
                      <a:r>
                        <a:rPr lang="ru-RU" sz="1000" u="none" strike="noStrike">
                          <a:effectLst/>
                        </a:rPr>
                        <a:t> </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1</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l" fontAlgn="b"/>
                      <a:r>
                        <a:rPr lang="ru-RU" sz="1000" u="none" strike="noStrike">
                          <a:effectLst/>
                        </a:rPr>
                        <a:t> </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l" fontAlgn="b"/>
                      <a:r>
                        <a:rPr lang="ru-RU" sz="1000" u="none" strike="noStrike">
                          <a:effectLst/>
                        </a:rPr>
                        <a:t> </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ctr" fontAlgn="ctr"/>
                      <a:r>
                        <a:rPr lang="ru-RU" sz="1000" u="none" strike="noStrike" dirty="0">
                          <a:effectLst/>
                        </a:rPr>
                        <a:t>2,91</a:t>
                      </a:r>
                      <a:endParaRPr lang="ru-RU" sz="1000" b="0" i="0" u="none" strike="noStrike" dirty="0">
                        <a:solidFill>
                          <a:srgbClr val="9C0006"/>
                        </a:solidFill>
                        <a:effectLst/>
                        <a:latin typeface="Calibri" panose="020F0502020204030204" pitchFamily="34" charset="0"/>
                      </a:endParaRPr>
                    </a:p>
                  </a:txBody>
                  <a:tcPr marL="8653" marR="8653" marT="8653" marB="0" anchor="ctr">
                    <a:lnR w="12700" cap="flat" cmpd="sng" algn="ctr">
                      <a:solidFill>
                        <a:schemeClr val="tx1"/>
                      </a:solidFill>
                      <a:prstDash val="solid"/>
                      <a:round/>
                      <a:headEnd type="none" w="med" len="med"/>
                      <a:tailEnd type="none" w="med" len="med"/>
                    </a:lnR>
                    <a:solidFill>
                      <a:schemeClr val="accent2">
                        <a:lumMod val="40000"/>
                        <a:lumOff val="60000"/>
                      </a:schemeClr>
                    </a:solidFill>
                  </a:tcPr>
                </a:tc>
                <a:extLst>
                  <a:ext uri="{0D108BD9-81ED-4DB2-BD59-A6C34878D82A}">
                    <a16:rowId xmlns:a16="http://schemas.microsoft.com/office/drawing/2014/main" val="71518747"/>
                  </a:ext>
                </a:extLst>
              </a:tr>
              <a:tr h="177620">
                <a:tc>
                  <a:txBody>
                    <a:bodyPr/>
                    <a:lstStyle/>
                    <a:p>
                      <a:pPr algn="l" fontAlgn="b"/>
                      <a:r>
                        <a:rPr lang="ru-RU" sz="1000" u="none" strike="noStrike" dirty="0" smtClean="0">
                          <a:effectLst/>
                        </a:rPr>
                        <a:t> Картель</a:t>
                      </a:r>
                      <a:endParaRPr lang="ru-RU" sz="1000" b="0" i="0" u="none" strike="noStrike" dirty="0">
                        <a:solidFill>
                          <a:srgbClr val="9C0006"/>
                        </a:solidFill>
                        <a:effectLst/>
                        <a:latin typeface="Calibri" panose="020F0502020204030204" pitchFamily="34" charset="0"/>
                      </a:endParaRPr>
                    </a:p>
                  </a:txBody>
                  <a:tcPr marL="8653" marR="8653" marT="8653" marB="0" anchor="b">
                    <a:lnL w="12700" cap="flat" cmpd="sng" algn="ctr">
                      <a:solidFill>
                        <a:schemeClr val="tx1"/>
                      </a:solidFill>
                      <a:prstDash val="solid"/>
                      <a:round/>
                      <a:headEnd type="none" w="med" len="med"/>
                      <a:tailEnd type="none" w="med" len="med"/>
                    </a:lnL>
                  </a:tcPr>
                </a:tc>
                <a:tc>
                  <a:txBody>
                    <a:bodyPr/>
                    <a:lstStyle/>
                    <a:p>
                      <a:pPr algn="r" fontAlgn="b"/>
                      <a:r>
                        <a:rPr lang="ru-RU" sz="1000" u="none" strike="noStrike">
                          <a:effectLst/>
                        </a:rPr>
                        <a:t>5</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3</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9</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8</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9</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3</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19</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3</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l" fontAlgn="b"/>
                      <a:r>
                        <a:rPr lang="ru-RU" sz="1000" u="none" strike="noStrike" dirty="0">
                          <a:effectLst/>
                        </a:rPr>
                        <a:t> </a:t>
                      </a:r>
                      <a:endParaRPr lang="ru-RU" sz="1000" b="0" i="0" u="none" strike="noStrike" dirty="0">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1</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l" fontAlgn="b"/>
                      <a:r>
                        <a:rPr lang="ru-RU" sz="1000" u="none" strike="noStrike">
                          <a:effectLst/>
                        </a:rPr>
                        <a:t> </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l" fontAlgn="b"/>
                      <a:r>
                        <a:rPr lang="ru-RU" sz="1000" u="none" strike="noStrike">
                          <a:effectLst/>
                        </a:rPr>
                        <a:t> </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ctr" fontAlgn="ctr"/>
                      <a:r>
                        <a:rPr lang="ru-RU" sz="1000" u="none" strike="noStrike" dirty="0">
                          <a:effectLst/>
                        </a:rPr>
                        <a:t>2,22</a:t>
                      </a:r>
                      <a:endParaRPr lang="ru-RU" sz="1000" b="0" i="0" u="none" strike="noStrike" dirty="0">
                        <a:solidFill>
                          <a:srgbClr val="9C0006"/>
                        </a:solidFill>
                        <a:effectLst/>
                        <a:latin typeface="Calibri" panose="020F0502020204030204" pitchFamily="34" charset="0"/>
                      </a:endParaRPr>
                    </a:p>
                  </a:txBody>
                  <a:tcPr marL="8653" marR="8653" marT="8653" marB="0" anchor="ctr">
                    <a:lnR w="12700" cap="flat" cmpd="sng" algn="ctr">
                      <a:solidFill>
                        <a:schemeClr val="tx1"/>
                      </a:solidFill>
                      <a:prstDash val="solid"/>
                      <a:round/>
                      <a:headEnd type="none" w="med" len="med"/>
                      <a:tailEnd type="none" w="med" len="med"/>
                    </a:lnR>
                    <a:solidFill>
                      <a:schemeClr val="accent2">
                        <a:lumMod val="40000"/>
                        <a:lumOff val="60000"/>
                      </a:schemeClr>
                    </a:solidFill>
                  </a:tcPr>
                </a:tc>
                <a:extLst>
                  <a:ext uri="{0D108BD9-81ED-4DB2-BD59-A6C34878D82A}">
                    <a16:rowId xmlns:a16="http://schemas.microsoft.com/office/drawing/2014/main" val="1636137394"/>
                  </a:ext>
                </a:extLst>
              </a:tr>
              <a:tr h="177620">
                <a:tc>
                  <a:txBody>
                    <a:bodyPr/>
                    <a:lstStyle/>
                    <a:p>
                      <a:pPr algn="l" fontAlgn="b"/>
                      <a:r>
                        <a:rPr lang="ru-RU" sz="1000" u="none" strike="noStrike" dirty="0" smtClean="0">
                          <a:effectLst/>
                        </a:rPr>
                        <a:t> ООО </a:t>
                      </a:r>
                      <a:r>
                        <a:rPr lang="ru-RU" sz="1000" u="none" strike="noStrike" dirty="0">
                          <a:effectLst/>
                        </a:rPr>
                        <a:t>СК СТРОЙНОВАЦИЯ</a:t>
                      </a:r>
                      <a:endParaRPr lang="ru-RU" sz="1000" b="0" i="0" u="none" strike="noStrike" dirty="0">
                        <a:solidFill>
                          <a:srgbClr val="9C0006"/>
                        </a:solidFill>
                        <a:effectLst/>
                        <a:latin typeface="Calibri" panose="020F0502020204030204" pitchFamily="34" charset="0"/>
                      </a:endParaRPr>
                    </a:p>
                  </a:txBody>
                  <a:tcPr marL="8653" marR="8653" marT="8653" marB="0" anchor="b">
                    <a:lnL w="12700" cap="flat" cmpd="sng" algn="ctr">
                      <a:solidFill>
                        <a:schemeClr val="tx1"/>
                      </a:solidFill>
                      <a:prstDash val="solid"/>
                      <a:round/>
                      <a:headEnd type="none" w="med" len="med"/>
                      <a:tailEnd type="none" w="med" len="med"/>
                    </a:lnL>
                  </a:tcPr>
                </a:tc>
                <a:tc>
                  <a:txBody>
                    <a:bodyPr/>
                    <a:lstStyle/>
                    <a:p>
                      <a:pPr algn="r" fontAlgn="b"/>
                      <a:r>
                        <a:rPr lang="ru-RU" sz="1000" u="none" strike="noStrike">
                          <a:effectLst/>
                        </a:rPr>
                        <a:t>3</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6</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8</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7</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4</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2</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3</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4</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1</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l" fontAlgn="b"/>
                      <a:r>
                        <a:rPr lang="ru-RU" sz="1000" u="none" strike="noStrike">
                          <a:effectLst/>
                        </a:rPr>
                        <a:t> </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l" fontAlgn="b"/>
                      <a:r>
                        <a:rPr lang="ru-RU" sz="1000" u="none" strike="noStrike">
                          <a:effectLst/>
                        </a:rPr>
                        <a:t> </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l" fontAlgn="b"/>
                      <a:r>
                        <a:rPr lang="ru-RU" sz="1000" u="none" strike="noStrike">
                          <a:effectLst/>
                        </a:rPr>
                        <a:t> </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ctr" fontAlgn="ctr"/>
                      <a:r>
                        <a:rPr lang="ru-RU" sz="1000" u="none" strike="noStrike" dirty="0">
                          <a:effectLst/>
                        </a:rPr>
                        <a:t>2,22</a:t>
                      </a:r>
                      <a:endParaRPr lang="ru-RU" sz="1000" b="0" i="0" u="none" strike="noStrike" dirty="0">
                        <a:solidFill>
                          <a:srgbClr val="9C0006"/>
                        </a:solidFill>
                        <a:effectLst/>
                        <a:latin typeface="Calibri" panose="020F0502020204030204" pitchFamily="34" charset="0"/>
                      </a:endParaRPr>
                    </a:p>
                  </a:txBody>
                  <a:tcPr marL="8653" marR="8653" marT="8653" marB="0" anchor="ctr">
                    <a:lnR w="12700" cap="flat" cmpd="sng" algn="ctr">
                      <a:solidFill>
                        <a:schemeClr val="tx1"/>
                      </a:solidFill>
                      <a:prstDash val="solid"/>
                      <a:round/>
                      <a:headEnd type="none" w="med" len="med"/>
                      <a:tailEnd type="none" w="med" len="med"/>
                    </a:lnR>
                    <a:solidFill>
                      <a:schemeClr val="accent2">
                        <a:lumMod val="40000"/>
                        <a:lumOff val="60000"/>
                      </a:schemeClr>
                    </a:solidFill>
                  </a:tcPr>
                </a:tc>
                <a:extLst>
                  <a:ext uri="{0D108BD9-81ED-4DB2-BD59-A6C34878D82A}">
                    <a16:rowId xmlns:a16="http://schemas.microsoft.com/office/drawing/2014/main" val="4074798403"/>
                  </a:ext>
                </a:extLst>
              </a:tr>
              <a:tr h="177620">
                <a:tc>
                  <a:txBody>
                    <a:bodyPr/>
                    <a:lstStyle/>
                    <a:p>
                      <a:pPr algn="l" fontAlgn="b"/>
                      <a:r>
                        <a:rPr lang="ru-RU" sz="1000" u="none" strike="noStrike" dirty="0" smtClean="0">
                          <a:effectLst/>
                        </a:rPr>
                        <a:t> МИНСКПРОМСТРОЙ</a:t>
                      </a:r>
                      <a:endParaRPr lang="ru-RU" sz="1000" b="0" i="0" u="none" strike="noStrike" dirty="0">
                        <a:solidFill>
                          <a:srgbClr val="9C0006"/>
                        </a:solidFill>
                        <a:effectLst/>
                        <a:latin typeface="Calibri" panose="020F0502020204030204" pitchFamily="34" charset="0"/>
                      </a:endParaRPr>
                    </a:p>
                  </a:txBody>
                  <a:tcPr marL="8653" marR="8653" marT="8653" marB="0" anchor="b">
                    <a:lnL w="12700" cap="flat" cmpd="sng" algn="ctr">
                      <a:solidFill>
                        <a:schemeClr val="tx1"/>
                      </a:solidFill>
                      <a:prstDash val="solid"/>
                      <a:round/>
                      <a:headEnd type="none" w="med" len="med"/>
                      <a:tailEnd type="none" w="med" len="med"/>
                    </a:lnL>
                  </a:tcPr>
                </a:tc>
                <a:tc>
                  <a:txBody>
                    <a:bodyPr/>
                    <a:lstStyle/>
                    <a:p>
                      <a:pPr algn="r" fontAlgn="b"/>
                      <a:r>
                        <a:rPr lang="ru-RU" sz="1000" u="none" strike="noStrike">
                          <a:effectLst/>
                        </a:rPr>
                        <a:t>4</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2</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3</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7</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4</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2</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11</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3</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r" fontAlgn="b"/>
                      <a:r>
                        <a:rPr lang="ru-RU" sz="1000" u="none" strike="noStrike">
                          <a:effectLst/>
                        </a:rPr>
                        <a:t>1</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l" fontAlgn="b"/>
                      <a:r>
                        <a:rPr lang="ru-RU" sz="1000" u="none" strike="noStrike">
                          <a:effectLst/>
                        </a:rPr>
                        <a:t> </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l" fontAlgn="b"/>
                      <a:r>
                        <a:rPr lang="ru-RU" sz="1000" u="none" strike="noStrike">
                          <a:effectLst/>
                        </a:rPr>
                        <a:t> </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l" fontAlgn="b"/>
                      <a:r>
                        <a:rPr lang="ru-RU" sz="1000" u="none" strike="noStrike">
                          <a:effectLst/>
                        </a:rPr>
                        <a:t> </a:t>
                      </a:r>
                      <a:endParaRPr lang="ru-RU" sz="1000" b="0" i="0" u="none" strike="noStrike">
                        <a:solidFill>
                          <a:srgbClr val="9C0006"/>
                        </a:solidFill>
                        <a:effectLst/>
                        <a:latin typeface="Calibri" panose="020F0502020204030204" pitchFamily="34" charset="0"/>
                      </a:endParaRPr>
                    </a:p>
                  </a:txBody>
                  <a:tcPr marL="8653" marR="8653" marT="8653" marB="0" anchor="b"/>
                </a:tc>
                <a:tc>
                  <a:txBody>
                    <a:bodyPr/>
                    <a:lstStyle/>
                    <a:p>
                      <a:pPr algn="ctr" fontAlgn="ctr"/>
                      <a:r>
                        <a:rPr lang="ru-RU" sz="1000" u="none" strike="noStrike" dirty="0">
                          <a:effectLst/>
                        </a:rPr>
                        <a:t>1,99</a:t>
                      </a:r>
                      <a:endParaRPr lang="ru-RU" sz="1000" b="0" i="0" u="none" strike="noStrike" dirty="0">
                        <a:solidFill>
                          <a:srgbClr val="9C0006"/>
                        </a:solidFill>
                        <a:effectLst/>
                        <a:latin typeface="Calibri" panose="020F0502020204030204" pitchFamily="34" charset="0"/>
                      </a:endParaRPr>
                    </a:p>
                  </a:txBody>
                  <a:tcPr marL="8653" marR="8653" marT="8653" marB="0" anchor="ctr">
                    <a:lnR w="12700" cap="flat" cmpd="sng" algn="ctr">
                      <a:solidFill>
                        <a:schemeClr val="tx1"/>
                      </a:solidFill>
                      <a:prstDash val="solid"/>
                      <a:round/>
                      <a:headEnd type="none" w="med" len="med"/>
                      <a:tailEnd type="none" w="med" len="med"/>
                    </a:lnR>
                    <a:solidFill>
                      <a:schemeClr val="accent2">
                        <a:lumMod val="40000"/>
                        <a:lumOff val="60000"/>
                      </a:schemeClr>
                    </a:solidFill>
                  </a:tcPr>
                </a:tc>
                <a:extLst>
                  <a:ext uri="{0D108BD9-81ED-4DB2-BD59-A6C34878D82A}">
                    <a16:rowId xmlns:a16="http://schemas.microsoft.com/office/drawing/2014/main" val="3541780844"/>
                  </a:ext>
                </a:extLst>
              </a:tr>
              <a:tr h="186499">
                <a:tc>
                  <a:txBody>
                    <a:bodyPr/>
                    <a:lstStyle/>
                    <a:p>
                      <a:pPr algn="l" fontAlgn="b"/>
                      <a:r>
                        <a:rPr lang="ru-RU" sz="1000" u="none" strike="noStrike" dirty="0" smtClean="0">
                          <a:effectLst/>
                        </a:rPr>
                        <a:t> ЗАО </a:t>
                      </a:r>
                      <a:r>
                        <a:rPr lang="ru-RU" sz="1000" u="none" strike="noStrike" dirty="0">
                          <a:effectLst/>
                        </a:rPr>
                        <a:t>УМР-10</a:t>
                      </a:r>
                      <a:endParaRPr lang="ru-RU" sz="1000" b="0" i="0" u="none" strike="noStrike" dirty="0">
                        <a:solidFill>
                          <a:srgbClr val="9C0006"/>
                        </a:solidFill>
                        <a:effectLst/>
                        <a:latin typeface="Calibri" panose="020F0502020204030204" pitchFamily="34" charset="0"/>
                      </a:endParaRPr>
                    </a:p>
                  </a:txBody>
                  <a:tcPr marL="8653" marR="8653" marT="8653"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r" fontAlgn="b"/>
                      <a:r>
                        <a:rPr lang="ru-RU" sz="1000" u="none" strike="noStrike">
                          <a:effectLst/>
                        </a:rPr>
                        <a:t>4</a:t>
                      </a:r>
                      <a:endParaRPr lang="ru-RU" sz="1000" b="0" i="0" u="none" strike="noStrike">
                        <a:solidFill>
                          <a:srgbClr val="9C0006"/>
                        </a:solidFill>
                        <a:effectLst/>
                        <a:latin typeface="Calibri" panose="020F0502020204030204" pitchFamily="34" charset="0"/>
                      </a:endParaRPr>
                    </a:p>
                  </a:txBody>
                  <a:tcPr marL="8653" marR="8653" marT="8653" marB="0" anchor="b">
                    <a:lnB w="12700" cap="flat" cmpd="sng" algn="ctr">
                      <a:solidFill>
                        <a:schemeClr val="tx1"/>
                      </a:solidFill>
                      <a:prstDash val="solid"/>
                      <a:round/>
                      <a:headEnd type="none" w="med" len="med"/>
                      <a:tailEnd type="none" w="med" len="med"/>
                    </a:lnB>
                  </a:tcPr>
                </a:tc>
                <a:tc>
                  <a:txBody>
                    <a:bodyPr/>
                    <a:lstStyle/>
                    <a:p>
                      <a:pPr algn="r" fontAlgn="b"/>
                      <a:r>
                        <a:rPr lang="ru-RU" sz="1000" u="none" strike="noStrike">
                          <a:effectLst/>
                        </a:rPr>
                        <a:t>4</a:t>
                      </a:r>
                      <a:endParaRPr lang="ru-RU" sz="1000" b="0" i="0" u="none" strike="noStrike">
                        <a:solidFill>
                          <a:srgbClr val="9C0006"/>
                        </a:solidFill>
                        <a:effectLst/>
                        <a:latin typeface="Calibri" panose="020F0502020204030204" pitchFamily="34" charset="0"/>
                      </a:endParaRPr>
                    </a:p>
                  </a:txBody>
                  <a:tcPr marL="8653" marR="8653" marT="8653" marB="0" anchor="b">
                    <a:lnB w="12700" cap="flat" cmpd="sng" algn="ctr">
                      <a:solidFill>
                        <a:schemeClr val="tx1"/>
                      </a:solidFill>
                      <a:prstDash val="solid"/>
                      <a:round/>
                      <a:headEnd type="none" w="med" len="med"/>
                      <a:tailEnd type="none" w="med" len="med"/>
                    </a:lnB>
                  </a:tcPr>
                </a:tc>
                <a:tc>
                  <a:txBody>
                    <a:bodyPr/>
                    <a:lstStyle/>
                    <a:p>
                      <a:pPr algn="r" fontAlgn="b"/>
                      <a:r>
                        <a:rPr lang="ru-RU" sz="1000" u="none" strike="noStrike" dirty="0">
                          <a:effectLst/>
                        </a:rPr>
                        <a:t>4</a:t>
                      </a:r>
                      <a:endParaRPr lang="ru-RU" sz="1000" b="0" i="0" u="none" strike="noStrike" dirty="0">
                        <a:solidFill>
                          <a:srgbClr val="9C0006"/>
                        </a:solidFill>
                        <a:effectLst/>
                        <a:latin typeface="Calibri" panose="020F0502020204030204" pitchFamily="34" charset="0"/>
                      </a:endParaRPr>
                    </a:p>
                  </a:txBody>
                  <a:tcPr marL="8653" marR="8653" marT="8653" marB="0" anchor="b">
                    <a:lnB w="12700" cap="flat" cmpd="sng" algn="ctr">
                      <a:solidFill>
                        <a:schemeClr val="tx1"/>
                      </a:solidFill>
                      <a:prstDash val="solid"/>
                      <a:round/>
                      <a:headEnd type="none" w="med" len="med"/>
                      <a:tailEnd type="none" w="med" len="med"/>
                    </a:lnB>
                  </a:tcPr>
                </a:tc>
                <a:tc>
                  <a:txBody>
                    <a:bodyPr/>
                    <a:lstStyle/>
                    <a:p>
                      <a:pPr algn="r" fontAlgn="b"/>
                      <a:r>
                        <a:rPr lang="ru-RU" sz="1000" u="none" strike="noStrike">
                          <a:effectLst/>
                        </a:rPr>
                        <a:t>8</a:t>
                      </a:r>
                      <a:endParaRPr lang="ru-RU" sz="1000" b="0" i="0" u="none" strike="noStrike">
                        <a:solidFill>
                          <a:srgbClr val="9C0006"/>
                        </a:solidFill>
                        <a:effectLst/>
                        <a:latin typeface="Calibri" panose="020F0502020204030204" pitchFamily="34" charset="0"/>
                      </a:endParaRPr>
                    </a:p>
                  </a:txBody>
                  <a:tcPr marL="8653" marR="8653" marT="8653" marB="0" anchor="b">
                    <a:lnB w="12700" cap="flat" cmpd="sng" algn="ctr">
                      <a:solidFill>
                        <a:schemeClr val="tx1"/>
                      </a:solidFill>
                      <a:prstDash val="solid"/>
                      <a:round/>
                      <a:headEnd type="none" w="med" len="med"/>
                      <a:tailEnd type="none" w="med" len="med"/>
                    </a:lnB>
                  </a:tcPr>
                </a:tc>
                <a:tc>
                  <a:txBody>
                    <a:bodyPr/>
                    <a:lstStyle/>
                    <a:p>
                      <a:pPr algn="l" fontAlgn="b"/>
                      <a:r>
                        <a:rPr lang="ru-RU" sz="1000" u="none" strike="noStrike">
                          <a:effectLst/>
                        </a:rPr>
                        <a:t> </a:t>
                      </a:r>
                      <a:endParaRPr lang="ru-RU" sz="1000" b="0" i="0" u="none" strike="noStrike">
                        <a:solidFill>
                          <a:srgbClr val="9C0006"/>
                        </a:solidFill>
                        <a:effectLst/>
                        <a:latin typeface="Calibri" panose="020F0502020204030204" pitchFamily="34" charset="0"/>
                      </a:endParaRPr>
                    </a:p>
                  </a:txBody>
                  <a:tcPr marL="8653" marR="8653" marT="8653" marB="0" anchor="b">
                    <a:lnB w="12700" cap="flat" cmpd="sng" algn="ctr">
                      <a:solidFill>
                        <a:schemeClr val="tx1"/>
                      </a:solidFill>
                      <a:prstDash val="solid"/>
                      <a:round/>
                      <a:headEnd type="none" w="med" len="med"/>
                      <a:tailEnd type="none" w="med" len="med"/>
                    </a:lnB>
                  </a:tcPr>
                </a:tc>
                <a:tc>
                  <a:txBody>
                    <a:bodyPr/>
                    <a:lstStyle/>
                    <a:p>
                      <a:pPr algn="r" fontAlgn="b"/>
                      <a:r>
                        <a:rPr lang="ru-RU" sz="1000" u="none" strike="noStrike">
                          <a:effectLst/>
                        </a:rPr>
                        <a:t>3</a:t>
                      </a:r>
                      <a:endParaRPr lang="ru-RU" sz="1000" b="0" i="0" u="none" strike="noStrike">
                        <a:solidFill>
                          <a:srgbClr val="9C0006"/>
                        </a:solidFill>
                        <a:effectLst/>
                        <a:latin typeface="Calibri" panose="020F0502020204030204" pitchFamily="34" charset="0"/>
                      </a:endParaRPr>
                    </a:p>
                  </a:txBody>
                  <a:tcPr marL="8653" marR="8653" marT="8653" marB="0" anchor="b">
                    <a:lnB w="12700" cap="flat" cmpd="sng" algn="ctr">
                      <a:solidFill>
                        <a:schemeClr val="tx1"/>
                      </a:solidFill>
                      <a:prstDash val="solid"/>
                      <a:round/>
                      <a:headEnd type="none" w="med" len="med"/>
                      <a:tailEnd type="none" w="med" len="med"/>
                    </a:lnB>
                  </a:tcPr>
                </a:tc>
                <a:tc>
                  <a:txBody>
                    <a:bodyPr/>
                    <a:lstStyle/>
                    <a:p>
                      <a:pPr algn="r" fontAlgn="b"/>
                      <a:r>
                        <a:rPr lang="ru-RU" sz="1000" u="none" strike="noStrike">
                          <a:effectLst/>
                        </a:rPr>
                        <a:t>12</a:t>
                      </a:r>
                      <a:endParaRPr lang="ru-RU" sz="1000" b="0" i="0" u="none" strike="noStrike">
                        <a:solidFill>
                          <a:srgbClr val="9C0006"/>
                        </a:solidFill>
                        <a:effectLst/>
                        <a:latin typeface="Calibri" panose="020F0502020204030204" pitchFamily="34" charset="0"/>
                      </a:endParaRPr>
                    </a:p>
                  </a:txBody>
                  <a:tcPr marL="8653" marR="8653" marT="8653" marB="0" anchor="b">
                    <a:lnB w="12700" cap="flat" cmpd="sng" algn="ctr">
                      <a:solidFill>
                        <a:schemeClr val="tx1"/>
                      </a:solidFill>
                      <a:prstDash val="solid"/>
                      <a:round/>
                      <a:headEnd type="none" w="med" len="med"/>
                      <a:tailEnd type="none" w="med" len="med"/>
                    </a:lnB>
                  </a:tcPr>
                </a:tc>
                <a:tc>
                  <a:txBody>
                    <a:bodyPr/>
                    <a:lstStyle/>
                    <a:p>
                      <a:pPr algn="r" fontAlgn="b"/>
                      <a:r>
                        <a:rPr lang="ru-RU" sz="1000" u="none" strike="noStrike">
                          <a:effectLst/>
                        </a:rPr>
                        <a:t>3</a:t>
                      </a:r>
                      <a:endParaRPr lang="ru-RU" sz="1000" b="0" i="0" u="none" strike="noStrike">
                        <a:solidFill>
                          <a:srgbClr val="9C0006"/>
                        </a:solidFill>
                        <a:effectLst/>
                        <a:latin typeface="Calibri" panose="020F0502020204030204" pitchFamily="34" charset="0"/>
                      </a:endParaRPr>
                    </a:p>
                  </a:txBody>
                  <a:tcPr marL="8653" marR="8653" marT="8653" marB="0" anchor="b">
                    <a:lnB w="12700" cap="flat" cmpd="sng" algn="ctr">
                      <a:solidFill>
                        <a:schemeClr val="tx1"/>
                      </a:solidFill>
                      <a:prstDash val="solid"/>
                      <a:round/>
                      <a:headEnd type="none" w="med" len="med"/>
                      <a:tailEnd type="none" w="med" len="med"/>
                    </a:lnB>
                  </a:tcPr>
                </a:tc>
                <a:tc>
                  <a:txBody>
                    <a:bodyPr/>
                    <a:lstStyle/>
                    <a:p>
                      <a:pPr algn="r" fontAlgn="b"/>
                      <a:r>
                        <a:rPr lang="ru-RU" sz="1000" u="none" strike="noStrike">
                          <a:effectLst/>
                        </a:rPr>
                        <a:t>1</a:t>
                      </a:r>
                      <a:endParaRPr lang="ru-RU" sz="1000" b="0" i="0" u="none" strike="noStrike">
                        <a:solidFill>
                          <a:srgbClr val="9C0006"/>
                        </a:solidFill>
                        <a:effectLst/>
                        <a:latin typeface="Calibri" panose="020F0502020204030204" pitchFamily="34" charset="0"/>
                      </a:endParaRPr>
                    </a:p>
                  </a:txBody>
                  <a:tcPr marL="8653" marR="8653" marT="8653" marB="0" anchor="b">
                    <a:lnB w="12700" cap="flat" cmpd="sng" algn="ctr">
                      <a:solidFill>
                        <a:schemeClr val="tx1"/>
                      </a:solidFill>
                      <a:prstDash val="solid"/>
                      <a:round/>
                      <a:headEnd type="none" w="med" len="med"/>
                      <a:tailEnd type="none" w="med" len="med"/>
                    </a:lnB>
                  </a:tcPr>
                </a:tc>
                <a:tc>
                  <a:txBody>
                    <a:bodyPr/>
                    <a:lstStyle/>
                    <a:p>
                      <a:pPr algn="l" fontAlgn="b"/>
                      <a:r>
                        <a:rPr lang="ru-RU" sz="1000" u="none" strike="noStrike">
                          <a:effectLst/>
                        </a:rPr>
                        <a:t> </a:t>
                      </a:r>
                      <a:endParaRPr lang="ru-RU" sz="1000" b="0" i="0" u="none" strike="noStrike">
                        <a:solidFill>
                          <a:srgbClr val="9C0006"/>
                        </a:solidFill>
                        <a:effectLst/>
                        <a:latin typeface="Calibri" panose="020F0502020204030204" pitchFamily="34" charset="0"/>
                      </a:endParaRPr>
                    </a:p>
                  </a:txBody>
                  <a:tcPr marL="8653" marR="8653" marT="8653" marB="0" anchor="b">
                    <a:lnB w="12700" cap="flat" cmpd="sng" algn="ctr">
                      <a:solidFill>
                        <a:schemeClr val="tx1"/>
                      </a:solidFill>
                      <a:prstDash val="solid"/>
                      <a:round/>
                      <a:headEnd type="none" w="med" len="med"/>
                      <a:tailEnd type="none" w="med" len="med"/>
                    </a:lnB>
                  </a:tcPr>
                </a:tc>
                <a:tc>
                  <a:txBody>
                    <a:bodyPr/>
                    <a:lstStyle/>
                    <a:p>
                      <a:pPr algn="l" fontAlgn="b"/>
                      <a:r>
                        <a:rPr lang="ru-RU" sz="1000" u="none" strike="noStrike" dirty="0">
                          <a:effectLst/>
                        </a:rPr>
                        <a:t> </a:t>
                      </a:r>
                      <a:endParaRPr lang="ru-RU" sz="1000" b="0" i="0" u="none" strike="noStrike" dirty="0">
                        <a:solidFill>
                          <a:srgbClr val="9C0006"/>
                        </a:solidFill>
                        <a:effectLst/>
                        <a:latin typeface="Calibri" panose="020F0502020204030204" pitchFamily="34" charset="0"/>
                      </a:endParaRPr>
                    </a:p>
                  </a:txBody>
                  <a:tcPr marL="8653" marR="8653" marT="8653" marB="0" anchor="b">
                    <a:lnB w="12700" cap="flat" cmpd="sng" algn="ctr">
                      <a:solidFill>
                        <a:schemeClr val="tx1"/>
                      </a:solidFill>
                      <a:prstDash val="solid"/>
                      <a:round/>
                      <a:headEnd type="none" w="med" len="med"/>
                      <a:tailEnd type="none" w="med" len="med"/>
                    </a:lnB>
                  </a:tcPr>
                </a:tc>
                <a:tc>
                  <a:txBody>
                    <a:bodyPr/>
                    <a:lstStyle/>
                    <a:p>
                      <a:pPr algn="l" fontAlgn="b"/>
                      <a:r>
                        <a:rPr lang="ru-RU" sz="1000" u="none" strike="noStrike">
                          <a:effectLst/>
                        </a:rPr>
                        <a:t> </a:t>
                      </a:r>
                      <a:endParaRPr lang="ru-RU" sz="1000" b="0" i="0" u="none" strike="noStrike">
                        <a:solidFill>
                          <a:srgbClr val="9C0006"/>
                        </a:solidFill>
                        <a:effectLst/>
                        <a:latin typeface="Calibri" panose="020F0502020204030204" pitchFamily="34" charset="0"/>
                      </a:endParaRPr>
                    </a:p>
                  </a:txBody>
                  <a:tcPr marL="8653" marR="8653" marT="8653" marB="0" anchor="b">
                    <a:lnB w="12700" cap="flat" cmpd="sng" algn="ctr">
                      <a:solidFill>
                        <a:schemeClr val="tx1"/>
                      </a:solidFill>
                      <a:prstDash val="solid"/>
                      <a:round/>
                      <a:headEnd type="none" w="med" len="med"/>
                      <a:tailEnd type="none" w="med" len="med"/>
                    </a:lnB>
                  </a:tcPr>
                </a:tc>
                <a:tc>
                  <a:txBody>
                    <a:bodyPr/>
                    <a:lstStyle/>
                    <a:p>
                      <a:pPr algn="ctr" fontAlgn="ctr"/>
                      <a:r>
                        <a:rPr lang="ru-RU" sz="1000" u="none" strike="noStrike" dirty="0">
                          <a:effectLst/>
                        </a:rPr>
                        <a:t>1,97</a:t>
                      </a:r>
                      <a:endParaRPr lang="ru-RU" sz="1000" b="0" i="0" u="none" strike="noStrike" dirty="0">
                        <a:solidFill>
                          <a:srgbClr val="9C0006"/>
                        </a:solidFill>
                        <a:effectLst/>
                        <a:latin typeface="Calibri" panose="020F0502020204030204" pitchFamily="34" charset="0"/>
                      </a:endParaRPr>
                    </a:p>
                  </a:txBody>
                  <a:tcPr marL="8653" marR="8653" marT="8653"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2">
                        <a:lumMod val="40000"/>
                        <a:lumOff val="60000"/>
                      </a:schemeClr>
                    </a:solidFill>
                  </a:tcPr>
                </a:tc>
                <a:extLst>
                  <a:ext uri="{0D108BD9-81ED-4DB2-BD59-A6C34878D82A}">
                    <a16:rowId xmlns:a16="http://schemas.microsoft.com/office/drawing/2014/main" val="694025264"/>
                  </a:ext>
                </a:extLst>
              </a:tr>
            </a:tbl>
          </a:graphicData>
        </a:graphic>
      </p:graphicFrame>
    </p:spTree>
    <p:extLst>
      <p:ext uri="{BB962C8B-B14F-4D97-AF65-F5344CB8AC3E}">
        <p14:creationId xmlns:p14="http://schemas.microsoft.com/office/powerpoint/2010/main" val="9709842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Рисунок 19"/>
          <p:cNvPicPr>
            <a:picLocks noChangeAspect="1"/>
          </p:cNvPicPr>
          <p:nvPr/>
        </p:nvPicPr>
        <p:blipFill rotWithShape="1">
          <a:blip r:embed="rId6" cstate="print">
            <a:extLst>
              <a:ext uri="{28A0092B-C50C-407E-A947-70E740481C1C}">
                <a14:useLocalDpi xmlns:a14="http://schemas.microsoft.com/office/drawing/2010/main" val="0"/>
              </a:ext>
            </a:extLst>
          </a:blip>
          <a:srcRect l="5984" t="5923" r="13397" b="9620"/>
          <a:stretch/>
        </p:blipFill>
        <p:spPr>
          <a:xfrm flipH="1">
            <a:off x="3942072" y="2067957"/>
            <a:ext cx="1141667" cy="1196033"/>
          </a:xfrm>
          <a:prstGeom prst="rect">
            <a:avLst/>
          </a:prstGeom>
        </p:spPr>
      </p:pic>
      <p:graphicFrame>
        <p:nvGraphicFramePr>
          <p:cNvPr id="2" name="Объект 1" hidden="1">
            <a:extLst>
              <a:ext uri="{FF2B5EF4-FFF2-40B4-BE49-F238E27FC236}">
                <a16:creationId xmlns:a16="http://schemas.microsoft.com/office/drawing/2014/main" id="{9F6A5ECB-6564-4A74-8F21-DDFC18BF4629}"/>
              </a:ext>
            </a:extLst>
          </p:cNvPr>
          <p:cNvGraphicFramePr>
            <a:graphicFrameLocks noChangeAspect="1"/>
          </p:cNvGraphicFramePr>
          <p:nvPr>
            <p:custDataLst>
              <p:tags r:id="rId2"/>
            </p:custDataLst>
            <p:extLst/>
          </p:nvPr>
        </p:nvGraphicFramePr>
        <p:xfrm>
          <a:off x="2615" y="2731"/>
          <a:ext cx="1679" cy="1679"/>
        </p:xfrm>
        <a:graphic>
          <a:graphicData uri="http://schemas.openxmlformats.org/presentationml/2006/ole">
            <mc:AlternateContent xmlns:mc="http://schemas.openxmlformats.org/markup-compatibility/2006">
              <mc:Choice xmlns:v="urn:schemas-microsoft-com:vml" Requires="v">
                <p:oleObj spid="_x0000_s8213" name="Слайд think-cell" r:id="rId7" imgW="270" imgH="270" progId="TCLayout.ActiveDocument.1">
                  <p:embed/>
                </p:oleObj>
              </mc:Choice>
              <mc:Fallback>
                <p:oleObj name="Слайд think-cell" r:id="rId7" imgW="270" imgH="270" progId="TCLayout.ActiveDocument.1">
                  <p:embed/>
                  <p:pic>
                    <p:nvPicPr>
                      <p:cNvPr id="2" name="Объект 1" hidden="1">
                        <a:extLst>
                          <a:ext uri="{FF2B5EF4-FFF2-40B4-BE49-F238E27FC236}">
                            <a16:creationId xmlns:a16="http://schemas.microsoft.com/office/drawing/2014/main" id="{9F6A5ECB-6564-4A74-8F21-DDFC18BF4629}"/>
                          </a:ext>
                        </a:extLst>
                      </p:cNvPr>
                      <p:cNvPicPr/>
                      <p:nvPr/>
                    </p:nvPicPr>
                    <p:blipFill>
                      <a:blip r:embed="rId8"/>
                      <a:stretch>
                        <a:fillRect/>
                      </a:stretch>
                    </p:blipFill>
                    <p:spPr>
                      <a:xfrm>
                        <a:off x="2615" y="2731"/>
                        <a:ext cx="1679" cy="1679"/>
                      </a:xfrm>
                      <a:prstGeom prst="rect">
                        <a:avLst/>
                      </a:prstGeom>
                    </p:spPr>
                  </p:pic>
                </p:oleObj>
              </mc:Fallback>
            </mc:AlternateContent>
          </a:graphicData>
        </a:graphic>
      </p:graphicFrame>
      <p:sp>
        <p:nvSpPr>
          <p:cNvPr id="3" name="Прямоугольник 2" hidden="1">
            <a:extLst>
              <a:ext uri="{FF2B5EF4-FFF2-40B4-BE49-F238E27FC236}">
                <a16:creationId xmlns:a16="http://schemas.microsoft.com/office/drawing/2014/main" id="{10680F9D-A981-4133-93A3-D60528F412AC}"/>
              </a:ext>
            </a:extLst>
          </p:cNvPr>
          <p:cNvSpPr/>
          <p:nvPr>
            <p:custDataLst>
              <p:tags r:id="rId3"/>
            </p:custDataLst>
          </p:nvPr>
        </p:nvSpPr>
        <p:spPr>
          <a:xfrm>
            <a:off x="934" y="1050"/>
            <a:ext cx="167955" cy="16795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967332">
              <a:defRPr/>
            </a:pPr>
            <a:endParaRPr lang="en-US" sz="1270" dirty="0" err="1">
              <a:solidFill>
                <a:srgbClr val="424242"/>
              </a:solidFill>
              <a:latin typeface="Verdana" panose="020B0604030504040204" pitchFamily="34" charset="0"/>
              <a:sym typeface="Verdana" panose="020B0604030504040204" pitchFamily="34" charset="0"/>
            </a:endParaRPr>
          </a:p>
        </p:txBody>
      </p:sp>
      <p:sp>
        <p:nvSpPr>
          <p:cNvPr id="4" name="Text Placeholder 3">
            <a:extLst>
              <a:ext uri="{FF2B5EF4-FFF2-40B4-BE49-F238E27FC236}">
                <a16:creationId xmlns:a16="http://schemas.microsoft.com/office/drawing/2014/main" id="{63656570-E48E-7D49-A33C-2775EEC4FEDC}"/>
              </a:ext>
            </a:extLst>
          </p:cNvPr>
          <p:cNvSpPr>
            <a:spLocks noGrp="1"/>
          </p:cNvSpPr>
          <p:nvPr>
            <p:ph type="body" sz="quarter" idx="14"/>
          </p:nvPr>
        </p:nvSpPr>
        <p:spPr>
          <a:xfrm>
            <a:off x="296371" y="394594"/>
            <a:ext cx="11327013" cy="521809"/>
          </a:xfrm>
        </p:spPr>
        <p:txBody>
          <a:bodyPr/>
          <a:lstStyle/>
          <a:p>
            <a:r>
              <a:rPr lang="ru-RU" sz="1058" dirty="0">
                <a:solidFill>
                  <a:schemeClr val="bg1"/>
                </a:solidFill>
              </a:rPr>
              <a:t>Профиль Аутсайдера                </a:t>
            </a:r>
            <a:r>
              <a:rPr lang="ru-RU" sz="1058" b="1" dirty="0">
                <a:solidFill>
                  <a:srgbClr val="C00000"/>
                </a:solidFill>
              </a:rPr>
              <a:t>    </a:t>
            </a:r>
          </a:p>
        </p:txBody>
      </p:sp>
      <p:sp>
        <p:nvSpPr>
          <p:cNvPr id="698" name="Прямоугольник 697"/>
          <p:cNvSpPr/>
          <p:nvPr/>
        </p:nvSpPr>
        <p:spPr>
          <a:xfrm>
            <a:off x="347090" y="3641429"/>
            <a:ext cx="11536019" cy="382301"/>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67332">
              <a:defRPr/>
            </a:pPr>
            <a:endParaRPr lang="ru-RU" sz="1480" dirty="0" err="1">
              <a:solidFill>
                <a:srgbClr val="424242"/>
              </a:solidFill>
              <a:latin typeface="Arial" charset="0"/>
              <a:ea typeface="Arial" charset="0"/>
              <a:cs typeface="Arial" charset="0"/>
            </a:endParaRPr>
          </a:p>
        </p:txBody>
      </p:sp>
      <p:sp>
        <p:nvSpPr>
          <p:cNvPr id="128" name="Текст 4">
            <a:extLst>
              <a:ext uri="{FF2B5EF4-FFF2-40B4-BE49-F238E27FC236}">
                <a16:creationId xmlns:a16="http://schemas.microsoft.com/office/drawing/2014/main" id="{4B580ABA-5942-45EC-A26A-57B5CB481C87}"/>
              </a:ext>
            </a:extLst>
          </p:cNvPr>
          <p:cNvSpPr txBox="1">
            <a:spLocks/>
          </p:cNvSpPr>
          <p:nvPr/>
        </p:nvSpPr>
        <p:spPr>
          <a:xfrm>
            <a:off x="10176101" y="6365258"/>
            <a:ext cx="1790393" cy="374046"/>
          </a:xfrm>
          <a:prstGeom prst="rect">
            <a:avLst/>
          </a:prstGeom>
        </p:spPr>
        <p:txBody>
          <a:bodyPr/>
          <a:lstStyle>
            <a:lvl1pPr marL="0" indent="0" algn="r" defTabSz="914400" rtl="0" eaLnBrk="1" latinLnBrk="0" hangingPunct="1">
              <a:spcBef>
                <a:spcPct val="20000"/>
              </a:spcBef>
              <a:buFontTx/>
              <a:buNone/>
              <a:defRPr sz="800" b="0" i="0" kern="120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67332">
              <a:defRPr/>
            </a:pPr>
            <a:r>
              <a:rPr lang="ru-RU" sz="845" dirty="0"/>
              <a:t>День безопасности ПО</a:t>
            </a:r>
          </a:p>
        </p:txBody>
      </p:sp>
      <p:sp>
        <p:nvSpPr>
          <p:cNvPr id="218" name="TextBox 217">
            <a:extLst>
              <a:ext uri="{FF2B5EF4-FFF2-40B4-BE49-F238E27FC236}">
                <a16:creationId xmlns:a16="http://schemas.microsoft.com/office/drawing/2014/main" id="{698AAB2B-F8E5-4C9E-92A4-DBD424AEA757}"/>
              </a:ext>
            </a:extLst>
          </p:cNvPr>
          <p:cNvSpPr txBox="1"/>
          <p:nvPr/>
        </p:nvSpPr>
        <p:spPr>
          <a:xfrm>
            <a:off x="8960278" y="1026370"/>
            <a:ext cx="2781474" cy="548099"/>
          </a:xfrm>
          <a:prstGeom prst="rect">
            <a:avLst/>
          </a:prstGeom>
          <a:noFill/>
          <a:ln>
            <a:solidFill>
              <a:schemeClr val="bg1"/>
            </a:solidFill>
          </a:ln>
        </p:spPr>
        <p:txBody>
          <a:bodyPr wrap="square" rtlCol="0">
            <a:spAutoFit/>
          </a:bodyPr>
          <a:lstStyle/>
          <a:p>
            <a:pPr algn="ctr" defTabSz="967332">
              <a:defRPr/>
            </a:pPr>
            <a:r>
              <a:rPr lang="ru-RU" sz="1481" b="1" dirty="0">
                <a:solidFill>
                  <a:srgbClr val="424242"/>
                </a:solidFill>
                <a:latin typeface="Verdana" panose="020B0604030504040204"/>
              </a:rPr>
              <a:t> выявление </a:t>
            </a:r>
            <a:r>
              <a:rPr lang="ru-RU" sz="1481" b="1" u="sng" dirty="0" smtClean="0">
                <a:solidFill>
                  <a:srgbClr val="C00000"/>
                </a:solidFill>
                <a:latin typeface="Verdana" panose="020B0604030504040204"/>
              </a:rPr>
              <a:t>Аутсайдеров</a:t>
            </a:r>
            <a:endParaRPr lang="ru-RU" sz="1693" b="1" dirty="0">
              <a:solidFill>
                <a:srgbClr val="424242"/>
              </a:solidFill>
              <a:latin typeface="Verdana" panose="020B0604030504040204"/>
            </a:endParaRPr>
          </a:p>
        </p:txBody>
      </p:sp>
      <p:sp>
        <p:nvSpPr>
          <p:cNvPr id="40" name="TextBox 39"/>
          <p:cNvSpPr txBox="1"/>
          <p:nvPr/>
        </p:nvSpPr>
        <p:spPr>
          <a:xfrm>
            <a:off x="519847" y="3686028"/>
            <a:ext cx="11363262" cy="287771"/>
          </a:xfrm>
          <a:prstGeom prst="rect">
            <a:avLst/>
          </a:prstGeom>
          <a:noFill/>
        </p:spPr>
        <p:txBody>
          <a:bodyPr wrap="square" rtlCol="0">
            <a:spAutoFit/>
          </a:bodyPr>
          <a:lstStyle/>
          <a:p>
            <a:pPr algn="ctr" defTabSz="967332">
              <a:defRPr/>
            </a:pPr>
            <a:r>
              <a:rPr lang="ru-RU" sz="1270" b="1" dirty="0">
                <a:solidFill>
                  <a:srgbClr val="424242"/>
                </a:solidFill>
                <a:latin typeface="Verdana" panose="020B0604030504040204"/>
              </a:rPr>
              <a:t>Создание профилей ПО на проблемные/отстающие </a:t>
            </a:r>
            <a:r>
              <a:rPr lang="ru-RU" sz="1270" b="1" u="sng" dirty="0">
                <a:solidFill>
                  <a:srgbClr val="C00000"/>
                </a:solidFill>
                <a:latin typeface="Verdana" panose="020B0604030504040204"/>
              </a:rPr>
              <a:t>подрядные организации</a:t>
            </a:r>
            <a:r>
              <a:rPr lang="ru-RU" sz="1270" b="1" dirty="0">
                <a:solidFill>
                  <a:srgbClr val="C00000"/>
                </a:solidFill>
                <a:latin typeface="Verdana" panose="020B0604030504040204"/>
              </a:rPr>
              <a:t>  </a:t>
            </a:r>
          </a:p>
        </p:txBody>
      </p:sp>
      <p:pic>
        <p:nvPicPr>
          <p:cNvPr id="8" name="Рисунок 7"/>
          <p:cNvPicPr>
            <a:picLocks noChangeAspect="1"/>
          </p:cNvPicPr>
          <p:nvPr/>
        </p:nvPicPr>
        <p:blipFill rotWithShape="1">
          <a:blip r:embed="rId9"/>
          <a:srcRect l="21793" t="19936" r="11371" b="12906"/>
          <a:stretch/>
        </p:blipFill>
        <p:spPr>
          <a:xfrm>
            <a:off x="5514301" y="4361639"/>
            <a:ext cx="3156915" cy="1922158"/>
          </a:xfrm>
          <a:prstGeom prst="rect">
            <a:avLst/>
          </a:prstGeom>
          <a:ln>
            <a:solidFill>
              <a:schemeClr val="bg1">
                <a:lumMod val="50000"/>
              </a:schemeClr>
            </a:solidFill>
          </a:ln>
        </p:spPr>
      </p:pic>
      <p:pic>
        <p:nvPicPr>
          <p:cNvPr id="11" name="Рисунок 10"/>
          <p:cNvPicPr>
            <a:picLocks noChangeAspect="1"/>
          </p:cNvPicPr>
          <p:nvPr/>
        </p:nvPicPr>
        <p:blipFill rotWithShape="1">
          <a:blip r:embed="rId10"/>
          <a:srcRect l="8844" t="18503" r="20527" b="22628"/>
          <a:stretch/>
        </p:blipFill>
        <p:spPr>
          <a:xfrm>
            <a:off x="8671216" y="4360147"/>
            <a:ext cx="3109675" cy="1923650"/>
          </a:xfrm>
          <a:prstGeom prst="rect">
            <a:avLst/>
          </a:prstGeom>
          <a:ln>
            <a:solidFill>
              <a:schemeClr val="bg1">
                <a:lumMod val="50000"/>
              </a:schemeClr>
            </a:solidFill>
          </a:ln>
        </p:spPr>
      </p:pic>
      <p:sp>
        <p:nvSpPr>
          <p:cNvPr id="5" name="Стрелка вправо 4"/>
          <p:cNvSpPr/>
          <p:nvPr/>
        </p:nvSpPr>
        <p:spPr>
          <a:xfrm>
            <a:off x="2948128" y="1160404"/>
            <a:ext cx="363701" cy="382803"/>
          </a:xfrm>
          <a:prstGeom prst="rightArrow">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084"/>
            <a:endParaRPr lang="ru-RU" sz="1481" dirty="0" err="1">
              <a:solidFill>
                <a:srgbClr val="424242"/>
              </a:solidFill>
              <a:latin typeface="Arial" charset="0"/>
              <a:ea typeface="Arial" charset="0"/>
              <a:cs typeface="Arial" charset="0"/>
            </a:endParaRPr>
          </a:p>
        </p:txBody>
      </p:sp>
      <p:pic>
        <p:nvPicPr>
          <p:cNvPr id="6" name="Рисунок 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5568" y="5113354"/>
            <a:ext cx="1419525" cy="1419525"/>
          </a:xfrm>
          <a:prstGeom prst="rect">
            <a:avLst/>
          </a:prstGeom>
        </p:spPr>
      </p:pic>
      <p:sp>
        <p:nvSpPr>
          <p:cNvPr id="12" name="Стрелка вправо 11"/>
          <p:cNvSpPr/>
          <p:nvPr/>
        </p:nvSpPr>
        <p:spPr>
          <a:xfrm>
            <a:off x="2581250" y="4440812"/>
            <a:ext cx="443998" cy="454383"/>
          </a:xfrm>
          <a:prstGeom prst="rightArrow">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084"/>
            <a:endParaRPr lang="ru-RU" sz="1481" dirty="0" err="1">
              <a:solidFill>
                <a:srgbClr val="424242"/>
              </a:solidFill>
              <a:latin typeface="Arial" charset="0"/>
              <a:ea typeface="Arial" charset="0"/>
              <a:cs typeface="Arial" charset="0"/>
            </a:endParaRPr>
          </a:p>
        </p:txBody>
      </p:sp>
      <p:sp>
        <p:nvSpPr>
          <p:cNvPr id="13" name="Стрелка вправо 12"/>
          <p:cNvSpPr/>
          <p:nvPr/>
        </p:nvSpPr>
        <p:spPr>
          <a:xfrm>
            <a:off x="4922910" y="5175285"/>
            <a:ext cx="464872" cy="489015"/>
          </a:xfrm>
          <a:prstGeom prst="rightArrow">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084"/>
            <a:endParaRPr lang="ru-RU" sz="1481" dirty="0" err="1">
              <a:solidFill>
                <a:srgbClr val="424242"/>
              </a:solidFill>
              <a:latin typeface="Arial" charset="0"/>
              <a:ea typeface="Arial" charset="0"/>
              <a:cs typeface="Arial" charset="0"/>
            </a:endParaRPr>
          </a:p>
        </p:txBody>
      </p:sp>
      <p:sp>
        <p:nvSpPr>
          <p:cNvPr id="9" name="TextBox 8"/>
          <p:cNvSpPr txBox="1"/>
          <p:nvPr/>
        </p:nvSpPr>
        <p:spPr>
          <a:xfrm>
            <a:off x="360915" y="713694"/>
            <a:ext cx="2520819" cy="1231747"/>
          </a:xfrm>
          <a:prstGeom prst="rect">
            <a:avLst/>
          </a:prstGeom>
          <a:noFill/>
          <a:ln>
            <a:solidFill>
              <a:schemeClr val="bg1"/>
            </a:solidFill>
          </a:ln>
        </p:spPr>
        <p:txBody>
          <a:bodyPr wrap="square" rtlCol="0">
            <a:spAutoFit/>
          </a:bodyPr>
          <a:lstStyle/>
          <a:p>
            <a:pPr defTabSz="1219084"/>
            <a:r>
              <a:rPr lang="ru-RU" sz="1481" b="1" dirty="0" smtClean="0">
                <a:solidFill>
                  <a:srgbClr val="424242"/>
                </a:solidFill>
                <a:latin typeface="Verdana" panose="020B0604030504040204"/>
              </a:rPr>
              <a:t>Оценка безопасности рабочего места по чек-листам супервайзера</a:t>
            </a:r>
            <a:endParaRPr lang="ru-RU" sz="1481" b="1" u="sng" dirty="0">
              <a:solidFill>
                <a:srgbClr val="C00000"/>
              </a:solidFill>
              <a:latin typeface="Verdana" panose="020B0604030504040204"/>
            </a:endParaRPr>
          </a:p>
        </p:txBody>
      </p:sp>
      <p:sp>
        <p:nvSpPr>
          <p:cNvPr id="14" name="TextBox 13"/>
          <p:cNvSpPr txBox="1"/>
          <p:nvPr/>
        </p:nvSpPr>
        <p:spPr>
          <a:xfrm>
            <a:off x="3365534" y="947388"/>
            <a:ext cx="2092070" cy="775982"/>
          </a:xfrm>
          <a:prstGeom prst="rect">
            <a:avLst/>
          </a:prstGeom>
          <a:noFill/>
          <a:ln>
            <a:solidFill>
              <a:schemeClr val="bg1"/>
            </a:solidFill>
          </a:ln>
        </p:spPr>
        <p:txBody>
          <a:bodyPr wrap="square" rtlCol="0">
            <a:spAutoFit/>
          </a:bodyPr>
          <a:lstStyle/>
          <a:p>
            <a:pPr defTabSz="1219084"/>
            <a:r>
              <a:rPr lang="ru-RU" sz="1481" b="1" dirty="0">
                <a:solidFill>
                  <a:srgbClr val="424242"/>
                </a:solidFill>
                <a:latin typeface="Verdana" panose="020B0604030504040204"/>
              </a:rPr>
              <a:t>Регистрация наблюдений в </a:t>
            </a:r>
            <a:r>
              <a:rPr lang="ru-RU" sz="1481" b="1" u="sng" dirty="0">
                <a:solidFill>
                  <a:srgbClr val="C00000"/>
                </a:solidFill>
                <a:latin typeface="Verdana" panose="020B0604030504040204"/>
              </a:rPr>
              <a:t>АСУБ</a:t>
            </a:r>
          </a:p>
        </p:txBody>
      </p:sp>
      <p:sp>
        <p:nvSpPr>
          <p:cNvPr id="15" name="TextBox 14"/>
          <p:cNvSpPr txBox="1"/>
          <p:nvPr/>
        </p:nvSpPr>
        <p:spPr>
          <a:xfrm>
            <a:off x="6021472" y="956191"/>
            <a:ext cx="2374938" cy="775982"/>
          </a:xfrm>
          <a:prstGeom prst="rect">
            <a:avLst/>
          </a:prstGeom>
          <a:noFill/>
          <a:ln>
            <a:solidFill>
              <a:schemeClr val="bg1"/>
            </a:solidFill>
          </a:ln>
        </p:spPr>
        <p:txBody>
          <a:bodyPr wrap="square" rtlCol="0">
            <a:spAutoFit/>
          </a:bodyPr>
          <a:lstStyle/>
          <a:p>
            <a:pPr defTabSz="1219084"/>
            <a:r>
              <a:rPr lang="ru-RU" sz="1481" b="1" dirty="0">
                <a:solidFill>
                  <a:srgbClr val="424242"/>
                </a:solidFill>
                <a:latin typeface="Verdana" panose="020B0604030504040204"/>
              </a:rPr>
              <a:t>Расчёт </a:t>
            </a:r>
            <a:r>
              <a:rPr lang="ru-RU" sz="1481" b="1" dirty="0">
                <a:solidFill>
                  <a:srgbClr val="C00000"/>
                </a:solidFill>
                <a:latin typeface="Verdana" panose="020B0604030504040204"/>
              </a:rPr>
              <a:t>коэффициента</a:t>
            </a:r>
            <a:r>
              <a:rPr lang="ru-RU" sz="1481" b="1" dirty="0">
                <a:solidFill>
                  <a:srgbClr val="424242"/>
                </a:solidFill>
                <a:latin typeface="Verdana" panose="020B0604030504040204"/>
              </a:rPr>
              <a:t> безопасности работ </a:t>
            </a:r>
          </a:p>
        </p:txBody>
      </p:sp>
      <p:sp>
        <p:nvSpPr>
          <p:cNvPr id="16" name="Стрелка вправо 15"/>
          <p:cNvSpPr/>
          <p:nvPr/>
        </p:nvSpPr>
        <p:spPr>
          <a:xfrm>
            <a:off x="5543279" y="1184769"/>
            <a:ext cx="380974" cy="380974"/>
          </a:xfrm>
          <a:prstGeom prst="rightArrow">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084"/>
            <a:endParaRPr lang="ru-RU" sz="1481" dirty="0" err="1">
              <a:solidFill>
                <a:srgbClr val="424242"/>
              </a:solidFill>
              <a:latin typeface="Arial" charset="0"/>
              <a:ea typeface="Arial" charset="0"/>
              <a:cs typeface="Arial" charset="0"/>
            </a:endParaRPr>
          </a:p>
        </p:txBody>
      </p:sp>
      <p:sp>
        <p:nvSpPr>
          <p:cNvPr id="17" name="Стрелка вправо 16"/>
          <p:cNvSpPr/>
          <p:nvPr/>
        </p:nvSpPr>
        <p:spPr>
          <a:xfrm>
            <a:off x="8493630" y="1160404"/>
            <a:ext cx="355173" cy="405339"/>
          </a:xfrm>
          <a:prstGeom prst="rightArrow">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084"/>
            <a:endParaRPr lang="ru-RU" sz="1481" dirty="0" err="1">
              <a:solidFill>
                <a:srgbClr val="424242"/>
              </a:solidFill>
              <a:latin typeface="Arial" charset="0"/>
              <a:ea typeface="Arial" charset="0"/>
              <a:cs typeface="Arial" charset="0"/>
            </a:endParaRPr>
          </a:p>
        </p:txBody>
      </p:sp>
      <p:pic>
        <p:nvPicPr>
          <p:cNvPr id="18" name="Рисунок 17"/>
          <p:cNvPicPr>
            <a:picLocks noChangeAspect="1"/>
          </p:cNvPicPr>
          <p:nvPr/>
        </p:nvPicPr>
        <p:blipFill>
          <a:blip r:embed="rId12" cstate="print">
            <a:extLst>
              <a:ext uri="{BEBA8EAE-BF5A-486C-A8C5-ECC9F3942E4B}">
                <a14:imgProps xmlns:a14="http://schemas.microsoft.com/office/drawing/2010/main">
                  <a14:imgLayer r:embed="rId13">
                    <a14:imgEffect>
                      <a14:backgroundRemoval t="7404" b="90000" l="10000" r="90577"/>
                    </a14:imgEffect>
                  </a14:imgLayer>
                </a14:imgProps>
              </a:ext>
              <a:ext uri="{28A0092B-C50C-407E-A947-70E740481C1C}">
                <a14:useLocalDpi xmlns:a14="http://schemas.microsoft.com/office/drawing/2010/main" val="0"/>
              </a:ext>
            </a:extLst>
          </a:blip>
          <a:stretch>
            <a:fillRect/>
          </a:stretch>
        </p:blipFill>
        <p:spPr>
          <a:xfrm>
            <a:off x="2826725" y="5142453"/>
            <a:ext cx="2257015" cy="1504677"/>
          </a:xfrm>
          <a:prstGeom prst="rect">
            <a:avLst/>
          </a:prstGeom>
        </p:spPr>
      </p:pic>
      <p:pic>
        <p:nvPicPr>
          <p:cNvPr id="19" name="Рисунок 18"/>
          <p:cNvPicPr>
            <a:picLocks noChangeAspect="1"/>
          </p:cNvPicPr>
          <p:nvPr/>
        </p:nvPicPr>
        <p:blipFill>
          <a:blip r:embed="rId14" cstate="print">
            <a:extLst>
              <a:ext uri="{BEBA8EAE-BF5A-486C-A8C5-ECC9F3942E4B}">
                <a14:imgProps xmlns:a14="http://schemas.microsoft.com/office/drawing/2010/main">
                  <a14:imgLayer r:embed="rId15">
                    <a14:imgEffect>
                      <a14:backgroundRemoval t="2391" b="96848" l="18370" r="86957">
                        <a14:foregroundMark x1="75543" y1="16957" x2="75543" y2="16957"/>
                        <a14:foregroundMark x1="75543" y1="11522" x2="75543" y2="11522"/>
                        <a14:foregroundMark x1="32717" y1="28370" x2="32717" y2="28370"/>
                      </a14:backgroundRemoval>
                    </a14:imgEffect>
                  </a14:imgLayer>
                </a14:imgProps>
              </a:ext>
              <a:ext uri="{28A0092B-C50C-407E-A947-70E740481C1C}">
                <a14:useLocalDpi xmlns:a14="http://schemas.microsoft.com/office/drawing/2010/main" val="0"/>
              </a:ext>
            </a:extLst>
          </a:blip>
          <a:stretch>
            <a:fillRect/>
          </a:stretch>
        </p:blipFill>
        <p:spPr>
          <a:xfrm flipH="1">
            <a:off x="1098303" y="2095622"/>
            <a:ext cx="1144565" cy="1144565"/>
          </a:xfrm>
          <a:prstGeom prst="rect">
            <a:avLst/>
          </a:prstGeom>
        </p:spPr>
      </p:pic>
      <p:pic>
        <p:nvPicPr>
          <p:cNvPr id="21" name="Рисунок 20"/>
          <p:cNvPicPr>
            <a:picLocks noChangeAspect="1"/>
          </p:cNvPicPr>
          <p:nvPr/>
        </p:nvPicPr>
        <p:blipFill rotWithShape="1">
          <a:blip r:embed="rId16" cstate="print">
            <a:extLst>
              <a:ext uri="{28A0092B-C50C-407E-A947-70E740481C1C}">
                <a14:useLocalDpi xmlns:a14="http://schemas.microsoft.com/office/drawing/2010/main" val="0"/>
              </a:ext>
            </a:extLst>
          </a:blip>
          <a:srcRect l="11540" t="6552" r="18454" b="11442"/>
          <a:stretch/>
        </p:blipFill>
        <p:spPr>
          <a:xfrm>
            <a:off x="6734030" y="1985564"/>
            <a:ext cx="1109036" cy="1299156"/>
          </a:xfrm>
          <a:prstGeom prst="rect">
            <a:avLst/>
          </a:prstGeom>
        </p:spPr>
      </p:pic>
      <p:pic>
        <p:nvPicPr>
          <p:cNvPr id="22" name="Рисунок 2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493357" y="1854301"/>
            <a:ext cx="1623177" cy="1516180"/>
          </a:xfrm>
          <a:prstGeom prst="rect">
            <a:avLst/>
          </a:prstGeom>
        </p:spPr>
      </p:pic>
      <p:sp>
        <p:nvSpPr>
          <p:cNvPr id="23" name="TextBox 22"/>
          <p:cNvSpPr txBox="1"/>
          <p:nvPr/>
        </p:nvSpPr>
        <p:spPr>
          <a:xfrm>
            <a:off x="947678" y="4368011"/>
            <a:ext cx="1583168" cy="678647"/>
          </a:xfrm>
          <a:prstGeom prst="rect">
            <a:avLst/>
          </a:prstGeom>
          <a:noFill/>
          <a:ln>
            <a:solidFill>
              <a:schemeClr val="bg1"/>
            </a:solidFill>
          </a:ln>
        </p:spPr>
        <p:txBody>
          <a:bodyPr wrap="square" rtlCol="0">
            <a:spAutoFit/>
          </a:bodyPr>
          <a:lstStyle/>
          <a:p>
            <a:pPr algn="ctr" defTabSz="1219084"/>
            <a:r>
              <a:rPr lang="ru-RU" sz="1270" b="1" dirty="0">
                <a:solidFill>
                  <a:srgbClr val="424242"/>
                </a:solidFill>
                <a:latin typeface="Verdana" panose="020B0604030504040204"/>
              </a:rPr>
              <a:t>Оповещение руководящего состава ПО</a:t>
            </a:r>
          </a:p>
        </p:txBody>
      </p:sp>
      <p:sp>
        <p:nvSpPr>
          <p:cNvPr id="30" name="TextBox 29"/>
          <p:cNvSpPr txBox="1"/>
          <p:nvPr/>
        </p:nvSpPr>
        <p:spPr>
          <a:xfrm>
            <a:off x="3120029" y="4521452"/>
            <a:ext cx="1728975" cy="287771"/>
          </a:xfrm>
          <a:prstGeom prst="rect">
            <a:avLst/>
          </a:prstGeom>
          <a:noFill/>
          <a:ln>
            <a:solidFill>
              <a:schemeClr val="bg1"/>
            </a:solidFill>
          </a:ln>
        </p:spPr>
        <p:txBody>
          <a:bodyPr wrap="square" rtlCol="0">
            <a:spAutoFit/>
          </a:bodyPr>
          <a:lstStyle/>
          <a:p>
            <a:pPr algn="ctr" defTabSz="1219084"/>
            <a:r>
              <a:rPr lang="ru-RU" sz="1270" b="1" dirty="0">
                <a:solidFill>
                  <a:srgbClr val="424242"/>
                </a:solidFill>
                <a:latin typeface="Verdana" panose="020B0604030504040204"/>
              </a:rPr>
              <a:t>Встреча</a:t>
            </a:r>
          </a:p>
        </p:txBody>
      </p:sp>
      <p:sp>
        <p:nvSpPr>
          <p:cNvPr id="7" name="Стрелка вниз 6"/>
          <p:cNvSpPr/>
          <p:nvPr/>
        </p:nvSpPr>
        <p:spPr>
          <a:xfrm>
            <a:off x="11353437" y="1985564"/>
            <a:ext cx="460667" cy="1381774"/>
          </a:xfrm>
          <a:prstGeom prst="downArrow">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084"/>
            <a:endParaRPr lang="ru-RU" sz="1481" dirty="0" err="1">
              <a:solidFill>
                <a:srgbClr val="424242"/>
              </a:solidFill>
              <a:latin typeface="Arial" charset="0"/>
              <a:ea typeface="Arial" charset="0"/>
              <a:cs typeface="Arial" charset="0"/>
            </a:endParaRPr>
          </a:p>
        </p:txBody>
      </p:sp>
      <p:sp>
        <p:nvSpPr>
          <p:cNvPr id="10" name="Стрелка вправо 9"/>
          <p:cNvSpPr/>
          <p:nvPr/>
        </p:nvSpPr>
        <p:spPr>
          <a:xfrm>
            <a:off x="445478" y="4467640"/>
            <a:ext cx="468825" cy="445350"/>
          </a:xfrm>
          <a:prstGeom prst="rightArrow">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084"/>
            <a:endParaRPr lang="ru-RU" sz="1481" dirty="0" err="1">
              <a:solidFill>
                <a:srgbClr val="424242"/>
              </a:solidFill>
              <a:latin typeface="Arial" charset="0"/>
              <a:ea typeface="Arial" charset="0"/>
              <a:cs typeface="Arial" charset="0"/>
            </a:endParaRPr>
          </a:p>
        </p:txBody>
      </p:sp>
      <p:sp>
        <p:nvSpPr>
          <p:cNvPr id="24" name="Прямоугольник 23"/>
          <p:cNvSpPr/>
          <p:nvPr/>
        </p:nvSpPr>
        <p:spPr>
          <a:xfrm>
            <a:off x="347091" y="4143847"/>
            <a:ext cx="224450" cy="657816"/>
          </a:xfrm>
          <a:prstGeom prst="rect">
            <a:avLst/>
          </a:pr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084"/>
            <a:endParaRPr lang="ru-RU" sz="1481" dirty="0" err="1">
              <a:solidFill>
                <a:srgbClr val="424242"/>
              </a:solidFill>
              <a:latin typeface="Arial" charset="0"/>
              <a:ea typeface="Arial" charset="0"/>
              <a:cs typeface="Arial" charset="0"/>
            </a:endParaRPr>
          </a:p>
        </p:txBody>
      </p:sp>
    </p:spTree>
    <p:extLst>
      <p:ext uri="{BB962C8B-B14F-4D97-AF65-F5344CB8AC3E}">
        <p14:creationId xmlns:p14="http://schemas.microsoft.com/office/powerpoint/2010/main" val="54036355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512AF0A-9D74-2A4A-ACA5-D89233384566}"/>
              </a:ext>
            </a:extLst>
          </p:cNvPr>
          <p:cNvSpPr>
            <a:spLocks noGrp="1"/>
          </p:cNvSpPr>
          <p:nvPr>
            <p:ph type="body" sz="quarter" idx="14"/>
          </p:nvPr>
        </p:nvSpPr>
        <p:spPr>
          <a:xfrm>
            <a:off x="807256" y="507205"/>
            <a:ext cx="5006451" cy="288037"/>
          </a:xfrm>
        </p:spPr>
        <p:txBody>
          <a:bodyPr/>
          <a:lstStyle/>
          <a:p>
            <a:r>
              <a:rPr lang="ru-RU" sz="1270" b="1" dirty="0">
                <a:solidFill>
                  <a:schemeClr val="bg1">
                    <a:lumMod val="60000"/>
                    <a:lumOff val="40000"/>
                  </a:schemeClr>
                </a:solidFill>
              </a:rPr>
              <a:t>Комитет по работе с подрядными организациями</a:t>
            </a:r>
            <a:endParaRPr lang="x-none" sz="1270" b="1" dirty="0">
              <a:solidFill>
                <a:schemeClr val="bg1">
                  <a:lumMod val="60000"/>
                  <a:lumOff val="40000"/>
                </a:schemeClr>
              </a:solidFill>
            </a:endParaRPr>
          </a:p>
        </p:txBody>
      </p:sp>
      <p:pic>
        <p:nvPicPr>
          <p:cNvPr id="8" name="Рисунок 7"/>
          <p:cNvPicPr>
            <a:picLocks noChangeAspect="1"/>
          </p:cNvPicPr>
          <p:nvPr/>
        </p:nvPicPr>
        <p:blipFill rotWithShape="1">
          <a:blip r:embed="rId3">
            <a:lum bright="70000" contrast="-70000"/>
            <a:extLst>
              <a:ext uri="{28A0092B-C50C-407E-A947-70E740481C1C}">
                <a14:useLocalDpi xmlns:a14="http://schemas.microsoft.com/office/drawing/2010/main" val="0"/>
              </a:ext>
            </a:extLst>
          </a:blip>
          <a:srcRect l="34212" t="53586" r="53285" b="27235"/>
          <a:stretch/>
        </p:blipFill>
        <p:spPr>
          <a:xfrm>
            <a:off x="257608" y="394722"/>
            <a:ext cx="549649" cy="513006"/>
          </a:xfrm>
          <a:prstGeom prst="rect">
            <a:avLst/>
          </a:prstGeom>
        </p:spPr>
      </p:pic>
      <p:sp>
        <p:nvSpPr>
          <p:cNvPr id="7" name="TextBox 6">
            <a:extLst>
              <a:ext uri="{FF2B5EF4-FFF2-40B4-BE49-F238E27FC236}">
                <a16:creationId xmlns:a16="http://schemas.microsoft.com/office/drawing/2014/main" id="{09754AE5-74B0-4649-A990-5140B14F3BFC}"/>
              </a:ext>
            </a:extLst>
          </p:cNvPr>
          <p:cNvSpPr txBox="1"/>
          <p:nvPr/>
        </p:nvSpPr>
        <p:spPr>
          <a:xfrm>
            <a:off x="619731" y="899644"/>
            <a:ext cx="6222849" cy="385490"/>
          </a:xfrm>
          <a:prstGeom prst="rect">
            <a:avLst/>
          </a:prstGeom>
          <a:noFill/>
        </p:spPr>
        <p:txBody>
          <a:bodyPr wrap="square" rtlCol="0">
            <a:spAutoFit/>
          </a:bodyPr>
          <a:lstStyle/>
          <a:p>
            <a:pPr defTabSz="967332">
              <a:defRPr/>
            </a:pPr>
            <a:r>
              <a:rPr lang="ru-RU" sz="1905" b="1" dirty="0">
                <a:solidFill>
                  <a:srgbClr val="424242"/>
                </a:solidFill>
                <a:latin typeface="Verdana" panose="020B0604030504040204"/>
              </a:rPr>
              <a:t>Рейтинг подрядных организаций</a:t>
            </a:r>
          </a:p>
        </p:txBody>
      </p:sp>
      <p:sp>
        <p:nvSpPr>
          <p:cNvPr id="13" name="Text Placeholder 4">
            <a:extLst>
              <a:ext uri="{FF2B5EF4-FFF2-40B4-BE49-F238E27FC236}">
                <a16:creationId xmlns:a16="http://schemas.microsoft.com/office/drawing/2014/main" id="{B55A3CF3-1A1E-441B-9FBC-32F21D06A2C9}"/>
              </a:ext>
            </a:extLst>
          </p:cNvPr>
          <p:cNvSpPr txBox="1">
            <a:spLocks/>
          </p:cNvSpPr>
          <p:nvPr/>
        </p:nvSpPr>
        <p:spPr>
          <a:xfrm>
            <a:off x="10145603" y="6318916"/>
            <a:ext cx="1790393" cy="374046"/>
          </a:xfrm>
          <a:prstGeom prst="rect">
            <a:avLst/>
          </a:prstGeom>
        </p:spPr>
        <p:txBody>
          <a:bodyPr/>
          <a:lstStyle>
            <a:lvl1pPr marL="0" indent="0" algn="r" defTabSz="914400" rtl="0" eaLnBrk="1" latinLnBrk="0" hangingPunct="1">
              <a:spcBef>
                <a:spcPct val="20000"/>
              </a:spcBef>
              <a:buFontTx/>
              <a:buNone/>
              <a:defRPr sz="800" b="0" i="0" kern="120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67332">
              <a:defRPr/>
            </a:pPr>
            <a:r>
              <a:rPr lang="ru-RU" sz="845" dirty="0"/>
              <a:t>День безопасности</a:t>
            </a:r>
            <a:r>
              <a:rPr lang="en-US" sz="845" dirty="0"/>
              <a:t> </a:t>
            </a:r>
            <a:r>
              <a:rPr lang="ru-RU" sz="845" dirty="0"/>
              <a:t>труда с подрядными организациями</a:t>
            </a:r>
          </a:p>
        </p:txBody>
      </p:sp>
      <p:pic>
        <p:nvPicPr>
          <p:cNvPr id="3" name="Рисунок 2" descr="Вырезка экрана"/>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6174" y="1367572"/>
            <a:ext cx="9332240" cy="5033840"/>
          </a:xfrm>
          <a:prstGeom prst="rect">
            <a:avLst/>
          </a:prstGeom>
        </p:spPr>
      </p:pic>
      <p:sp>
        <p:nvSpPr>
          <p:cNvPr id="4" name="Овал 3"/>
          <p:cNvSpPr/>
          <p:nvPr/>
        </p:nvSpPr>
        <p:spPr>
          <a:xfrm>
            <a:off x="7848479" y="6019622"/>
            <a:ext cx="1371505" cy="299295"/>
          </a:xfrm>
          <a:prstGeom prst="ellipse">
            <a:avLst/>
          </a:prstGeom>
          <a:noFill/>
          <a:ln/>
        </p:spPr>
        <p:style>
          <a:lnRef idx="2">
            <a:schemeClr val="accent3"/>
          </a:lnRef>
          <a:fillRef idx="1">
            <a:schemeClr val="lt1"/>
          </a:fillRef>
          <a:effectRef idx="0">
            <a:schemeClr val="accent3"/>
          </a:effectRef>
          <a:fontRef idx="minor">
            <a:schemeClr val="dk1"/>
          </a:fontRef>
        </p:style>
        <p:txBody>
          <a:bodyPr lIns="0" tIns="0" rIns="0" bIns="0" rtlCol="0" anchor="ctr"/>
          <a:lstStyle/>
          <a:p>
            <a:pPr algn="ctr" defTabSz="1219084"/>
            <a:endParaRPr lang="ru-RU" sz="1481" dirty="0" err="1">
              <a:solidFill>
                <a:srgbClr val="424242"/>
              </a:solidFill>
              <a:latin typeface="Arial" charset="0"/>
              <a:ea typeface="Arial" charset="0"/>
              <a:cs typeface="Arial" charset="0"/>
            </a:endParaRPr>
          </a:p>
        </p:txBody>
      </p:sp>
    </p:spTree>
    <p:extLst>
      <p:ext uri="{BB962C8B-B14F-4D97-AF65-F5344CB8AC3E}">
        <p14:creationId xmlns:p14="http://schemas.microsoft.com/office/powerpoint/2010/main" val="2348917233"/>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Текст 8">
            <a:extLst>
              <a:ext uri="{FF2B5EF4-FFF2-40B4-BE49-F238E27FC236}">
                <a16:creationId xmlns:a16="http://schemas.microsoft.com/office/drawing/2014/main" id="{A1584F74-92CE-481B-9F91-C1014731D164}"/>
              </a:ext>
            </a:extLst>
          </p:cNvPr>
          <p:cNvSpPr>
            <a:spLocks noGrp="1"/>
          </p:cNvSpPr>
          <p:nvPr>
            <p:ph type="body" sz="quarter" idx="11"/>
          </p:nvPr>
        </p:nvSpPr>
        <p:spPr>
          <a:xfrm>
            <a:off x="2820128" y="2743182"/>
            <a:ext cx="11493895" cy="914369"/>
          </a:xfrm>
        </p:spPr>
        <p:txBody>
          <a:bodyPr>
            <a:noAutofit/>
          </a:bodyPr>
          <a:lstStyle/>
          <a:p>
            <a:r>
              <a:rPr lang="ru-RU" sz="3385" b="1" dirty="0">
                <a:solidFill>
                  <a:srgbClr val="C00000"/>
                </a:solidFill>
              </a:rPr>
              <a:t>Комитет по работе с подрядными организациями</a:t>
            </a:r>
          </a:p>
        </p:txBody>
      </p:sp>
      <p:pic>
        <p:nvPicPr>
          <p:cNvPr id="6" name="Рисунок 5"/>
          <p:cNvPicPr>
            <a:picLocks noChangeAspect="1"/>
          </p:cNvPicPr>
          <p:nvPr/>
        </p:nvPicPr>
        <p:blipFill rotWithShape="1">
          <a:blip r:embed="rId3" cstate="print">
            <a:extLst>
              <a:ext uri="{28A0092B-C50C-407E-A947-70E740481C1C}">
                <a14:useLocalDpi xmlns:a14="http://schemas.microsoft.com/office/drawing/2010/main" val="0"/>
              </a:ext>
            </a:extLst>
          </a:blip>
          <a:srcRect l="16084" r="16993"/>
          <a:stretch/>
        </p:blipFill>
        <p:spPr>
          <a:xfrm>
            <a:off x="609979" y="2514663"/>
            <a:ext cx="1869738" cy="1676316"/>
          </a:xfrm>
          <a:prstGeom prst="rect">
            <a:avLst/>
          </a:prstGeom>
        </p:spPr>
      </p:pic>
      <p:sp>
        <p:nvSpPr>
          <p:cNvPr id="5" name="Text Placeholder 4">
            <a:extLst>
              <a:ext uri="{FF2B5EF4-FFF2-40B4-BE49-F238E27FC236}">
                <a16:creationId xmlns:a16="http://schemas.microsoft.com/office/drawing/2014/main" id="{B55A3CF3-1A1E-441B-9FBC-32F21D06A2C9}"/>
              </a:ext>
            </a:extLst>
          </p:cNvPr>
          <p:cNvSpPr txBox="1">
            <a:spLocks/>
          </p:cNvSpPr>
          <p:nvPr/>
        </p:nvSpPr>
        <p:spPr>
          <a:xfrm>
            <a:off x="10146222" y="6319358"/>
            <a:ext cx="1790667" cy="374103"/>
          </a:xfrm>
          <a:prstGeom prst="rect">
            <a:avLst/>
          </a:prstGeom>
        </p:spPr>
        <p:txBody>
          <a:bodyPr/>
          <a:lstStyle>
            <a:lvl1pPr marL="0" indent="0" algn="r" defTabSz="914400" rtl="0" eaLnBrk="1" latinLnBrk="0" hangingPunct="1">
              <a:spcBef>
                <a:spcPct val="20000"/>
              </a:spcBef>
              <a:buFontTx/>
              <a:buNone/>
              <a:defRPr sz="800" b="0" i="0" kern="120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67527">
              <a:defRPr/>
            </a:pPr>
            <a:r>
              <a:rPr lang="ru-RU" sz="846" dirty="0"/>
              <a:t>День безопасности труда с подрядными организациями</a:t>
            </a:r>
          </a:p>
        </p:txBody>
      </p:sp>
    </p:spTree>
    <p:extLst>
      <p:ext uri="{BB962C8B-B14F-4D97-AF65-F5344CB8AC3E}">
        <p14:creationId xmlns:p14="http://schemas.microsoft.com/office/powerpoint/2010/main" val="1622401162"/>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512AF0A-9D74-2A4A-ACA5-D89233384566}"/>
              </a:ext>
            </a:extLst>
          </p:cNvPr>
          <p:cNvSpPr>
            <a:spLocks noGrp="1"/>
          </p:cNvSpPr>
          <p:nvPr>
            <p:ph type="body" sz="quarter" idx="14"/>
          </p:nvPr>
        </p:nvSpPr>
        <p:spPr>
          <a:xfrm>
            <a:off x="807256" y="507205"/>
            <a:ext cx="5006451" cy="288037"/>
          </a:xfrm>
        </p:spPr>
        <p:txBody>
          <a:bodyPr/>
          <a:lstStyle/>
          <a:p>
            <a:r>
              <a:rPr lang="ru-RU" sz="1270" b="1" dirty="0">
                <a:solidFill>
                  <a:schemeClr val="bg1">
                    <a:lumMod val="60000"/>
                    <a:lumOff val="40000"/>
                  </a:schemeClr>
                </a:solidFill>
              </a:rPr>
              <a:t>Комитет по работе с подрядными организациями</a:t>
            </a:r>
            <a:endParaRPr lang="x-none" sz="1270" b="1" dirty="0">
              <a:solidFill>
                <a:schemeClr val="bg1">
                  <a:lumMod val="60000"/>
                  <a:lumOff val="40000"/>
                </a:schemeClr>
              </a:solidFill>
            </a:endParaRPr>
          </a:p>
        </p:txBody>
      </p:sp>
      <p:pic>
        <p:nvPicPr>
          <p:cNvPr id="8" name="Рисунок 7"/>
          <p:cNvPicPr>
            <a:picLocks noChangeAspect="1"/>
          </p:cNvPicPr>
          <p:nvPr/>
        </p:nvPicPr>
        <p:blipFill rotWithShape="1">
          <a:blip r:embed="rId3">
            <a:lum bright="70000" contrast="-70000"/>
            <a:extLst>
              <a:ext uri="{28A0092B-C50C-407E-A947-70E740481C1C}">
                <a14:useLocalDpi xmlns:a14="http://schemas.microsoft.com/office/drawing/2010/main" val="0"/>
              </a:ext>
            </a:extLst>
          </a:blip>
          <a:srcRect l="34212" t="53586" r="53285" b="27235"/>
          <a:stretch/>
        </p:blipFill>
        <p:spPr>
          <a:xfrm>
            <a:off x="257608" y="394722"/>
            <a:ext cx="549649" cy="513006"/>
          </a:xfrm>
          <a:prstGeom prst="rect">
            <a:avLst/>
          </a:prstGeom>
        </p:spPr>
      </p:pic>
      <p:pic>
        <p:nvPicPr>
          <p:cNvPr id="31" name="Picture 4">
            <a:extLst>
              <a:ext uri="{FF2B5EF4-FFF2-40B4-BE49-F238E27FC236}">
                <a16:creationId xmlns:a16="http://schemas.microsoft.com/office/drawing/2014/main" id="{AA3ACD4D-CA84-4802-877C-8D9A3FBBF141}"/>
              </a:ext>
            </a:extLst>
          </p:cNvPr>
          <p:cNvPicPr>
            <a:picLocks noChangeAspect="1" noChangeArrowheads="1"/>
          </p:cNvPicPr>
          <p:nvPr/>
        </p:nvPicPr>
        <p:blipFill>
          <a:blip r:embed="rId4" cstate="print">
            <a:lum bright="70000" contrast="-70000"/>
            <a:extLst>
              <a:ext uri="{28A0092B-C50C-407E-A947-70E740481C1C}">
                <a14:useLocalDpi xmlns:a14="http://schemas.microsoft.com/office/drawing/2010/main" val="0"/>
              </a:ext>
            </a:extLst>
          </a:blip>
          <a:srcRect/>
          <a:stretch>
            <a:fillRect/>
          </a:stretch>
        </p:blipFill>
        <p:spPr bwMode="auto">
          <a:xfrm>
            <a:off x="9422276" y="4239820"/>
            <a:ext cx="2123175" cy="2123175"/>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716F8D37-A131-4FA4-BE45-E8BFC104909F}"/>
              </a:ext>
            </a:extLst>
          </p:cNvPr>
          <p:cNvSpPr txBox="1"/>
          <p:nvPr/>
        </p:nvSpPr>
        <p:spPr>
          <a:xfrm>
            <a:off x="622673" y="1085041"/>
            <a:ext cx="7533170" cy="385490"/>
          </a:xfrm>
          <a:prstGeom prst="rect">
            <a:avLst/>
          </a:prstGeom>
          <a:noFill/>
        </p:spPr>
        <p:txBody>
          <a:bodyPr wrap="square" rtlCol="0">
            <a:spAutoFit/>
          </a:bodyPr>
          <a:lstStyle/>
          <a:p>
            <a:pPr defTabSz="967332">
              <a:defRPr/>
            </a:pPr>
            <a:r>
              <a:rPr lang="ru-RU" sz="1905" b="1" dirty="0">
                <a:solidFill>
                  <a:srgbClr val="424242"/>
                </a:solidFill>
                <a:latin typeface="Verdana" panose="020B0604030504040204"/>
              </a:rPr>
              <a:t>Основные задачи комитета:</a:t>
            </a:r>
          </a:p>
        </p:txBody>
      </p:sp>
      <p:sp>
        <p:nvSpPr>
          <p:cNvPr id="26" name="TextBox 25"/>
          <p:cNvSpPr txBox="1"/>
          <p:nvPr/>
        </p:nvSpPr>
        <p:spPr>
          <a:xfrm>
            <a:off x="1107932" y="2874654"/>
            <a:ext cx="7293963" cy="584775"/>
          </a:xfrm>
          <a:prstGeom prst="rect">
            <a:avLst/>
          </a:prstGeom>
          <a:noFill/>
        </p:spPr>
        <p:txBody>
          <a:bodyPr wrap="square" rtlCol="0">
            <a:spAutoFit/>
          </a:bodyPr>
          <a:lstStyle/>
          <a:p>
            <a:pPr defTabSz="914216">
              <a:defRPr/>
            </a:pPr>
            <a:r>
              <a:rPr lang="ru-RU" sz="1600" dirty="0">
                <a:solidFill>
                  <a:srgbClr val="424242"/>
                </a:solidFill>
                <a:latin typeface="Verdana" panose="020B0604030504040204"/>
              </a:rPr>
              <a:t>Рассмотрение спорных вопросов в области безопасности производства</a:t>
            </a:r>
          </a:p>
        </p:txBody>
      </p:sp>
      <p:sp>
        <p:nvSpPr>
          <p:cNvPr id="27" name="TextBox 26"/>
          <p:cNvSpPr txBox="1"/>
          <p:nvPr/>
        </p:nvSpPr>
        <p:spPr>
          <a:xfrm>
            <a:off x="1107932" y="3521362"/>
            <a:ext cx="7293963" cy="584775"/>
          </a:xfrm>
          <a:prstGeom prst="rect">
            <a:avLst/>
          </a:prstGeom>
          <a:noFill/>
        </p:spPr>
        <p:txBody>
          <a:bodyPr wrap="square" rtlCol="0">
            <a:spAutoFit/>
          </a:bodyPr>
          <a:lstStyle/>
          <a:p>
            <a:pPr defTabSz="914216">
              <a:defRPr/>
            </a:pPr>
            <a:r>
              <a:rPr lang="ru-RU" sz="1600" dirty="0">
                <a:solidFill>
                  <a:srgbClr val="424242"/>
                </a:solidFill>
                <a:latin typeface="Verdana" panose="020B0604030504040204"/>
              </a:rPr>
              <a:t>Принятие решений по выставлению штрафных санкций подрядной организации</a:t>
            </a:r>
          </a:p>
        </p:txBody>
      </p:sp>
      <p:sp>
        <p:nvSpPr>
          <p:cNvPr id="28" name="TextBox 27"/>
          <p:cNvSpPr txBox="1"/>
          <p:nvPr/>
        </p:nvSpPr>
        <p:spPr>
          <a:xfrm>
            <a:off x="1107932" y="4180790"/>
            <a:ext cx="7293963" cy="830997"/>
          </a:xfrm>
          <a:prstGeom prst="rect">
            <a:avLst/>
          </a:prstGeom>
          <a:noFill/>
        </p:spPr>
        <p:txBody>
          <a:bodyPr wrap="square" rtlCol="0">
            <a:spAutoFit/>
          </a:bodyPr>
          <a:lstStyle/>
          <a:p>
            <a:pPr defTabSz="914216">
              <a:defRPr/>
            </a:pPr>
            <a:r>
              <a:rPr lang="ru-RU" sz="1600" dirty="0">
                <a:solidFill>
                  <a:srgbClr val="424242"/>
                </a:solidFill>
                <a:latin typeface="Verdana" panose="020B0604030504040204"/>
              </a:rPr>
              <a:t>Решение по возможности перераспределения выставленных штрафов на развитие подрядной организации в области безопасности производства</a:t>
            </a:r>
          </a:p>
        </p:txBody>
      </p:sp>
      <p:sp>
        <p:nvSpPr>
          <p:cNvPr id="29" name="TextBox 28"/>
          <p:cNvSpPr txBox="1"/>
          <p:nvPr/>
        </p:nvSpPr>
        <p:spPr>
          <a:xfrm>
            <a:off x="1074083" y="5091180"/>
            <a:ext cx="7293963" cy="584775"/>
          </a:xfrm>
          <a:prstGeom prst="rect">
            <a:avLst/>
          </a:prstGeom>
          <a:noFill/>
        </p:spPr>
        <p:txBody>
          <a:bodyPr wrap="square" rtlCol="0">
            <a:spAutoFit/>
          </a:bodyPr>
          <a:lstStyle/>
          <a:p>
            <a:pPr defTabSz="914216">
              <a:defRPr/>
            </a:pPr>
            <a:r>
              <a:rPr lang="ru-RU" sz="1600" dirty="0">
                <a:solidFill>
                  <a:srgbClr val="424242"/>
                </a:solidFill>
                <a:latin typeface="Verdana" panose="020B0604030504040204"/>
              </a:rPr>
              <a:t>Принятие решений по расторжению договора с подрядной/субподрядной организацией</a:t>
            </a:r>
          </a:p>
        </p:txBody>
      </p:sp>
      <p:pic>
        <p:nvPicPr>
          <p:cNvPr id="30" name="Рисунок 29" descr="Вырезка экрана"/>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52452" y="5040748"/>
            <a:ext cx="432680" cy="448383"/>
          </a:xfrm>
          <a:prstGeom prst="rect">
            <a:avLst/>
          </a:prstGeom>
        </p:spPr>
      </p:pic>
      <p:pic>
        <p:nvPicPr>
          <p:cNvPr id="32" name="Рисунок 31" descr="brjyrn - Средство просмотра фотографий Windows">
            <a:extLst>
              <a:ext uri="{FF2B5EF4-FFF2-40B4-BE49-F238E27FC236}">
                <a16:creationId xmlns:a16="http://schemas.microsoft.com/office/drawing/2014/main" id="{FD2902EE-6810-427C-98BB-8E73B9F06389}"/>
              </a:ext>
            </a:extLst>
          </p:cNvPr>
          <p:cNvPicPr>
            <a:picLocks noChangeAspect="1"/>
          </p:cNvPicPr>
          <p:nvPr/>
        </p:nvPicPr>
        <p:blipFill rotWithShape="1">
          <a:blip r:embed="rId6">
            <a:extLst>
              <a:ext uri="{28A0092B-C50C-407E-A947-70E740481C1C}">
                <a14:useLocalDpi xmlns:a14="http://schemas.microsoft.com/office/drawing/2010/main" val="0"/>
              </a:ext>
            </a:extLst>
          </a:blip>
          <a:srcRect l="51013" t="40168" r="43648" b="50041"/>
          <a:stretch/>
        </p:blipFill>
        <p:spPr>
          <a:xfrm>
            <a:off x="352452" y="3525007"/>
            <a:ext cx="483698" cy="465784"/>
          </a:xfrm>
          <a:prstGeom prst="rect">
            <a:avLst/>
          </a:prstGeom>
        </p:spPr>
      </p:pic>
      <p:pic>
        <p:nvPicPr>
          <p:cNvPr id="33" name="Рисунок 32">
            <a:extLst>
              <a:ext uri="{FF2B5EF4-FFF2-40B4-BE49-F238E27FC236}">
                <a16:creationId xmlns:a16="http://schemas.microsoft.com/office/drawing/2014/main" id="{C60B6A3E-4A9A-40DE-86CD-5F7E887BAEE7}"/>
              </a:ext>
            </a:extLst>
          </p:cNvPr>
          <p:cNvPicPr>
            <a:picLocks noChangeAspect="1"/>
          </p:cNvPicPr>
          <p:nvPr/>
        </p:nvPicPr>
        <p:blipFill rotWithShape="1">
          <a:blip r:embed="rId3">
            <a:extLst>
              <a:ext uri="{28A0092B-C50C-407E-A947-70E740481C1C}">
                <a14:useLocalDpi xmlns:a14="http://schemas.microsoft.com/office/drawing/2010/main" val="0"/>
              </a:ext>
            </a:extLst>
          </a:blip>
          <a:srcRect l="73582" t="80382" r="14695" b="1976"/>
          <a:stretch/>
        </p:blipFill>
        <p:spPr>
          <a:xfrm>
            <a:off x="318706" y="4308440"/>
            <a:ext cx="541159" cy="495517"/>
          </a:xfrm>
          <a:prstGeom prst="rect">
            <a:avLst/>
          </a:prstGeom>
        </p:spPr>
      </p:pic>
      <p:pic>
        <p:nvPicPr>
          <p:cNvPr id="34" name="Рисунок 33" descr="Вырезка экрана">
            <a:extLst>
              <a:ext uri="{FF2B5EF4-FFF2-40B4-BE49-F238E27FC236}">
                <a16:creationId xmlns:a16="http://schemas.microsoft.com/office/drawing/2014/main" id="{A3BF61B5-324A-4293-B8C2-3EEE39EFB6C1}"/>
              </a:ext>
            </a:extLst>
          </p:cNvPr>
          <p:cNvPicPr>
            <a:picLocks noChangeAspect="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57607" y="2960180"/>
            <a:ext cx="602257" cy="448714"/>
          </a:xfrm>
          <a:prstGeom prst="rect">
            <a:avLst/>
          </a:prstGeom>
        </p:spPr>
      </p:pic>
      <p:sp>
        <p:nvSpPr>
          <p:cNvPr id="35" name="TextBox 34"/>
          <p:cNvSpPr txBox="1"/>
          <p:nvPr/>
        </p:nvSpPr>
        <p:spPr>
          <a:xfrm>
            <a:off x="1107931" y="2247689"/>
            <a:ext cx="6788360" cy="615553"/>
          </a:xfrm>
          <a:prstGeom prst="rect">
            <a:avLst/>
          </a:prstGeom>
          <a:noFill/>
        </p:spPr>
        <p:txBody>
          <a:bodyPr wrap="square" rtlCol="0">
            <a:spAutoFit/>
          </a:bodyPr>
          <a:lstStyle/>
          <a:p>
            <a:pPr defTabSz="914216">
              <a:defRPr/>
            </a:pPr>
            <a:r>
              <a:rPr lang="ru-RU" sz="1600" dirty="0">
                <a:solidFill>
                  <a:srgbClr val="424242"/>
                </a:solidFill>
                <a:latin typeface="Verdana" panose="020B0604030504040204"/>
              </a:rPr>
              <a:t>Своевременное реагирование на проблемные зоны компаний «аутсайдеров» в области безопасности производства.</a:t>
            </a:r>
            <a:r>
              <a:rPr lang="ru-RU" dirty="0">
                <a:solidFill>
                  <a:srgbClr val="424242"/>
                </a:solidFill>
                <a:latin typeface="Verdana" panose="020B0604030504040204"/>
              </a:rPr>
              <a:t> </a:t>
            </a:r>
          </a:p>
        </p:txBody>
      </p:sp>
      <p:pic>
        <p:nvPicPr>
          <p:cNvPr id="36" name="Рисунок 35"/>
          <p:cNvPicPr>
            <a:picLocks noChangeAspect="1"/>
          </p:cNvPicPr>
          <p:nvPr/>
        </p:nvPicPr>
        <p:blipFill>
          <a:blip r:embed="rId8"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70262" y="2399700"/>
            <a:ext cx="422961" cy="373467"/>
          </a:xfrm>
          <a:prstGeom prst="rect">
            <a:avLst/>
          </a:prstGeom>
        </p:spPr>
      </p:pic>
      <p:sp>
        <p:nvSpPr>
          <p:cNvPr id="37" name="TextBox 36"/>
          <p:cNvSpPr txBox="1"/>
          <p:nvPr/>
        </p:nvSpPr>
        <p:spPr>
          <a:xfrm>
            <a:off x="1107932" y="1659290"/>
            <a:ext cx="7293963" cy="584775"/>
          </a:xfrm>
          <a:prstGeom prst="rect">
            <a:avLst/>
          </a:prstGeom>
          <a:noFill/>
        </p:spPr>
        <p:txBody>
          <a:bodyPr wrap="square" rtlCol="0">
            <a:spAutoFit/>
          </a:bodyPr>
          <a:lstStyle/>
          <a:p>
            <a:pPr defTabSz="914216">
              <a:defRPr/>
            </a:pPr>
            <a:r>
              <a:rPr lang="ru-RU" sz="1600" dirty="0">
                <a:solidFill>
                  <a:srgbClr val="424242"/>
                </a:solidFill>
                <a:latin typeface="Verdana" panose="020B0604030504040204"/>
              </a:rPr>
              <a:t>Обеспечение прозрачности принятия решений в отношении подрядных организаций.</a:t>
            </a:r>
          </a:p>
        </p:txBody>
      </p:sp>
      <p:pic>
        <p:nvPicPr>
          <p:cNvPr id="38" name="Рисунок 37"/>
          <p:cNvPicPr>
            <a:picLocks noChangeAspect="1"/>
          </p:cNvPicPr>
          <p:nvPr/>
        </p:nvPicPr>
        <p:blipFill rotWithShape="1">
          <a:blip r:embed="rId3">
            <a:extLst>
              <a:ext uri="{28A0092B-C50C-407E-A947-70E740481C1C}">
                <a14:useLocalDpi xmlns:a14="http://schemas.microsoft.com/office/drawing/2010/main" val="0"/>
              </a:ext>
            </a:extLst>
          </a:blip>
          <a:srcRect l="34212" t="53586" r="53285" b="27235"/>
          <a:stretch/>
        </p:blipFill>
        <p:spPr>
          <a:xfrm>
            <a:off x="409983" y="1662944"/>
            <a:ext cx="519447" cy="484817"/>
          </a:xfrm>
          <a:prstGeom prst="rect">
            <a:avLst/>
          </a:prstGeom>
        </p:spPr>
      </p:pic>
      <p:sp>
        <p:nvSpPr>
          <p:cNvPr id="18" name="Text Placeholder 4">
            <a:extLst>
              <a:ext uri="{FF2B5EF4-FFF2-40B4-BE49-F238E27FC236}">
                <a16:creationId xmlns:a16="http://schemas.microsoft.com/office/drawing/2014/main" id="{B55A3CF3-1A1E-441B-9FBC-32F21D06A2C9}"/>
              </a:ext>
            </a:extLst>
          </p:cNvPr>
          <p:cNvSpPr txBox="1">
            <a:spLocks/>
          </p:cNvSpPr>
          <p:nvPr/>
        </p:nvSpPr>
        <p:spPr>
          <a:xfrm>
            <a:off x="10146222" y="6319358"/>
            <a:ext cx="1790667" cy="374103"/>
          </a:xfrm>
          <a:prstGeom prst="rect">
            <a:avLst/>
          </a:prstGeom>
        </p:spPr>
        <p:txBody>
          <a:bodyPr/>
          <a:lstStyle>
            <a:lvl1pPr marL="0" indent="0" algn="r" defTabSz="914400" rtl="0" eaLnBrk="1" latinLnBrk="0" hangingPunct="1">
              <a:spcBef>
                <a:spcPct val="20000"/>
              </a:spcBef>
              <a:buFontTx/>
              <a:buNone/>
              <a:defRPr sz="800" b="0" i="0" kern="120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67527">
              <a:defRPr/>
            </a:pPr>
            <a:r>
              <a:rPr lang="ru-RU" sz="846" dirty="0"/>
              <a:t>День безопасности труда с подрядными организациями</a:t>
            </a:r>
          </a:p>
        </p:txBody>
      </p:sp>
    </p:spTree>
    <p:extLst>
      <p:ext uri="{BB962C8B-B14F-4D97-AF65-F5344CB8AC3E}">
        <p14:creationId xmlns:p14="http://schemas.microsoft.com/office/powerpoint/2010/main" val="121781614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4">
            <a:extLst>
              <a:ext uri="{FF2B5EF4-FFF2-40B4-BE49-F238E27FC236}">
                <a16:creationId xmlns:a16="http://schemas.microsoft.com/office/drawing/2014/main" id="{AA3ACD4D-CA84-4802-877C-8D9A3FBBF141}"/>
              </a:ext>
            </a:extLst>
          </p:cNvPr>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10319413" y="4800506"/>
            <a:ext cx="1444285" cy="1444285"/>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1">
            <a:extLst>
              <a:ext uri="{FF2B5EF4-FFF2-40B4-BE49-F238E27FC236}">
                <a16:creationId xmlns:a16="http://schemas.microsoft.com/office/drawing/2014/main" id="{0512AF0A-9D74-2A4A-ACA5-D89233384566}"/>
              </a:ext>
            </a:extLst>
          </p:cNvPr>
          <p:cNvSpPr>
            <a:spLocks noGrp="1"/>
          </p:cNvSpPr>
          <p:nvPr>
            <p:ph type="body" sz="quarter" idx="14"/>
          </p:nvPr>
        </p:nvSpPr>
        <p:spPr>
          <a:xfrm>
            <a:off x="807256" y="586708"/>
            <a:ext cx="5006451" cy="288037"/>
          </a:xfrm>
        </p:spPr>
        <p:txBody>
          <a:bodyPr/>
          <a:lstStyle/>
          <a:p>
            <a:r>
              <a:rPr lang="ru-RU" sz="1270" b="1" dirty="0">
                <a:solidFill>
                  <a:schemeClr val="bg1">
                    <a:lumMod val="60000"/>
                    <a:lumOff val="40000"/>
                  </a:schemeClr>
                </a:solidFill>
              </a:rPr>
              <a:t>Комитет по работе с подрядными организациями</a:t>
            </a:r>
            <a:endParaRPr lang="x-none" sz="1270" b="1" dirty="0">
              <a:solidFill>
                <a:schemeClr val="bg1">
                  <a:lumMod val="60000"/>
                  <a:lumOff val="40000"/>
                </a:schemeClr>
              </a:solidFill>
            </a:endParaRPr>
          </a:p>
        </p:txBody>
      </p:sp>
      <p:pic>
        <p:nvPicPr>
          <p:cNvPr id="10" name="Рисунок 9"/>
          <p:cNvPicPr>
            <a:picLocks noChangeAspect="1"/>
          </p:cNvPicPr>
          <p:nvPr/>
        </p:nvPicPr>
        <p:blipFill rotWithShape="1">
          <a:blip r:embed="rId4">
            <a:lum bright="70000" contrast="-70000"/>
            <a:extLst>
              <a:ext uri="{28A0092B-C50C-407E-A947-70E740481C1C}">
                <a14:useLocalDpi xmlns:a14="http://schemas.microsoft.com/office/drawing/2010/main" val="0"/>
              </a:ext>
            </a:extLst>
          </a:blip>
          <a:srcRect l="34212" t="53586" r="53285" b="27235"/>
          <a:stretch/>
        </p:blipFill>
        <p:spPr>
          <a:xfrm>
            <a:off x="257608" y="474223"/>
            <a:ext cx="549649" cy="513006"/>
          </a:xfrm>
          <a:prstGeom prst="rect">
            <a:avLst/>
          </a:prstGeom>
        </p:spPr>
      </p:pic>
      <p:sp>
        <p:nvSpPr>
          <p:cNvPr id="12" name="TextBox 11"/>
          <p:cNvSpPr txBox="1"/>
          <p:nvPr/>
        </p:nvSpPr>
        <p:spPr>
          <a:xfrm>
            <a:off x="433827" y="1423186"/>
            <a:ext cx="7624840" cy="3970318"/>
          </a:xfrm>
          <a:prstGeom prst="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defTabSz="914216">
              <a:defRPr/>
            </a:pPr>
            <a:r>
              <a:rPr lang="ru-RU" b="1" u="sng" dirty="0">
                <a:solidFill>
                  <a:srgbClr val="424242"/>
                </a:solidFill>
                <a:latin typeface="Verdana" panose="020B0604030504040204"/>
              </a:rPr>
              <a:t>Заседание комитета </a:t>
            </a:r>
          </a:p>
          <a:p>
            <a:pPr defTabSz="914216">
              <a:defRPr/>
            </a:pPr>
            <a:r>
              <a:rPr lang="ru-RU" b="1" dirty="0">
                <a:solidFill>
                  <a:srgbClr val="424242"/>
                </a:solidFill>
                <a:latin typeface="Verdana" panose="020B0604030504040204"/>
              </a:rPr>
              <a:t>Рассматриваемые вопросы:</a:t>
            </a:r>
          </a:p>
          <a:p>
            <a:pPr marL="342831" indent="-342831" defTabSz="914216">
              <a:buFontTx/>
              <a:buAutoNum type="arabicPeriod"/>
              <a:defRPr/>
            </a:pPr>
            <a:r>
              <a:rPr lang="ru-RU" dirty="0">
                <a:solidFill>
                  <a:srgbClr val="424242"/>
                </a:solidFill>
                <a:latin typeface="Verdana" panose="020B0604030504040204"/>
              </a:rPr>
              <a:t>Введение штрафных санкций</a:t>
            </a:r>
          </a:p>
          <a:p>
            <a:pPr marL="342831" indent="-342831" defTabSz="914216">
              <a:buFontTx/>
              <a:buAutoNum type="arabicPeriod"/>
              <a:defRPr/>
            </a:pPr>
            <a:r>
              <a:rPr lang="ru-RU" dirty="0">
                <a:solidFill>
                  <a:srgbClr val="424242"/>
                </a:solidFill>
                <a:latin typeface="Verdana" panose="020B0604030504040204"/>
              </a:rPr>
              <a:t>Включение компании ООО «</a:t>
            </a:r>
            <a:r>
              <a:rPr lang="ru-RU" dirty="0" err="1">
                <a:solidFill>
                  <a:srgbClr val="424242"/>
                </a:solidFill>
                <a:latin typeface="Verdana" panose="020B0604030504040204"/>
              </a:rPr>
              <a:t>АвтоТехСтрой</a:t>
            </a:r>
            <a:r>
              <a:rPr lang="ru-RU" dirty="0">
                <a:solidFill>
                  <a:srgbClr val="424242"/>
                </a:solidFill>
                <a:latin typeface="Verdana" panose="020B0604030504040204"/>
              </a:rPr>
              <a:t>» в список неблагонадежных контрагентов.</a:t>
            </a:r>
          </a:p>
          <a:p>
            <a:pPr marL="342831" indent="-342831" defTabSz="914216">
              <a:buFontTx/>
              <a:buAutoNum type="arabicPeriod"/>
              <a:defRPr/>
            </a:pPr>
            <a:r>
              <a:rPr lang="ru-RU" dirty="0">
                <a:solidFill>
                  <a:srgbClr val="424242"/>
                </a:solidFill>
                <a:latin typeface="Verdana" panose="020B0604030504040204"/>
              </a:rPr>
              <a:t>Исключение компании ООО «</a:t>
            </a:r>
            <a:r>
              <a:rPr lang="ru-RU" dirty="0" err="1">
                <a:solidFill>
                  <a:srgbClr val="424242"/>
                </a:solidFill>
                <a:latin typeface="Verdana" panose="020B0604030504040204"/>
              </a:rPr>
              <a:t>Теплоэнергомонтаж</a:t>
            </a:r>
            <a:r>
              <a:rPr lang="ru-RU" dirty="0">
                <a:solidFill>
                  <a:srgbClr val="424242"/>
                </a:solidFill>
                <a:latin typeface="Verdana" panose="020B0604030504040204"/>
              </a:rPr>
              <a:t>» из списка благонадежных контрагентов.</a:t>
            </a:r>
          </a:p>
          <a:p>
            <a:pPr defTabSz="914216">
              <a:defRPr/>
            </a:pPr>
            <a:r>
              <a:rPr lang="ru-RU" b="1" dirty="0">
                <a:solidFill>
                  <a:srgbClr val="424242"/>
                </a:solidFill>
                <a:latin typeface="Verdana" panose="020B0604030504040204"/>
              </a:rPr>
              <a:t>Принятые решения:</a:t>
            </a:r>
          </a:p>
          <a:p>
            <a:pPr marL="342831" indent="-342831" defTabSz="914216">
              <a:buFontTx/>
              <a:buAutoNum type="arabicPeriod"/>
              <a:defRPr/>
            </a:pPr>
            <a:r>
              <a:rPr lang="ru-RU" dirty="0">
                <a:solidFill>
                  <a:srgbClr val="424242"/>
                </a:solidFill>
                <a:latin typeface="Verdana" panose="020B0604030504040204"/>
              </a:rPr>
              <a:t>Ввести штрафные санкции</a:t>
            </a:r>
          </a:p>
          <a:p>
            <a:pPr marL="342831" indent="-342831" defTabSz="914216">
              <a:buFontTx/>
              <a:buAutoNum type="arabicPeriod"/>
              <a:defRPr/>
            </a:pPr>
            <a:r>
              <a:rPr lang="ru-RU" dirty="0">
                <a:solidFill>
                  <a:srgbClr val="424242"/>
                </a:solidFill>
                <a:latin typeface="Verdana" panose="020B0604030504040204"/>
              </a:rPr>
              <a:t>Внести в список неблагонадежных контрагентов компанию ООО «</a:t>
            </a:r>
            <a:r>
              <a:rPr lang="ru-RU" dirty="0" err="1">
                <a:solidFill>
                  <a:srgbClr val="424242"/>
                </a:solidFill>
                <a:latin typeface="Verdana" panose="020B0604030504040204"/>
              </a:rPr>
              <a:t>АвтоТехСтрой</a:t>
            </a:r>
            <a:r>
              <a:rPr lang="ru-RU" dirty="0">
                <a:solidFill>
                  <a:srgbClr val="424242"/>
                </a:solidFill>
                <a:latin typeface="Verdana" panose="020B0604030504040204"/>
              </a:rPr>
              <a:t>».</a:t>
            </a:r>
          </a:p>
          <a:p>
            <a:pPr marL="342831" indent="-342831" defTabSz="914216">
              <a:buFontTx/>
              <a:buAutoNum type="arabicPeriod"/>
              <a:defRPr/>
            </a:pPr>
            <a:r>
              <a:rPr lang="ru-RU" dirty="0">
                <a:solidFill>
                  <a:srgbClr val="424242"/>
                </a:solidFill>
                <a:latin typeface="Verdana" panose="020B0604030504040204"/>
              </a:rPr>
              <a:t>Допустить компанию ООО «</a:t>
            </a:r>
            <a:r>
              <a:rPr lang="ru-RU" dirty="0" err="1">
                <a:solidFill>
                  <a:srgbClr val="424242"/>
                </a:solidFill>
                <a:latin typeface="Verdana" panose="020B0604030504040204"/>
              </a:rPr>
              <a:t>Теплоэнергомонтаж</a:t>
            </a:r>
            <a:r>
              <a:rPr lang="ru-RU" dirty="0">
                <a:solidFill>
                  <a:srgbClr val="424242"/>
                </a:solidFill>
                <a:latin typeface="Verdana" panose="020B0604030504040204"/>
              </a:rPr>
              <a:t>» к закупочным процедурам АО «ВМЗ»</a:t>
            </a:r>
          </a:p>
          <a:p>
            <a:pPr defTabSz="914216">
              <a:defRPr/>
            </a:pPr>
            <a:endParaRPr lang="ru-RU" b="1" dirty="0">
              <a:solidFill>
                <a:srgbClr val="424242"/>
              </a:solidFill>
              <a:latin typeface="Verdana" panose="020B0604030504040204"/>
            </a:endParaRPr>
          </a:p>
        </p:txBody>
      </p:sp>
      <p:sp>
        <p:nvSpPr>
          <p:cNvPr id="6" name="Text Placeholder 4">
            <a:extLst>
              <a:ext uri="{FF2B5EF4-FFF2-40B4-BE49-F238E27FC236}">
                <a16:creationId xmlns:a16="http://schemas.microsoft.com/office/drawing/2014/main" id="{B55A3CF3-1A1E-441B-9FBC-32F21D06A2C9}"/>
              </a:ext>
            </a:extLst>
          </p:cNvPr>
          <p:cNvSpPr txBox="1">
            <a:spLocks/>
          </p:cNvSpPr>
          <p:nvPr/>
        </p:nvSpPr>
        <p:spPr>
          <a:xfrm>
            <a:off x="10146222" y="6319358"/>
            <a:ext cx="1790667" cy="374103"/>
          </a:xfrm>
          <a:prstGeom prst="rect">
            <a:avLst/>
          </a:prstGeom>
        </p:spPr>
        <p:txBody>
          <a:bodyPr/>
          <a:lstStyle>
            <a:lvl1pPr marL="0" indent="0" algn="r" defTabSz="914400" rtl="0" eaLnBrk="1" latinLnBrk="0" hangingPunct="1">
              <a:spcBef>
                <a:spcPct val="20000"/>
              </a:spcBef>
              <a:buFontTx/>
              <a:buNone/>
              <a:defRPr sz="800" b="0" i="0" kern="120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67527">
              <a:defRPr/>
            </a:pPr>
            <a:r>
              <a:rPr lang="ru-RU" sz="846" dirty="0"/>
              <a:t>День безопасности труда с подрядными организациями</a:t>
            </a:r>
          </a:p>
        </p:txBody>
      </p:sp>
    </p:spTree>
    <p:extLst>
      <p:ext uri="{BB962C8B-B14F-4D97-AF65-F5344CB8AC3E}">
        <p14:creationId xmlns:p14="http://schemas.microsoft.com/office/powerpoint/2010/main" val="2161992140"/>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512AF0A-9D74-2A4A-ACA5-D89233384566}"/>
              </a:ext>
            </a:extLst>
          </p:cNvPr>
          <p:cNvSpPr>
            <a:spLocks noGrp="1"/>
          </p:cNvSpPr>
          <p:nvPr>
            <p:ph type="body" sz="quarter" idx="14"/>
          </p:nvPr>
        </p:nvSpPr>
        <p:spPr>
          <a:xfrm>
            <a:off x="807256" y="507205"/>
            <a:ext cx="5006451" cy="288037"/>
          </a:xfrm>
        </p:spPr>
        <p:txBody>
          <a:bodyPr/>
          <a:lstStyle/>
          <a:p>
            <a:r>
              <a:rPr lang="ru-RU" sz="1270" b="1" dirty="0">
                <a:solidFill>
                  <a:schemeClr val="bg1">
                    <a:lumMod val="60000"/>
                    <a:lumOff val="40000"/>
                  </a:schemeClr>
                </a:solidFill>
              </a:rPr>
              <a:t>Комитет по работе с подрядными организациями</a:t>
            </a:r>
            <a:endParaRPr lang="x-none" sz="1270" b="1" dirty="0">
              <a:solidFill>
                <a:schemeClr val="bg1">
                  <a:lumMod val="60000"/>
                  <a:lumOff val="40000"/>
                </a:schemeClr>
              </a:solidFill>
            </a:endParaRPr>
          </a:p>
        </p:txBody>
      </p:sp>
      <p:pic>
        <p:nvPicPr>
          <p:cNvPr id="8" name="Рисунок 7"/>
          <p:cNvPicPr>
            <a:picLocks noChangeAspect="1"/>
          </p:cNvPicPr>
          <p:nvPr/>
        </p:nvPicPr>
        <p:blipFill rotWithShape="1">
          <a:blip r:embed="rId3">
            <a:lum bright="70000" contrast="-70000"/>
            <a:extLst>
              <a:ext uri="{28A0092B-C50C-407E-A947-70E740481C1C}">
                <a14:useLocalDpi xmlns:a14="http://schemas.microsoft.com/office/drawing/2010/main" val="0"/>
              </a:ext>
            </a:extLst>
          </a:blip>
          <a:srcRect l="34212" t="53586" r="53285" b="27235"/>
          <a:stretch/>
        </p:blipFill>
        <p:spPr>
          <a:xfrm>
            <a:off x="257608" y="394722"/>
            <a:ext cx="549649" cy="513006"/>
          </a:xfrm>
          <a:prstGeom prst="rect">
            <a:avLst/>
          </a:prstGeom>
        </p:spPr>
      </p:pic>
      <p:sp>
        <p:nvSpPr>
          <p:cNvPr id="7" name="TextBox 6">
            <a:extLst>
              <a:ext uri="{FF2B5EF4-FFF2-40B4-BE49-F238E27FC236}">
                <a16:creationId xmlns:a16="http://schemas.microsoft.com/office/drawing/2014/main" id="{09754AE5-74B0-4649-A990-5140B14F3BFC}"/>
              </a:ext>
            </a:extLst>
          </p:cNvPr>
          <p:cNvSpPr txBox="1"/>
          <p:nvPr/>
        </p:nvSpPr>
        <p:spPr>
          <a:xfrm>
            <a:off x="619731" y="899644"/>
            <a:ext cx="6222849" cy="385490"/>
          </a:xfrm>
          <a:prstGeom prst="rect">
            <a:avLst/>
          </a:prstGeom>
          <a:noFill/>
        </p:spPr>
        <p:txBody>
          <a:bodyPr wrap="square" rtlCol="0">
            <a:spAutoFit/>
          </a:bodyPr>
          <a:lstStyle/>
          <a:p>
            <a:pPr defTabSz="967332">
              <a:defRPr/>
            </a:pPr>
            <a:r>
              <a:rPr lang="ru-RU" sz="1905" b="1" dirty="0">
                <a:solidFill>
                  <a:srgbClr val="424242"/>
                </a:solidFill>
                <a:latin typeface="Verdana" panose="020B0604030504040204"/>
              </a:rPr>
              <a:t>Порядок работы Комитета:</a:t>
            </a:r>
          </a:p>
        </p:txBody>
      </p:sp>
      <p:sp>
        <p:nvSpPr>
          <p:cNvPr id="17" name="TextBox 16">
            <a:extLst>
              <a:ext uri="{FF2B5EF4-FFF2-40B4-BE49-F238E27FC236}">
                <a16:creationId xmlns:a16="http://schemas.microsoft.com/office/drawing/2014/main" id="{AF3A1D8C-152A-476C-83F3-00C2969A0563}"/>
              </a:ext>
            </a:extLst>
          </p:cNvPr>
          <p:cNvSpPr txBox="1"/>
          <p:nvPr/>
        </p:nvSpPr>
        <p:spPr>
          <a:xfrm>
            <a:off x="2479512" y="3534619"/>
            <a:ext cx="6130565" cy="1754326"/>
          </a:xfrm>
          <a:prstGeom prst="rect">
            <a:avLst/>
          </a:prstGeom>
          <a:noFill/>
          <a:ln>
            <a:solidFill>
              <a:schemeClr val="accent1"/>
            </a:solidFill>
          </a:ln>
        </p:spPr>
        <p:txBody>
          <a:bodyPr wrap="square" rtlCol="0">
            <a:spAutoFit/>
          </a:bodyPr>
          <a:lstStyle/>
          <a:p>
            <a:pPr marL="285692" indent="-285692" defTabSz="914216">
              <a:buFont typeface="Wingdings" panose="05000000000000000000" pitchFamily="2" charset="2"/>
              <a:buChar char="ü"/>
              <a:defRPr/>
            </a:pPr>
            <a:r>
              <a:rPr lang="ru-RU" dirty="0">
                <a:solidFill>
                  <a:srgbClr val="424242"/>
                </a:solidFill>
                <a:latin typeface="Verdana" panose="020B0604030504040204"/>
              </a:rPr>
              <a:t>Формирование профиля подрядчика.</a:t>
            </a:r>
          </a:p>
          <a:p>
            <a:pPr marL="285692" indent="-285692" defTabSz="914216">
              <a:buFont typeface="Wingdings" panose="05000000000000000000" pitchFamily="2" charset="2"/>
              <a:buChar char="ü"/>
              <a:defRPr/>
            </a:pPr>
            <a:r>
              <a:rPr lang="ru-RU" dirty="0">
                <a:solidFill>
                  <a:srgbClr val="424242"/>
                </a:solidFill>
                <a:latin typeface="Verdana" panose="020B0604030504040204"/>
              </a:rPr>
              <a:t>Подготовка шагов развития организации от руководителей Контрагента.</a:t>
            </a:r>
          </a:p>
          <a:p>
            <a:pPr marL="285692" indent="-285692" defTabSz="914216">
              <a:buFont typeface="Wingdings" panose="05000000000000000000" pitchFamily="2" charset="2"/>
              <a:buChar char="ü"/>
              <a:defRPr/>
            </a:pPr>
            <a:r>
              <a:rPr lang="ru-RU" dirty="0">
                <a:solidFill>
                  <a:srgbClr val="424242"/>
                </a:solidFill>
                <a:latin typeface="Verdana" panose="020B0604030504040204"/>
              </a:rPr>
              <a:t>Заслушивание представителя Контрагента.</a:t>
            </a:r>
          </a:p>
          <a:p>
            <a:pPr marL="285692" indent="-285692" defTabSz="914216">
              <a:buFont typeface="Wingdings" panose="05000000000000000000" pitchFamily="2" charset="2"/>
              <a:buChar char="ü"/>
              <a:defRPr/>
            </a:pPr>
            <a:r>
              <a:rPr lang="ru-RU" dirty="0">
                <a:solidFill>
                  <a:srgbClr val="424242"/>
                </a:solidFill>
                <a:latin typeface="Verdana" panose="020B0604030504040204"/>
              </a:rPr>
              <a:t>Принятие решения в отношении Контрагента.</a:t>
            </a:r>
          </a:p>
          <a:p>
            <a:pPr marL="285692" indent="-285692" defTabSz="914216">
              <a:buFont typeface="Wingdings" panose="05000000000000000000" pitchFamily="2" charset="2"/>
              <a:buChar char="ü"/>
              <a:defRPr/>
            </a:pPr>
            <a:r>
              <a:rPr lang="ru-RU" dirty="0">
                <a:solidFill>
                  <a:srgbClr val="424242"/>
                </a:solidFill>
                <a:latin typeface="Verdana" panose="020B0604030504040204"/>
              </a:rPr>
              <a:t>Оглашение решения Контрагенту.</a:t>
            </a:r>
          </a:p>
        </p:txBody>
      </p:sp>
      <p:sp>
        <p:nvSpPr>
          <p:cNvPr id="19" name="TextBox 18"/>
          <p:cNvSpPr txBox="1"/>
          <p:nvPr/>
        </p:nvSpPr>
        <p:spPr>
          <a:xfrm>
            <a:off x="697276" y="2127307"/>
            <a:ext cx="3195864" cy="923330"/>
          </a:xfrm>
          <a:prstGeom prst="rect">
            <a:avLst/>
          </a:prstGeom>
          <a:noFill/>
          <a:ln>
            <a:solidFill>
              <a:schemeClr val="accent1"/>
            </a:solidFill>
          </a:ln>
        </p:spPr>
        <p:txBody>
          <a:bodyPr wrap="square" rtlCol="0">
            <a:spAutoFit/>
          </a:bodyPr>
          <a:lstStyle/>
          <a:p>
            <a:pPr defTabSz="914216">
              <a:defRPr/>
            </a:pPr>
            <a:r>
              <a:rPr lang="ru-RU" dirty="0">
                <a:solidFill>
                  <a:srgbClr val="424242"/>
                </a:solidFill>
                <a:latin typeface="Verdana" panose="020B0604030504040204"/>
              </a:rPr>
              <a:t>Постоянная работа по </a:t>
            </a:r>
          </a:p>
          <a:p>
            <a:pPr defTabSz="914216">
              <a:defRPr/>
            </a:pPr>
            <a:r>
              <a:rPr lang="ru-RU" dirty="0">
                <a:solidFill>
                  <a:srgbClr val="424242"/>
                </a:solidFill>
                <a:latin typeface="Verdana" panose="020B0604030504040204"/>
              </a:rPr>
              <a:t>определению компаний </a:t>
            </a:r>
          </a:p>
          <a:p>
            <a:pPr defTabSz="914216">
              <a:defRPr/>
            </a:pPr>
            <a:r>
              <a:rPr lang="ru-RU" dirty="0">
                <a:solidFill>
                  <a:srgbClr val="424242"/>
                </a:solidFill>
                <a:latin typeface="Verdana" panose="020B0604030504040204"/>
              </a:rPr>
              <a:t>аутсайдеров  </a:t>
            </a:r>
          </a:p>
        </p:txBody>
      </p:sp>
      <p:sp>
        <p:nvSpPr>
          <p:cNvPr id="20" name="TextBox 19"/>
          <p:cNvSpPr txBox="1"/>
          <p:nvPr/>
        </p:nvSpPr>
        <p:spPr>
          <a:xfrm>
            <a:off x="4126433" y="2131788"/>
            <a:ext cx="3195864" cy="923330"/>
          </a:xfrm>
          <a:prstGeom prst="rect">
            <a:avLst/>
          </a:prstGeom>
          <a:noFill/>
          <a:ln>
            <a:solidFill>
              <a:schemeClr val="accent1"/>
            </a:solidFill>
          </a:ln>
        </p:spPr>
        <p:txBody>
          <a:bodyPr wrap="square" rtlCol="0">
            <a:spAutoFit/>
          </a:bodyPr>
          <a:lstStyle/>
          <a:p>
            <a:pPr defTabSz="914216">
              <a:defRPr/>
            </a:pPr>
            <a:r>
              <a:rPr lang="ru-RU" dirty="0">
                <a:solidFill>
                  <a:srgbClr val="424242"/>
                </a:solidFill>
                <a:latin typeface="Verdana" panose="020B0604030504040204"/>
              </a:rPr>
              <a:t>Работа с подрядчиком по обращению руководителей цеха</a:t>
            </a:r>
          </a:p>
        </p:txBody>
      </p:sp>
      <p:cxnSp>
        <p:nvCxnSpPr>
          <p:cNvPr id="21" name="Прямая со стрелкой 20"/>
          <p:cNvCxnSpPr/>
          <p:nvPr/>
        </p:nvCxnSpPr>
        <p:spPr>
          <a:xfrm flipH="1">
            <a:off x="3217559" y="3058587"/>
            <a:ext cx="1" cy="495823"/>
          </a:xfrm>
          <a:prstGeom prst="straightConnector1">
            <a:avLst/>
          </a:prstGeom>
          <a:ln w="28575">
            <a:solidFill>
              <a:schemeClr val="tx1">
                <a:lumMod val="90000"/>
                <a:lumOff val="10000"/>
                <a:alpha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Прямая со стрелкой 21"/>
          <p:cNvCxnSpPr/>
          <p:nvPr/>
        </p:nvCxnSpPr>
        <p:spPr>
          <a:xfrm flipH="1">
            <a:off x="5751334" y="3054977"/>
            <a:ext cx="1" cy="495823"/>
          </a:xfrm>
          <a:prstGeom prst="straightConnector1">
            <a:avLst/>
          </a:prstGeom>
          <a:ln w="28575">
            <a:solidFill>
              <a:schemeClr val="tx1">
                <a:lumMod val="90000"/>
                <a:lumOff val="10000"/>
                <a:alpha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7426138" y="2127307"/>
            <a:ext cx="3195864" cy="923330"/>
          </a:xfrm>
          <a:prstGeom prst="rect">
            <a:avLst/>
          </a:prstGeom>
          <a:noFill/>
          <a:ln>
            <a:solidFill>
              <a:schemeClr val="accent1"/>
            </a:solidFill>
          </a:ln>
        </p:spPr>
        <p:txBody>
          <a:bodyPr wrap="square" rtlCol="0">
            <a:spAutoFit/>
          </a:bodyPr>
          <a:lstStyle/>
          <a:p>
            <a:pPr defTabSz="914216">
              <a:defRPr/>
            </a:pPr>
            <a:r>
              <a:rPr lang="ru-RU" dirty="0">
                <a:solidFill>
                  <a:srgbClr val="424242"/>
                </a:solidFill>
                <a:latin typeface="Verdana" panose="020B0604030504040204"/>
              </a:rPr>
              <a:t>Допущение подрядчиком ЧП</a:t>
            </a:r>
          </a:p>
          <a:p>
            <a:pPr defTabSz="914216">
              <a:defRPr/>
            </a:pPr>
            <a:endParaRPr lang="ru-RU" dirty="0">
              <a:solidFill>
                <a:srgbClr val="424242"/>
              </a:solidFill>
              <a:latin typeface="Verdana" panose="020B0604030504040204"/>
            </a:endParaRPr>
          </a:p>
        </p:txBody>
      </p:sp>
      <p:cxnSp>
        <p:nvCxnSpPr>
          <p:cNvPr id="24" name="Прямая со стрелкой 23"/>
          <p:cNvCxnSpPr/>
          <p:nvPr/>
        </p:nvCxnSpPr>
        <p:spPr>
          <a:xfrm flipH="1">
            <a:off x="7931814" y="3050497"/>
            <a:ext cx="1" cy="495823"/>
          </a:xfrm>
          <a:prstGeom prst="straightConnector1">
            <a:avLst/>
          </a:prstGeom>
          <a:ln w="28575">
            <a:solidFill>
              <a:schemeClr val="tx1">
                <a:lumMod val="90000"/>
                <a:lumOff val="10000"/>
                <a:alpha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B55A3CF3-1A1E-441B-9FBC-32F21D06A2C9}"/>
              </a:ext>
            </a:extLst>
          </p:cNvPr>
          <p:cNvSpPr txBox="1">
            <a:spLocks/>
          </p:cNvSpPr>
          <p:nvPr/>
        </p:nvSpPr>
        <p:spPr>
          <a:xfrm>
            <a:off x="10146222" y="6319358"/>
            <a:ext cx="1790667" cy="374103"/>
          </a:xfrm>
          <a:prstGeom prst="rect">
            <a:avLst/>
          </a:prstGeom>
        </p:spPr>
        <p:txBody>
          <a:bodyPr/>
          <a:lstStyle>
            <a:lvl1pPr marL="0" indent="0" algn="r" defTabSz="914400" rtl="0" eaLnBrk="1" latinLnBrk="0" hangingPunct="1">
              <a:spcBef>
                <a:spcPct val="20000"/>
              </a:spcBef>
              <a:buFontTx/>
              <a:buNone/>
              <a:defRPr sz="800" b="0" i="0" kern="120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67527">
              <a:defRPr/>
            </a:pPr>
            <a:r>
              <a:rPr lang="ru-RU" sz="846" dirty="0"/>
              <a:t>День безопасности труда с подрядными организациями</a:t>
            </a:r>
          </a:p>
        </p:txBody>
      </p:sp>
    </p:spTree>
    <p:extLst>
      <p:ext uri="{BB962C8B-B14F-4D97-AF65-F5344CB8AC3E}">
        <p14:creationId xmlns:p14="http://schemas.microsoft.com/office/powerpoint/2010/main" val="1082260783"/>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B55A3CF3-1A1E-441B-9FBC-32F21D06A2C9}"/>
              </a:ext>
            </a:extLst>
          </p:cNvPr>
          <p:cNvSpPr txBox="1">
            <a:spLocks/>
          </p:cNvSpPr>
          <p:nvPr/>
        </p:nvSpPr>
        <p:spPr>
          <a:xfrm>
            <a:off x="10145603" y="6318916"/>
            <a:ext cx="1790393" cy="374046"/>
          </a:xfrm>
          <a:prstGeom prst="rect">
            <a:avLst/>
          </a:prstGeom>
        </p:spPr>
        <p:txBody>
          <a:bodyPr/>
          <a:lstStyle>
            <a:lvl1pPr marL="0" indent="0" algn="r" defTabSz="914400" rtl="0" eaLnBrk="1" latinLnBrk="0" hangingPunct="1">
              <a:spcBef>
                <a:spcPct val="20000"/>
              </a:spcBef>
              <a:buFontTx/>
              <a:buNone/>
              <a:defRPr sz="800" b="0" i="0" kern="120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67527">
              <a:defRPr/>
            </a:pPr>
            <a:r>
              <a:rPr lang="ru-RU" sz="845" dirty="0"/>
              <a:t>День безопасности труда с подрядными организациями</a:t>
            </a:r>
          </a:p>
        </p:txBody>
      </p:sp>
      <p:sp>
        <p:nvSpPr>
          <p:cNvPr id="7" name="Текст 8">
            <a:extLst>
              <a:ext uri="{FF2B5EF4-FFF2-40B4-BE49-F238E27FC236}">
                <a16:creationId xmlns:a16="http://schemas.microsoft.com/office/drawing/2014/main" id="{A1584F74-92CE-481B-9F91-C1014731D164}"/>
              </a:ext>
            </a:extLst>
          </p:cNvPr>
          <p:cNvSpPr>
            <a:spLocks noGrp="1"/>
          </p:cNvSpPr>
          <p:nvPr>
            <p:ph type="body" sz="quarter" idx="11"/>
          </p:nvPr>
        </p:nvSpPr>
        <p:spPr>
          <a:xfrm>
            <a:off x="3657768" y="2819442"/>
            <a:ext cx="10808247" cy="609558"/>
          </a:xfrm>
        </p:spPr>
        <p:txBody>
          <a:bodyPr>
            <a:normAutofit/>
          </a:bodyPr>
          <a:lstStyle/>
          <a:p>
            <a:r>
              <a:rPr lang="ru-RU" b="1" dirty="0" smtClean="0">
                <a:solidFill>
                  <a:srgbClr val="C00000"/>
                </a:solidFill>
              </a:rPr>
              <a:t>Производство земляных работ</a:t>
            </a:r>
            <a:endParaRPr lang="ru-RU" b="1" dirty="0">
              <a:solidFill>
                <a:srgbClr val="C00000"/>
              </a:solidFill>
            </a:endParaRPr>
          </a:p>
        </p:txBody>
      </p:sp>
      <p:sp>
        <p:nvSpPr>
          <p:cNvPr id="5" name="Текст 6">
            <a:extLst>
              <a:ext uri="{FF2B5EF4-FFF2-40B4-BE49-F238E27FC236}">
                <a16:creationId xmlns:a16="http://schemas.microsoft.com/office/drawing/2014/main" id="{8E6B8E05-B925-406A-B527-E6B8316ACA98}"/>
              </a:ext>
            </a:extLst>
          </p:cNvPr>
          <p:cNvSpPr txBox="1">
            <a:spLocks/>
          </p:cNvSpPr>
          <p:nvPr/>
        </p:nvSpPr>
        <p:spPr>
          <a:xfrm>
            <a:off x="295484" y="394129"/>
            <a:ext cx="2590254" cy="288081"/>
          </a:xfrm>
          <a:prstGeom prst="rect">
            <a:avLst/>
          </a:prstGeom>
        </p:spPr>
        <p:txBody>
          <a:bodyPr vert="horz" lIns="121913" tIns="60956" rIns="121913" bIns="60956" rtlCol="0">
            <a:normAutofit lnSpcReduction="10000"/>
          </a:bodyPr>
          <a:lstStyle>
            <a:lvl1pPr marL="0" indent="0" algn="l" defTabSz="1152144" rtl="0" eaLnBrk="1" latinLnBrk="0" hangingPunct="1">
              <a:spcBef>
                <a:spcPct val="20000"/>
              </a:spcBef>
              <a:buFontTx/>
              <a:buNone/>
              <a:defRPr sz="1100" b="0" i="0" kern="1200">
                <a:solidFill>
                  <a:srgbClr val="7F8183"/>
                </a:solidFill>
                <a:latin typeface="Verdana" panose="020B0604030504040204" pitchFamily="34" charset="0"/>
                <a:ea typeface="Verdana" panose="020B0604030504040204" pitchFamily="34" charset="0"/>
                <a:cs typeface="Verdana" panose="020B0604030504040204" pitchFamily="34" charset="0"/>
              </a:defRPr>
            </a:lvl1pPr>
            <a:lvl2pPr marL="936117" indent="-360045" algn="l" defTabSz="1152144" rtl="0" eaLnBrk="1" latinLnBrk="0" hangingPunct="1">
              <a:spcBef>
                <a:spcPct val="20000"/>
              </a:spcBef>
              <a:buFont typeface="Arial" pitchFamily="34" charset="0"/>
              <a:buChar char="–"/>
              <a:defRPr sz="3500" kern="1200">
                <a:solidFill>
                  <a:schemeClr val="tx1"/>
                </a:solidFill>
                <a:latin typeface="+mn-lt"/>
                <a:ea typeface="+mn-ea"/>
                <a:cs typeface="+mn-cs"/>
              </a:defRPr>
            </a:lvl2pPr>
            <a:lvl3pPr marL="1440180" indent="-288036" algn="l" defTabSz="1152144" rtl="0" eaLnBrk="1" latinLnBrk="0" hangingPunct="1">
              <a:spcBef>
                <a:spcPct val="20000"/>
              </a:spcBef>
              <a:buFont typeface="Arial" pitchFamily="34" charset="0"/>
              <a:buChar char="•"/>
              <a:defRPr sz="3000" kern="1200">
                <a:solidFill>
                  <a:schemeClr val="tx1"/>
                </a:solidFill>
                <a:latin typeface="+mn-lt"/>
                <a:ea typeface="+mn-ea"/>
                <a:cs typeface="+mn-cs"/>
              </a:defRPr>
            </a:lvl3pPr>
            <a:lvl4pPr marL="201625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4pPr>
            <a:lvl5pPr marL="2592324"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5pPr>
            <a:lvl6pPr marL="3168396"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744468"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320540"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89661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defTabSz="1219084">
              <a:defRPr/>
            </a:pPr>
            <a:r>
              <a:rPr lang="ru-RU" sz="1164" dirty="0"/>
              <a:t>Информация</a:t>
            </a:r>
          </a:p>
        </p:txBody>
      </p:sp>
      <p:pic>
        <p:nvPicPr>
          <p:cNvPr id="9" name="Рисунок 8" descr="image001.jpg"/>
          <p:cNvPicPr>
            <a:picLocks noChangeAspect="1"/>
          </p:cNvPicPr>
          <p:nvPr/>
        </p:nvPicPr>
        <p:blipFill>
          <a:blip r:embed="rId3" cstate="print"/>
          <a:stretch>
            <a:fillRect/>
          </a:stretch>
        </p:blipFill>
        <p:spPr>
          <a:xfrm>
            <a:off x="686173" y="5181479"/>
            <a:ext cx="3265534" cy="1239694"/>
          </a:xfrm>
          <a:prstGeom prst="rect">
            <a:avLst/>
          </a:prstGeom>
        </p:spPr>
      </p:pic>
      <p:sp>
        <p:nvSpPr>
          <p:cNvPr id="2" name="AutoShape 2" descr="Дорожный знак 1.25 &quot;Дорожные работы&quot; купить по цене 1356 руб. в компании  Паркинград с доставкой по России"/>
          <p:cNvSpPr>
            <a:spLocks noChangeAspect="1" noChangeArrowheads="1"/>
          </p:cNvSpPr>
          <p:nvPr/>
        </p:nvSpPr>
        <p:spPr bwMode="auto">
          <a:xfrm>
            <a:off x="469083" y="682210"/>
            <a:ext cx="1952625" cy="17145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4" name="AutoShape 4" descr="Значок точки Roadsign идеальный линейный. Знак дорожных работ вперед.  Человек с лопатой земляные работы. Тонкая линия, ориентирова Иллюстрация  вектора - иллюстрации насчитывающей пиксел, предосторежение: 188769123"/>
          <p:cNvSpPr>
            <a:spLocks noChangeAspect="1" noChangeArrowheads="1"/>
          </p:cNvSpPr>
          <p:nvPr/>
        </p:nvSpPr>
        <p:spPr bwMode="auto">
          <a:xfrm>
            <a:off x="519048" y="1090552"/>
            <a:ext cx="2143125" cy="21431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pic>
        <p:nvPicPr>
          <p:cNvPr id="8" name="Рисунок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7795" y="1808532"/>
            <a:ext cx="2535980" cy="2535980"/>
          </a:xfrm>
          <a:prstGeom prst="rect">
            <a:avLst/>
          </a:prstGeom>
        </p:spPr>
      </p:pic>
    </p:spTree>
    <p:extLst>
      <p:ext uri="{BB962C8B-B14F-4D97-AF65-F5344CB8AC3E}">
        <p14:creationId xmlns:p14="http://schemas.microsoft.com/office/powerpoint/2010/main" val="382696261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7147" y="609795"/>
            <a:ext cx="9829122" cy="5669047"/>
          </a:xfrm>
          <a:prstGeom prst="rect">
            <a:avLst/>
          </a:prstGeom>
        </p:spPr>
      </p:pic>
      <p:sp>
        <p:nvSpPr>
          <p:cNvPr id="6" name="Text Placeholder 4">
            <a:extLst>
              <a:ext uri="{FF2B5EF4-FFF2-40B4-BE49-F238E27FC236}">
                <a16:creationId xmlns:a16="http://schemas.microsoft.com/office/drawing/2014/main" id="{B55A3CF3-1A1E-441B-9FBC-32F21D06A2C9}"/>
              </a:ext>
            </a:extLst>
          </p:cNvPr>
          <p:cNvSpPr txBox="1">
            <a:spLocks/>
          </p:cNvSpPr>
          <p:nvPr/>
        </p:nvSpPr>
        <p:spPr>
          <a:xfrm>
            <a:off x="10146222" y="6319358"/>
            <a:ext cx="1790667" cy="374103"/>
          </a:xfrm>
          <a:prstGeom prst="rect">
            <a:avLst/>
          </a:prstGeom>
        </p:spPr>
        <p:txBody>
          <a:bodyPr/>
          <a:lstStyle>
            <a:lvl1pPr marL="0" indent="0" algn="r" defTabSz="914400" rtl="0" eaLnBrk="1" latinLnBrk="0" hangingPunct="1">
              <a:spcBef>
                <a:spcPct val="20000"/>
              </a:spcBef>
              <a:buFontTx/>
              <a:buNone/>
              <a:defRPr sz="800" b="0" i="0" kern="120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67527">
              <a:defRPr/>
            </a:pPr>
            <a:r>
              <a:rPr lang="ru-RU" sz="846" dirty="0"/>
              <a:t>День безопасности труда с подрядными организациями</a:t>
            </a:r>
          </a:p>
        </p:txBody>
      </p:sp>
      <p:sp>
        <p:nvSpPr>
          <p:cNvPr id="2" name="Текст 1"/>
          <p:cNvSpPr>
            <a:spLocks noGrp="1"/>
          </p:cNvSpPr>
          <p:nvPr>
            <p:ph type="body" sz="quarter" idx="11"/>
          </p:nvPr>
        </p:nvSpPr>
        <p:spPr>
          <a:xfrm>
            <a:off x="4419716" y="762184"/>
            <a:ext cx="6171933" cy="1029712"/>
          </a:xfrm>
          <a:ln w="19050">
            <a:solidFill>
              <a:srgbClr val="C00000"/>
            </a:solidFill>
          </a:ln>
        </p:spPr>
        <p:txBody>
          <a:bodyPr>
            <a:normAutofit/>
          </a:bodyPr>
          <a:lstStyle/>
          <a:p>
            <a:pPr algn="ctr"/>
            <a:r>
              <a:rPr lang="ru-RU" sz="2539" dirty="0">
                <a:solidFill>
                  <a:srgbClr val="C00000"/>
                </a:solidFill>
              </a:rPr>
              <a:t>Безопасность на водных объектах в летний период</a:t>
            </a:r>
          </a:p>
        </p:txBody>
      </p:sp>
    </p:spTree>
    <p:extLst>
      <p:ext uri="{BB962C8B-B14F-4D97-AF65-F5344CB8AC3E}">
        <p14:creationId xmlns:p14="http://schemas.microsoft.com/office/powerpoint/2010/main" val="470705389"/>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Текст 6">
            <a:extLst>
              <a:ext uri="{FF2B5EF4-FFF2-40B4-BE49-F238E27FC236}">
                <a16:creationId xmlns:a16="http://schemas.microsoft.com/office/drawing/2014/main" id="{8E6B8E05-B925-406A-B527-E6B8316ACA98}"/>
              </a:ext>
            </a:extLst>
          </p:cNvPr>
          <p:cNvSpPr txBox="1">
            <a:spLocks/>
          </p:cNvSpPr>
          <p:nvPr/>
        </p:nvSpPr>
        <p:spPr>
          <a:xfrm>
            <a:off x="10317" y="345214"/>
            <a:ext cx="2590254" cy="288081"/>
          </a:xfrm>
          <a:prstGeom prst="rect">
            <a:avLst/>
          </a:prstGeom>
        </p:spPr>
        <p:txBody>
          <a:bodyPr vert="horz" lIns="121913" tIns="60956" rIns="121913" bIns="60956" rtlCol="0">
            <a:normAutofit fontScale="92500" lnSpcReduction="10000"/>
          </a:bodyPr>
          <a:lstStyle>
            <a:lvl1pPr marL="0" indent="0" algn="l" defTabSz="1152144" rtl="0" eaLnBrk="1" latinLnBrk="0" hangingPunct="1">
              <a:spcBef>
                <a:spcPct val="20000"/>
              </a:spcBef>
              <a:buFontTx/>
              <a:buNone/>
              <a:defRPr sz="1100" b="0" i="0" kern="1200">
                <a:solidFill>
                  <a:srgbClr val="7F8183"/>
                </a:solidFill>
                <a:latin typeface="Verdana" panose="020B0604030504040204" pitchFamily="34" charset="0"/>
                <a:ea typeface="Verdana" panose="020B0604030504040204" pitchFamily="34" charset="0"/>
                <a:cs typeface="Verdana" panose="020B0604030504040204" pitchFamily="34" charset="0"/>
              </a:defRPr>
            </a:lvl1pPr>
            <a:lvl2pPr marL="936117" indent="-360045" algn="l" defTabSz="1152144" rtl="0" eaLnBrk="1" latinLnBrk="0" hangingPunct="1">
              <a:spcBef>
                <a:spcPct val="20000"/>
              </a:spcBef>
              <a:buFont typeface="Arial" pitchFamily="34" charset="0"/>
              <a:buChar char="–"/>
              <a:defRPr sz="3500" kern="1200">
                <a:solidFill>
                  <a:schemeClr val="tx1"/>
                </a:solidFill>
                <a:latin typeface="+mn-lt"/>
                <a:ea typeface="+mn-ea"/>
                <a:cs typeface="+mn-cs"/>
              </a:defRPr>
            </a:lvl2pPr>
            <a:lvl3pPr marL="1440180" indent="-288036" algn="l" defTabSz="1152144" rtl="0" eaLnBrk="1" latinLnBrk="0" hangingPunct="1">
              <a:spcBef>
                <a:spcPct val="20000"/>
              </a:spcBef>
              <a:buFont typeface="Arial" pitchFamily="34" charset="0"/>
              <a:buChar char="•"/>
              <a:defRPr sz="3000" kern="1200">
                <a:solidFill>
                  <a:schemeClr val="tx1"/>
                </a:solidFill>
                <a:latin typeface="+mn-lt"/>
                <a:ea typeface="+mn-ea"/>
                <a:cs typeface="+mn-cs"/>
              </a:defRPr>
            </a:lvl3pPr>
            <a:lvl4pPr marL="201625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4pPr>
            <a:lvl5pPr marL="2592324"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5pPr>
            <a:lvl6pPr marL="3168396"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744468"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320540"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89661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defTabSz="1219084">
              <a:defRPr/>
            </a:pPr>
            <a:r>
              <a:rPr lang="ru-RU" sz="1164" dirty="0" smtClean="0"/>
              <a:t>Производство земляных работ</a:t>
            </a:r>
            <a:endParaRPr lang="ru-RU" sz="1164" dirty="0"/>
          </a:p>
        </p:txBody>
      </p:sp>
      <p:cxnSp>
        <p:nvCxnSpPr>
          <p:cNvPr id="6" name="Прямая соединительная линия 5"/>
          <p:cNvCxnSpPr/>
          <p:nvPr/>
        </p:nvCxnSpPr>
        <p:spPr>
          <a:xfrm>
            <a:off x="108769" y="305016"/>
            <a:ext cx="11886380"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5" name="Прямоугольник 34"/>
          <p:cNvSpPr/>
          <p:nvPr/>
        </p:nvSpPr>
        <p:spPr>
          <a:xfrm>
            <a:off x="267900" y="775240"/>
            <a:ext cx="5357903" cy="4493538"/>
          </a:xfrm>
          <a:prstGeom prst="rect">
            <a:avLst/>
          </a:prstGeom>
        </p:spPr>
        <p:txBody>
          <a:bodyPr wrap="square">
            <a:spAutoFit/>
          </a:bodyPr>
          <a:lstStyle/>
          <a:p>
            <a:r>
              <a:rPr lang="ru-RU" sz="2200" b="1" dirty="0">
                <a:latin typeface="Verdana" panose="020B0604030504040204" pitchFamily="34" charset="0"/>
                <a:ea typeface="Calibri" panose="020F0502020204030204" pitchFamily="34" charset="0"/>
                <a:cs typeface="Arial" panose="020B0604020202020204" pitchFamily="34" charset="0"/>
              </a:rPr>
              <a:t>Земляные работы </a:t>
            </a:r>
            <a:r>
              <a:rPr lang="ru-RU" sz="2200" dirty="0">
                <a:latin typeface="Verdana" panose="020B0604030504040204" pitchFamily="34" charset="0"/>
                <a:ea typeface="Calibri" panose="020F0502020204030204" pitchFamily="34" charset="0"/>
                <a:cs typeface="Arial" panose="020B0604020202020204" pitchFamily="34" charset="0"/>
              </a:rPr>
              <a:t>- выполнение работ с размещением рабочих мест в выемках и траншеях, связанных со вскрытием грунта на глубину более 30 см (за исключением пахотных работ), забивкой и погружением свай при возведении объектов и сооружений всех видов, подземных и наземных инженерных сетей, коммуникаций, а равно отсыпка грунтом на высоту более 50 см.</a:t>
            </a:r>
            <a:endParaRPr lang="ru-RU" sz="2200" dirty="0"/>
          </a:p>
        </p:txBody>
      </p:sp>
      <p:pic>
        <p:nvPicPr>
          <p:cNvPr id="36" name="Picture 2" descr="Опасные зоны при работе экскаватора."/>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78658" y="633295"/>
            <a:ext cx="4572000" cy="2676525"/>
          </a:xfrm>
          <a:prstGeom prst="rect">
            <a:avLst/>
          </a:prstGeom>
          <a:noFill/>
          <a:extLst>
            <a:ext uri="{909E8E84-426E-40DD-AFC4-6F175D3DCCD1}">
              <a14:hiddenFill xmlns:a14="http://schemas.microsoft.com/office/drawing/2010/main">
                <a:solidFill>
                  <a:srgbClr val="FFFFFF"/>
                </a:solidFill>
              </a14:hiddenFill>
            </a:ext>
          </a:extLst>
        </p:spPr>
      </p:pic>
      <p:pic>
        <p:nvPicPr>
          <p:cNvPr id="37" name="Рисунок 3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78658" y="3309820"/>
            <a:ext cx="4572000" cy="3328416"/>
          </a:xfrm>
          <a:prstGeom prst="rect">
            <a:avLst/>
          </a:prstGeom>
        </p:spPr>
      </p:pic>
    </p:spTree>
    <p:extLst>
      <p:ext uri="{BB962C8B-B14F-4D97-AF65-F5344CB8AC3E}">
        <p14:creationId xmlns:p14="http://schemas.microsoft.com/office/powerpoint/2010/main" val="113204642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Текст 6">
            <a:extLst>
              <a:ext uri="{FF2B5EF4-FFF2-40B4-BE49-F238E27FC236}">
                <a16:creationId xmlns:a16="http://schemas.microsoft.com/office/drawing/2014/main" id="{8E6B8E05-B925-406A-B527-E6B8316ACA98}"/>
              </a:ext>
            </a:extLst>
          </p:cNvPr>
          <p:cNvSpPr txBox="1">
            <a:spLocks/>
          </p:cNvSpPr>
          <p:nvPr/>
        </p:nvSpPr>
        <p:spPr>
          <a:xfrm>
            <a:off x="10317" y="345214"/>
            <a:ext cx="2590254" cy="288081"/>
          </a:xfrm>
          <a:prstGeom prst="rect">
            <a:avLst/>
          </a:prstGeom>
        </p:spPr>
        <p:txBody>
          <a:bodyPr vert="horz" lIns="121913" tIns="60956" rIns="121913" bIns="60956" rtlCol="0">
            <a:normAutofit fontScale="92500" lnSpcReduction="10000"/>
          </a:bodyPr>
          <a:lstStyle>
            <a:lvl1pPr marL="0" indent="0" algn="l" defTabSz="1152144" rtl="0" eaLnBrk="1" latinLnBrk="0" hangingPunct="1">
              <a:spcBef>
                <a:spcPct val="20000"/>
              </a:spcBef>
              <a:buFontTx/>
              <a:buNone/>
              <a:defRPr sz="1100" b="0" i="0" kern="1200">
                <a:solidFill>
                  <a:srgbClr val="7F8183"/>
                </a:solidFill>
                <a:latin typeface="Verdana" panose="020B0604030504040204" pitchFamily="34" charset="0"/>
                <a:ea typeface="Verdana" panose="020B0604030504040204" pitchFamily="34" charset="0"/>
                <a:cs typeface="Verdana" panose="020B0604030504040204" pitchFamily="34" charset="0"/>
              </a:defRPr>
            </a:lvl1pPr>
            <a:lvl2pPr marL="936117" indent="-360045" algn="l" defTabSz="1152144" rtl="0" eaLnBrk="1" latinLnBrk="0" hangingPunct="1">
              <a:spcBef>
                <a:spcPct val="20000"/>
              </a:spcBef>
              <a:buFont typeface="Arial" pitchFamily="34" charset="0"/>
              <a:buChar char="–"/>
              <a:defRPr sz="3500" kern="1200">
                <a:solidFill>
                  <a:schemeClr val="tx1"/>
                </a:solidFill>
                <a:latin typeface="+mn-lt"/>
                <a:ea typeface="+mn-ea"/>
                <a:cs typeface="+mn-cs"/>
              </a:defRPr>
            </a:lvl2pPr>
            <a:lvl3pPr marL="1440180" indent="-288036" algn="l" defTabSz="1152144" rtl="0" eaLnBrk="1" latinLnBrk="0" hangingPunct="1">
              <a:spcBef>
                <a:spcPct val="20000"/>
              </a:spcBef>
              <a:buFont typeface="Arial" pitchFamily="34" charset="0"/>
              <a:buChar char="•"/>
              <a:defRPr sz="3000" kern="1200">
                <a:solidFill>
                  <a:schemeClr val="tx1"/>
                </a:solidFill>
                <a:latin typeface="+mn-lt"/>
                <a:ea typeface="+mn-ea"/>
                <a:cs typeface="+mn-cs"/>
              </a:defRPr>
            </a:lvl3pPr>
            <a:lvl4pPr marL="201625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4pPr>
            <a:lvl5pPr marL="2592324"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5pPr>
            <a:lvl6pPr marL="3168396"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744468"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320540"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89661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defTabSz="1219084">
              <a:defRPr/>
            </a:pPr>
            <a:r>
              <a:rPr lang="ru-RU" sz="1164" dirty="0" smtClean="0"/>
              <a:t>Производство земляных работ</a:t>
            </a:r>
            <a:endParaRPr lang="ru-RU" sz="1164" dirty="0"/>
          </a:p>
        </p:txBody>
      </p:sp>
      <p:cxnSp>
        <p:nvCxnSpPr>
          <p:cNvPr id="6" name="Прямая соединительная линия 5"/>
          <p:cNvCxnSpPr/>
          <p:nvPr/>
        </p:nvCxnSpPr>
        <p:spPr>
          <a:xfrm>
            <a:off x="108769" y="305016"/>
            <a:ext cx="11886380"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 name="Прямоугольник 6"/>
          <p:cNvSpPr/>
          <p:nvPr/>
        </p:nvSpPr>
        <p:spPr>
          <a:xfrm>
            <a:off x="201994" y="751130"/>
            <a:ext cx="11793155" cy="769441"/>
          </a:xfrm>
          <a:prstGeom prst="rect">
            <a:avLst/>
          </a:prstGeom>
        </p:spPr>
        <p:txBody>
          <a:bodyPr wrap="square">
            <a:spAutoFit/>
          </a:bodyPr>
          <a:lstStyle/>
          <a:p>
            <a:pPr algn="just"/>
            <a:r>
              <a:rPr lang="ru-RU" sz="2200" b="1" dirty="0" smtClean="0">
                <a:latin typeface="Verdana" panose="020B0604030504040204" pitchFamily="34" charset="0"/>
                <a:ea typeface="Calibri" panose="020F0502020204030204" pitchFamily="34" charset="0"/>
                <a:cs typeface="Arial" panose="020B0604020202020204" pitchFamily="34" charset="0"/>
              </a:rPr>
              <a:t>За 2022 год на ТПЦ АО «ВМЗ»  зарегистрировано 3 происшествия, связанных с производством земляных работ</a:t>
            </a:r>
            <a:endParaRPr lang="ru-RU" sz="2200" dirty="0"/>
          </a:p>
        </p:txBody>
      </p:sp>
      <p:pic>
        <p:nvPicPr>
          <p:cNvPr id="8" name="Picture 2" descr="https://i9.lbrd.ru/fileentry/get/597/9d/87/cbfe35b9ed142f6d176c8f0957cf.jpe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9968" y="1717288"/>
            <a:ext cx="5748567" cy="4313832"/>
          </a:xfrm>
          <a:prstGeom prst="rect">
            <a:avLst/>
          </a:prstGeom>
          <a:noFill/>
          <a:extLst>
            <a:ext uri="{909E8E84-426E-40DD-AFC4-6F175D3DCCD1}">
              <a14:hiddenFill xmlns:a14="http://schemas.microsoft.com/office/drawing/2010/main">
                <a:solidFill>
                  <a:srgbClr val="FFFFFF"/>
                </a:solidFill>
              </a14:hiddenFill>
            </a:ext>
          </a:extLst>
        </p:spPr>
      </p:pic>
      <p:pic>
        <p:nvPicPr>
          <p:cNvPr id="9" name="Рисунок 8"/>
          <p:cNvPicPr>
            <a:picLocks noChangeAspect="1"/>
          </p:cNvPicPr>
          <p:nvPr/>
        </p:nvPicPr>
        <p:blipFill>
          <a:blip r:embed="rId4"/>
          <a:stretch>
            <a:fillRect/>
          </a:stretch>
        </p:blipFill>
        <p:spPr>
          <a:xfrm>
            <a:off x="6098570" y="1717288"/>
            <a:ext cx="5561931" cy="4313832"/>
          </a:xfrm>
          <a:prstGeom prst="rect">
            <a:avLst/>
          </a:prstGeom>
        </p:spPr>
      </p:pic>
    </p:spTree>
    <p:extLst>
      <p:ext uri="{BB962C8B-B14F-4D97-AF65-F5344CB8AC3E}">
        <p14:creationId xmlns:p14="http://schemas.microsoft.com/office/powerpoint/2010/main" val="392772155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Текст 6">
            <a:extLst>
              <a:ext uri="{FF2B5EF4-FFF2-40B4-BE49-F238E27FC236}">
                <a16:creationId xmlns:a16="http://schemas.microsoft.com/office/drawing/2014/main" id="{8E6B8E05-B925-406A-B527-E6B8316ACA98}"/>
              </a:ext>
            </a:extLst>
          </p:cNvPr>
          <p:cNvSpPr txBox="1">
            <a:spLocks/>
          </p:cNvSpPr>
          <p:nvPr/>
        </p:nvSpPr>
        <p:spPr>
          <a:xfrm>
            <a:off x="10317" y="345214"/>
            <a:ext cx="2590254" cy="288081"/>
          </a:xfrm>
          <a:prstGeom prst="rect">
            <a:avLst/>
          </a:prstGeom>
        </p:spPr>
        <p:txBody>
          <a:bodyPr vert="horz" lIns="121913" tIns="60956" rIns="121913" bIns="60956" rtlCol="0">
            <a:normAutofit fontScale="92500" lnSpcReduction="10000"/>
          </a:bodyPr>
          <a:lstStyle>
            <a:lvl1pPr marL="0" indent="0" algn="l" defTabSz="1152144" rtl="0" eaLnBrk="1" latinLnBrk="0" hangingPunct="1">
              <a:spcBef>
                <a:spcPct val="20000"/>
              </a:spcBef>
              <a:buFontTx/>
              <a:buNone/>
              <a:defRPr sz="1100" b="0" i="0" kern="1200">
                <a:solidFill>
                  <a:srgbClr val="7F8183"/>
                </a:solidFill>
                <a:latin typeface="Verdana" panose="020B0604030504040204" pitchFamily="34" charset="0"/>
                <a:ea typeface="Verdana" panose="020B0604030504040204" pitchFamily="34" charset="0"/>
                <a:cs typeface="Verdana" panose="020B0604030504040204" pitchFamily="34" charset="0"/>
              </a:defRPr>
            </a:lvl1pPr>
            <a:lvl2pPr marL="936117" indent="-360045" algn="l" defTabSz="1152144" rtl="0" eaLnBrk="1" latinLnBrk="0" hangingPunct="1">
              <a:spcBef>
                <a:spcPct val="20000"/>
              </a:spcBef>
              <a:buFont typeface="Arial" pitchFamily="34" charset="0"/>
              <a:buChar char="–"/>
              <a:defRPr sz="3500" kern="1200">
                <a:solidFill>
                  <a:schemeClr val="tx1"/>
                </a:solidFill>
                <a:latin typeface="+mn-lt"/>
                <a:ea typeface="+mn-ea"/>
                <a:cs typeface="+mn-cs"/>
              </a:defRPr>
            </a:lvl2pPr>
            <a:lvl3pPr marL="1440180" indent="-288036" algn="l" defTabSz="1152144" rtl="0" eaLnBrk="1" latinLnBrk="0" hangingPunct="1">
              <a:spcBef>
                <a:spcPct val="20000"/>
              </a:spcBef>
              <a:buFont typeface="Arial" pitchFamily="34" charset="0"/>
              <a:buChar char="•"/>
              <a:defRPr sz="3000" kern="1200">
                <a:solidFill>
                  <a:schemeClr val="tx1"/>
                </a:solidFill>
                <a:latin typeface="+mn-lt"/>
                <a:ea typeface="+mn-ea"/>
                <a:cs typeface="+mn-cs"/>
              </a:defRPr>
            </a:lvl3pPr>
            <a:lvl4pPr marL="201625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4pPr>
            <a:lvl5pPr marL="2592324"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5pPr>
            <a:lvl6pPr marL="3168396"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744468"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320540"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89661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defTabSz="1219084">
              <a:defRPr/>
            </a:pPr>
            <a:r>
              <a:rPr lang="ru-RU" sz="1164" dirty="0" smtClean="0"/>
              <a:t>Производство земляных работ</a:t>
            </a:r>
            <a:endParaRPr lang="ru-RU" sz="1164" dirty="0"/>
          </a:p>
        </p:txBody>
      </p:sp>
      <p:cxnSp>
        <p:nvCxnSpPr>
          <p:cNvPr id="6" name="Прямая соединительная линия 5"/>
          <p:cNvCxnSpPr/>
          <p:nvPr/>
        </p:nvCxnSpPr>
        <p:spPr>
          <a:xfrm>
            <a:off x="108769" y="305016"/>
            <a:ext cx="11886380"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 name="Прямоугольник 6"/>
          <p:cNvSpPr/>
          <p:nvPr/>
        </p:nvSpPr>
        <p:spPr>
          <a:xfrm>
            <a:off x="312067" y="778099"/>
            <a:ext cx="10022378" cy="4154984"/>
          </a:xfrm>
          <a:prstGeom prst="rect">
            <a:avLst/>
          </a:prstGeom>
        </p:spPr>
        <p:txBody>
          <a:bodyPr wrap="square">
            <a:spAutoFit/>
          </a:bodyPr>
          <a:lstStyle/>
          <a:p>
            <a:pPr algn="just"/>
            <a:r>
              <a:rPr lang="ru-RU" sz="2200" b="1" dirty="0" smtClean="0">
                <a:latin typeface="Verdana" panose="020B0604030504040204" pitchFamily="34" charset="0"/>
                <a:ea typeface="Verdana" panose="020B0604030504040204" pitchFamily="34" charset="0"/>
                <a:cs typeface="Arial" panose="020B0604020202020204" pitchFamily="34" charset="0"/>
              </a:rPr>
              <a:t>Основные причины:</a:t>
            </a:r>
          </a:p>
          <a:p>
            <a:pPr algn="just"/>
            <a:r>
              <a:rPr lang="ru-RU" sz="2200" dirty="0" smtClean="0">
                <a:latin typeface="Verdana" panose="020B0604030504040204" pitchFamily="34" charset="0"/>
                <a:ea typeface="Verdana" panose="020B0604030504040204" pitchFamily="34" charset="0"/>
              </a:rPr>
              <a:t>- отсутствие </a:t>
            </a:r>
            <a:r>
              <a:rPr lang="ru-RU" sz="2200" dirty="0">
                <a:latin typeface="Verdana" panose="020B0604030504040204" pitchFamily="34" charset="0"/>
                <a:ea typeface="Verdana" panose="020B0604030504040204" pitchFamily="34" charset="0"/>
              </a:rPr>
              <a:t>актуальной </a:t>
            </a:r>
            <a:r>
              <a:rPr lang="ru-RU" sz="2200" dirty="0" err="1" smtClean="0">
                <a:latin typeface="Verdana" panose="020B0604030504040204" pitchFamily="34" charset="0"/>
                <a:ea typeface="Verdana" panose="020B0604030504040204" pitchFamily="34" charset="0"/>
              </a:rPr>
              <a:t>выкопировки</a:t>
            </a:r>
            <a:endParaRPr lang="ru-RU" sz="2200" dirty="0" smtClean="0">
              <a:latin typeface="Verdana" panose="020B0604030504040204" pitchFamily="34" charset="0"/>
              <a:ea typeface="Verdana" panose="020B0604030504040204" pitchFamily="34" charset="0"/>
            </a:endParaRPr>
          </a:p>
          <a:p>
            <a:pPr algn="just"/>
            <a:r>
              <a:rPr lang="ru-RU" sz="2200" dirty="0" smtClean="0">
                <a:latin typeface="Verdana" panose="020B0604030504040204" pitchFamily="34" charset="0"/>
                <a:ea typeface="Verdana" panose="020B0604030504040204" pitchFamily="34" charset="0"/>
              </a:rPr>
              <a:t>- отсутствие ответственного за производство работ </a:t>
            </a:r>
            <a:r>
              <a:rPr lang="ru-RU" sz="2200" dirty="0">
                <a:latin typeface="Verdana" panose="020B0604030504040204" pitchFamily="34" charset="0"/>
                <a:ea typeface="Verdana" panose="020B0604030504040204" pitchFamily="34" charset="0"/>
              </a:rPr>
              <a:t>на месте выполнения земляных </a:t>
            </a:r>
            <a:r>
              <a:rPr lang="ru-RU" sz="2200" dirty="0" smtClean="0">
                <a:latin typeface="Verdana" panose="020B0604030504040204" pitchFamily="34" charset="0"/>
                <a:ea typeface="Verdana" panose="020B0604030504040204" pitchFamily="34" charset="0"/>
              </a:rPr>
              <a:t>работ</a:t>
            </a:r>
          </a:p>
          <a:p>
            <a:pPr marL="342900" indent="-342900" algn="just">
              <a:buFontTx/>
              <a:buChar char="-"/>
            </a:pPr>
            <a:r>
              <a:rPr lang="ru-RU" sz="2200" dirty="0" smtClean="0">
                <a:latin typeface="Verdana" panose="020B0604030504040204" pitchFamily="34" charset="0"/>
                <a:ea typeface="Verdana" panose="020B0604030504040204" pitchFamily="34" charset="0"/>
              </a:rPr>
              <a:t>не </a:t>
            </a:r>
            <a:r>
              <a:rPr lang="ru-RU" sz="2200" dirty="0">
                <a:latin typeface="Verdana" panose="020B0604030504040204" pitchFamily="34" charset="0"/>
                <a:ea typeface="Verdana" panose="020B0604030504040204" pitchFamily="34" charset="0"/>
              </a:rPr>
              <a:t>выполнено </a:t>
            </a:r>
            <a:r>
              <a:rPr lang="ru-RU" sz="2200" dirty="0" err="1">
                <a:latin typeface="Verdana" panose="020B0604030504040204" pitchFamily="34" charset="0"/>
                <a:ea typeface="Verdana" panose="020B0604030504040204" pitchFamily="34" charset="0"/>
              </a:rPr>
              <a:t>шурфление</a:t>
            </a:r>
            <a:r>
              <a:rPr lang="ru-RU" sz="2200" dirty="0">
                <a:latin typeface="Verdana" panose="020B0604030504040204" pitchFamily="34" charset="0"/>
                <a:ea typeface="Verdana" panose="020B0604030504040204" pitchFamily="34" charset="0"/>
              </a:rPr>
              <a:t> </a:t>
            </a:r>
            <a:r>
              <a:rPr lang="ru-RU" sz="2200" dirty="0" smtClean="0">
                <a:latin typeface="Verdana" panose="020B0604030504040204" pitchFamily="34" charset="0"/>
                <a:ea typeface="Verdana" panose="020B0604030504040204" pitchFamily="34" charset="0"/>
              </a:rPr>
              <a:t>отмеченных на </a:t>
            </a:r>
            <a:r>
              <a:rPr lang="ru-RU" sz="2200" dirty="0" err="1" smtClean="0">
                <a:latin typeface="Verdana" panose="020B0604030504040204" pitchFamily="34" charset="0"/>
                <a:ea typeface="Verdana" panose="020B0604030504040204" pitchFamily="34" charset="0"/>
              </a:rPr>
              <a:t>выкопировке</a:t>
            </a:r>
            <a:r>
              <a:rPr lang="ru-RU" sz="2200" dirty="0" smtClean="0">
                <a:latin typeface="Verdana" panose="020B0604030504040204" pitchFamily="34" charset="0"/>
                <a:ea typeface="Verdana" panose="020B0604030504040204" pitchFamily="34" charset="0"/>
              </a:rPr>
              <a:t> сетей</a:t>
            </a:r>
          </a:p>
          <a:p>
            <a:pPr algn="just"/>
            <a:r>
              <a:rPr lang="ru-RU" sz="2200" dirty="0" smtClean="0">
                <a:latin typeface="Verdana" panose="020B0604030504040204" pitchFamily="34" charset="0"/>
                <a:ea typeface="Verdana" panose="020B0604030504040204" pitchFamily="34" charset="0"/>
              </a:rPr>
              <a:t>- не </a:t>
            </a:r>
            <a:r>
              <a:rPr lang="ru-RU" sz="2200" dirty="0">
                <a:latin typeface="Verdana" panose="020B0604030504040204" pitchFamily="34" charset="0"/>
                <a:ea typeface="Verdana" panose="020B0604030504040204" pitchFamily="34" charset="0"/>
              </a:rPr>
              <a:t>выполнены мероприятия, предусмотренные ПОР и правил безопасности при производстве земляных </a:t>
            </a:r>
            <a:r>
              <a:rPr lang="ru-RU" sz="2200" dirty="0" smtClean="0">
                <a:latin typeface="Verdana" panose="020B0604030504040204" pitchFamily="34" charset="0"/>
                <a:ea typeface="Verdana" panose="020B0604030504040204" pitchFamily="34" charset="0"/>
              </a:rPr>
              <a:t>работ</a:t>
            </a:r>
          </a:p>
          <a:p>
            <a:pPr algn="just"/>
            <a:r>
              <a:rPr lang="ru-RU" sz="2200" dirty="0" smtClean="0">
                <a:latin typeface="Verdana" panose="020B0604030504040204" pitchFamily="34" charset="0"/>
                <a:ea typeface="Verdana" panose="020B0604030504040204" pitchFamily="34" charset="0"/>
              </a:rPr>
              <a:t>- </a:t>
            </a:r>
            <a:r>
              <a:rPr lang="ru-RU" sz="2200" dirty="0">
                <a:latin typeface="Verdana" panose="020B0604030504040204" pitchFamily="34" charset="0"/>
                <a:ea typeface="Verdana" panose="020B0604030504040204" pitchFamily="34" charset="0"/>
              </a:rPr>
              <a:t>п</a:t>
            </a:r>
            <a:r>
              <a:rPr lang="ru-RU" sz="2200" dirty="0" smtClean="0">
                <a:latin typeface="Verdana" panose="020B0604030504040204" pitchFamily="34" charset="0"/>
                <a:ea typeface="Verdana" panose="020B0604030504040204" pitchFamily="34" charset="0"/>
              </a:rPr>
              <a:t>ерсонал не ознакомлен с ППР </a:t>
            </a:r>
            <a:endParaRPr lang="ru-RU" sz="2200" dirty="0">
              <a:latin typeface="Verdana" panose="020B0604030504040204" pitchFamily="34" charset="0"/>
              <a:ea typeface="Verdana" panose="020B0604030504040204" pitchFamily="34" charset="0"/>
            </a:endParaRPr>
          </a:p>
          <a:p>
            <a:pPr marL="342900" indent="-342900" algn="just">
              <a:buFontTx/>
              <a:buChar char="-"/>
            </a:pPr>
            <a:endParaRPr lang="ru-RU" sz="2200" dirty="0" smtClean="0">
              <a:latin typeface="Verdana" panose="020B0604030504040204" pitchFamily="34" charset="0"/>
              <a:ea typeface="Verdana" panose="020B0604030504040204" pitchFamily="34" charset="0"/>
            </a:endParaRPr>
          </a:p>
          <a:p>
            <a:pPr algn="just"/>
            <a:r>
              <a:rPr lang="ru-RU" sz="2200" b="1" dirty="0" smtClean="0">
                <a:latin typeface="Verdana" panose="020B0604030504040204" pitchFamily="34" charset="0"/>
                <a:ea typeface="Verdana" panose="020B0604030504040204" pitchFamily="34" charset="0"/>
              </a:rPr>
              <a:t>Отдельно необходимо выделить причину:</a:t>
            </a:r>
          </a:p>
          <a:p>
            <a:pPr algn="just"/>
            <a:r>
              <a:rPr lang="ru-RU" sz="2200" dirty="0">
                <a:latin typeface="Verdana" panose="020B0604030504040204" pitchFamily="34" charset="0"/>
                <a:ea typeface="Verdana" panose="020B0604030504040204" pitchFamily="34" charset="0"/>
              </a:rPr>
              <a:t>- </a:t>
            </a:r>
            <a:r>
              <a:rPr lang="ru-RU" sz="2200" dirty="0" smtClean="0">
                <a:latin typeface="Verdana" panose="020B0604030504040204" pitchFamily="34" charset="0"/>
                <a:ea typeface="Verdana" panose="020B0604030504040204" pitchFamily="34" charset="0"/>
              </a:rPr>
              <a:t>на </a:t>
            </a:r>
            <a:r>
              <a:rPr lang="ru-RU" sz="2200" dirty="0" err="1">
                <a:latin typeface="Verdana" panose="020B0604030504040204" pitchFamily="34" charset="0"/>
                <a:ea typeface="Verdana" panose="020B0604030504040204" pitchFamily="34" charset="0"/>
              </a:rPr>
              <a:t>выкопировке</a:t>
            </a:r>
            <a:r>
              <a:rPr lang="ru-RU" sz="2200" dirty="0">
                <a:latin typeface="Verdana" panose="020B0604030504040204" pitchFamily="34" charset="0"/>
                <a:ea typeface="Verdana" panose="020B0604030504040204" pitchFamily="34" charset="0"/>
              </a:rPr>
              <a:t> отсутствует информации о поврежденной сети</a:t>
            </a:r>
          </a:p>
          <a:p>
            <a:pPr algn="just"/>
            <a:r>
              <a:rPr lang="ru-RU" sz="2200" dirty="0" smtClean="0"/>
              <a:t> </a:t>
            </a:r>
            <a:endParaRPr lang="ru-RU" sz="2200" dirty="0"/>
          </a:p>
        </p:txBody>
      </p:sp>
    </p:spTree>
    <p:extLst>
      <p:ext uri="{BB962C8B-B14F-4D97-AF65-F5344CB8AC3E}">
        <p14:creationId xmlns:p14="http://schemas.microsoft.com/office/powerpoint/2010/main" val="146077466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Текст 6">
            <a:extLst>
              <a:ext uri="{FF2B5EF4-FFF2-40B4-BE49-F238E27FC236}">
                <a16:creationId xmlns:a16="http://schemas.microsoft.com/office/drawing/2014/main" id="{8E6B8E05-B925-406A-B527-E6B8316ACA98}"/>
              </a:ext>
            </a:extLst>
          </p:cNvPr>
          <p:cNvSpPr txBox="1">
            <a:spLocks/>
          </p:cNvSpPr>
          <p:nvPr/>
        </p:nvSpPr>
        <p:spPr>
          <a:xfrm>
            <a:off x="10317" y="345214"/>
            <a:ext cx="2590254" cy="288081"/>
          </a:xfrm>
          <a:prstGeom prst="rect">
            <a:avLst/>
          </a:prstGeom>
        </p:spPr>
        <p:txBody>
          <a:bodyPr vert="horz" lIns="121913" tIns="60956" rIns="121913" bIns="60956" rtlCol="0">
            <a:normAutofit fontScale="92500" lnSpcReduction="10000"/>
          </a:bodyPr>
          <a:lstStyle>
            <a:lvl1pPr marL="0" indent="0" algn="l" defTabSz="1152144" rtl="0" eaLnBrk="1" latinLnBrk="0" hangingPunct="1">
              <a:spcBef>
                <a:spcPct val="20000"/>
              </a:spcBef>
              <a:buFontTx/>
              <a:buNone/>
              <a:defRPr sz="1100" b="0" i="0" kern="1200">
                <a:solidFill>
                  <a:srgbClr val="7F8183"/>
                </a:solidFill>
                <a:latin typeface="Verdana" panose="020B0604030504040204" pitchFamily="34" charset="0"/>
                <a:ea typeface="Verdana" panose="020B0604030504040204" pitchFamily="34" charset="0"/>
                <a:cs typeface="Verdana" panose="020B0604030504040204" pitchFamily="34" charset="0"/>
              </a:defRPr>
            </a:lvl1pPr>
            <a:lvl2pPr marL="936117" indent="-360045" algn="l" defTabSz="1152144" rtl="0" eaLnBrk="1" latinLnBrk="0" hangingPunct="1">
              <a:spcBef>
                <a:spcPct val="20000"/>
              </a:spcBef>
              <a:buFont typeface="Arial" pitchFamily="34" charset="0"/>
              <a:buChar char="–"/>
              <a:defRPr sz="3500" kern="1200">
                <a:solidFill>
                  <a:schemeClr val="tx1"/>
                </a:solidFill>
                <a:latin typeface="+mn-lt"/>
                <a:ea typeface="+mn-ea"/>
                <a:cs typeface="+mn-cs"/>
              </a:defRPr>
            </a:lvl2pPr>
            <a:lvl3pPr marL="1440180" indent="-288036" algn="l" defTabSz="1152144" rtl="0" eaLnBrk="1" latinLnBrk="0" hangingPunct="1">
              <a:spcBef>
                <a:spcPct val="20000"/>
              </a:spcBef>
              <a:buFont typeface="Arial" pitchFamily="34" charset="0"/>
              <a:buChar char="•"/>
              <a:defRPr sz="3000" kern="1200">
                <a:solidFill>
                  <a:schemeClr val="tx1"/>
                </a:solidFill>
                <a:latin typeface="+mn-lt"/>
                <a:ea typeface="+mn-ea"/>
                <a:cs typeface="+mn-cs"/>
              </a:defRPr>
            </a:lvl3pPr>
            <a:lvl4pPr marL="201625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4pPr>
            <a:lvl5pPr marL="2592324"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5pPr>
            <a:lvl6pPr marL="3168396"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744468"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320540"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89661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defTabSz="1219084">
              <a:defRPr/>
            </a:pPr>
            <a:r>
              <a:rPr lang="ru-RU" sz="1164" dirty="0" smtClean="0"/>
              <a:t>Производство земляных работ</a:t>
            </a:r>
            <a:endParaRPr lang="ru-RU" sz="1164" dirty="0"/>
          </a:p>
        </p:txBody>
      </p:sp>
      <p:cxnSp>
        <p:nvCxnSpPr>
          <p:cNvPr id="6" name="Прямая соединительная линия 5"/>
          <p:cNvCxnSpPr/>
          <p:nvPr/>
        </p:nvCxnSpPr>
        <p:spPr>
          <a:xfrm>
            <a:off x="108769" y="305016"/>
            <a:ext cx="11886380"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 name="Picture 2" descr="https://img.ppt.ru/img/3a30c3013b8eb4c7b696d5912493e488.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06716" y="1490300"/>
            <a:ext cx="4271626" cy="3621024"/>
          </a:xfrm>
          <a:prstGeom prst="rect">
            <a:avLst/>
          </a:prstGeom>
          <a:noFill/>
          <a:extLst>
            <a:ext uri="{909E8E84-426E-40DD-AFC4-6F175D3DCCD1}">
              <a14:hiddenFill xmlns:a14="http://schemas.microsoft.com/office/drawing/2010/main">
                <a:solidFill>
                  <a:srgbClr val="FFFFFF"/>
                </a:solidFill>
              </a14:hiddenFill>
            </a:ext>
          </a:extLst>
        </p:spPr>
      </p:pic>
      <p:sp>
        <p:nvSpPr>
          <p:cNvPr id="8" name="Прямоугольник 7"/>
          <p:cNvSpPr/>
          <p:nvPr/>
        </p:nvSpPr>
        <p:spPr>
          <a:xfrm>
            <a:off x="108769" y="1151810"/>
            <a:ext cx="7078255" cy="4524315"/>
          </a:xfrm>
          <a:prstGeom prst="rect">
            <a:avLst/>
          </a:prstGeom>
        </p:spPr>
        <p:txBody>
          <a:bodyPr wrap="square">
            <a:spAutoFit/>
          </a:bodyPr>
          <a:lstStyle/>
          <a:p>
            <a:pPr marL="342900" indent="-342900" algn="just">
              <a:buAutoNum type="arabicPeriod"/>
            </a:pPr>
            <a:r>
              <a:rPr lang="ru-RU" dirty="0" smtClean="0">
                <a:latin typeface="Verdana" panose="020B0604030504040204" pitchFamily="34" charset="0"/>
                <a:ea typeface="Verdana" panose="020B0604030504040204" pitchFamily="34" charset="0"/>
                <a:cs typeface="Times New Roman" panose="02020603050405020304" pitchFamily="18" charset="0"/>
              </a:rPr>
              <a:t>Принять от Заказчика площадку</a:t>
            </a:r>
          </a:p>
          <a:p>
            <a:pPr marL="342900" indent="-342900" algn="just">
              <a:buAutoNum type="arabicPeriod"/>
            </a:pPr>
            <a:r>
              <a:rPr lang="ru-RU" dirty="0" smtClean="0">
                <a:latin typeface="Verdana" panose="020B0604030504040204" pitchFamily="34" charset="0"/>
                <a:ea typeface="Verdana" panose="020B0604030504040204" pitchFamily="34" charset="0"/>
                <a:cs typeface="Times New Roman" panose="02020603050405020304" pitchFamily="18" charset="0"/>
              </a:rPr>
              <a:t>Получить РД </a:t>
            </a:r>
            <a:r>
              <a:rPr lang="ru-RU" dirty="0">
                <a:latin typeface="Verdana" panose="020B0604030504040204" pitchFamily="34" charset="0"/>
                <a:ea typeface="Verdana" panose="020B0604030504040204" pitchFamily="34" charset="0"/>
                <a:cs typeface="Times New Roman" panose="02020603050405020304" pitchFamily="18" charset="0"/>
              </a:rPr>
              <a:t>со штампом «В производство работ</a:t>
            </a:r>
            <a:r>
              <a:rPr lang="ru-RU" dirty="0" smtClean="0">
                <a:latin typeface="Verdana" panose="020B0604030504040204" pitchFamily="34" charset="0"/>
                <a:ea typeface="Verdana" panose="020B0604030504040204" pitchFamily="34" charset="0"/>
                <a:cs typeface="Times New Roman" panose="02020603050405020304" pitchFamily="18" charset="0"/>
              </a:rPr>
              <a:t>»</a:t>
            </a:r>
          </a:p>
          <a:p>
            <a:pPr marL="342900" indent="-342900" algn="just">
              <a:buAutoNum type="arabicPeriod"/>
            </a:pPr>
            <a:r>
              <a:rPr lang="ru-RU" dirty="0" smtClean="0">
                <a:latin typeface="Verdana" panose="020B0604030504040204" pitchFamily="34" charset="0"/>
                <a:ea typeface="Verdana" panose="020B0604030504040204" pitchFamily="34" charset="0"/>
              </a:rPr>
              <a:t>Получить «Акт </a:t>
            </a:r>
            <a:r>
              <a:rPr lang="ru-RU" dirty="0">
                <a:latin typeface="Verdana" panose="020B0604030504040204" pitchFamily="34" charset="0"/>
                <a:ea typeface="Verdana" panose="020B0604030504040204" pitchFamily="34" charset="0"/>
              </a:rPr>
              <a:t>освидетельствования геодезической разбивочной основы объекта капитального строительства» </a:t>
            </a:r>
            <a:r>
              <a:rPr lang="ru-RU" dirty="0" smtClean="0">
                <a:latin typeface="Verdana" panose="020B0604030504040204" pitchFamily="34" charset="0"/>
                <a:ea typeface="Verdana" panose="020B0604030504040204" pitchFamily="34" charset="0"/>
                <a:cs typeface="Times New Roman" panose="02020603050405020304" pitchFamily="18" charset="0"/>
              </a:rPr>
              <a:t> </a:t>
            </a:r>
          </a:p>
          <a:p>
            <a:pPr marL="342900" indent="-342900" algn="just">
              <a:buAutoNum type="arabicPeriod"/>
            </a:pPr>
            <a:r>
              <a:rPr lang="ru-RU" dirty="0" smtClean="0">
                <a:latin typeface="Verdana" panose="020B0604030504040204" pitchFamily="34" charset="0"/>
                <a:ea typeface="Verdana" panose="020B0604030504040204" pitchFamily="34" charset="0"/>
              </a:rPr>
              <a:t>Выпустить приказы </a:t>
            </a:r>
            <a:r>
              <a:rPr lang="ru-RU" dirty="0">
                <a:latin typeface="Verdana" panose="020B0604030504040204" pitchFamily="34" charset="0"/>
                <a:ea typeface="Verdana" panose="020B0604030504040204" pitchFamily="34" charset="0"/>
              </a:rPr>
              <a:t>о назначение ответственных за организацию и выполнение </a:t>
            </a:r>
            <a:r>
              <a:rPr lang="ru-RU" dirty="0" smtClean="0">
                <a:latin typeface="Verdana" panose="020B0604030504040204" pitchFamily="34" charset="0"/>
                <a:ea typeface="Verdana" panose="020B0604030504040204" pitchFamily="34" charset="0"/>
              </a:rPr>
              <a:t>работ</a:t>
            </a:r>
          </a:p>
          <a:p>
            <a:pPr marL="342900" indent="-342900" algn="just">
              <a:buAutoNum type="arabicPeriod"/>
            </a:pPr>
            <a:r>
              <a:rPr lang="ru-RU" dirty="0" smtClean="0">
                <a:latin typeface="Verdana" panose="020B0604030504040204" pitchFamily="34" charset="0"/>
                <a:ea typeface="Verdana" panose="020B0604030504040204" pitchFamily="34" charset="0"/>
              </a:rPr>
              <a:t>Получить «</a:t>
            </a:r>
            <a:r>
              <a:rPr lang="ru-RU" dirty="0" err="1" smtClean="0">
                <a:latin typeface="Verdana" panose="020B0604030504040204" pitchFamily="34" charset="0"/>
                <a:ea typeface="Verdana" panose="020B0604030504040204" pitchFamily="34" charset="0"/>
              </a:rPr>
              <a:t>выкопировку</a:t>
            </a:r>
            <a:r>
              <a:rPr lang="ru-RU" dirty="0" smtClean="0">
                <a:latin typeface="Verdana" panose="020B0604030504040204" pitchFamily="34" charset="0"/>
                <a:ea typeface="Verdana" panose="020B0604030504040204" pitchFamily="34" charset="0"/>
              </a:rPr>
              <a:t>» из генплана</a:t>
            </a:r>
          </a:p>
          <a:p>
            <a:pPr marL="342900" indent="-342900" algn="just">
              <a:buAutoNum type="arabicPeriod"/>
            </a:pPr>
            <a:r>
              <a:rPr lang="ru-RU" dirty="0">
                <a:latin typeface="Verdana" panose="020B0604030504040204" pitchFamily="34" charset="0"/>
                <a:ea typeface="Verdana" panose="020B0604030504040204" pitchFamily="34" charset="0"/>
              </a:rPr>
              <a:t>Разработать и согласовать с Заказчиком ППР (ПОР</a:t>
            </a:r>
            <a:r>
              <a:rPr lang="ru-RU" dirty="0" smtClean="0">
                <a:latin typeface="Verdana" panose="020B0604030504040204" pitchFamily="34" charset="0"/>
                <a:ea typeface="Verdana" panose="020B0604030504040204" pitchFamily="34" charset="0"/>
              </a:rPr>
              <a:t>)</a:t>
            </a:r>
          </a:p>
          <a:p>
            <a:pPr marL="342900" indent="-342900" algn="just">
              <a:buAutoNum type="arabicPeriod"/>
            </a:pPr>
            <a:r>
              <a:rPr lang="ru-RU" dirty="0" smtClean="0">
                <a:latin typeface="Verdana" panose="020B0604030504040204" pitchFamily="34" charset="0"/>
                <a:ea typeface="Verdana" panose="020B0604030504040204" pitchFamily="34" charset="0"/>
              </a:rPr>
              <a:t>Оформить </a:t>
            </a:r>
            <a:r>
              <a:rPr lang="ru-RU" dirty="0">
                <a:latin typeface="Verdana" panose="020B0604030504040204" pitchFamily="34" charset="0"/>
                <a:ea typeface="Verdana" panose="020B0604030504040204" pitchFamily="34" charset="0"/>
              </a:rPr>
              <a:t>Разрешение на производство земляных работ </a:t>
            </a:r>
            <a:endParaRPr lang="ru-RU" dirty="0" smtClean="0">
              <a:latin typeface="Verdana" panose="020B0604030504040204" pitchFamily="34" charset="0"/>
              <a:ea typeface="Verdana" panose="020B0604030504040204" pitchFamily="34" charset="0"/>
            </a:endParaRPr>
          </a:p>
          <a:p>
            <a:pPr marL="342900" indent="-342900" algn="just">
              <a:buAutoNum type="arabicPeriod"/>
            </a:pPr>
            <a:r>
              <a:rPr lang="ru-RU" dirty="0" smtClean="0">
                <a:latin typeface="Verdana" panose="020B0604030504040204" pitchFamily="34" charset="0"/>
                <a:ea typeface="Verdana" panose="020B0604030504040204" pitchFamily="34" charset="0"/>
              </a:rPr>
              <a:t>Выполнить мероприятия согласно Разрешению и подписать Акт </a:t>
            </a:r>
            <a:r>
              <a:rPr lang="ru-RU" dirty="0">
                <a:latin typeface="Verdana" panose="020B0604030504040204" pitchFamily="34" charset="0"/>
                <a:ea typeface="Verdana" panose="020B0604030504040204" pitchFamily="34" charset="0"/>
              </a:rPr>
              <a:t>соответствия выполненных подготовительных работ требованиям </a:t>
            </a:r>
            <a:r>
              <a:rPr lang="ru-RU" dirty="0" smtClean="0">
                <a:latin typeface="Verdana" panose="020B0604030504040204" pitchFamily="34" charset="0"/>
                <a:ea typeface="Verdana" panose="020B0604030504040204" pitchFamily="34" charset="0"/>
              </a:rPr>
              <a:t>безопасности</a:t>
            </a:r>
          </a:p>
          <a:p>
            <a:pPr marL="342900" indent="-342900" algn="just">
              <a:buAutoNum type="arabicPeriod"/>
            </a:pPr>
            <a:r>
              <a:rPr lang="ru-RU" dirty="0" smtClean="0">
                <a:latin typeface="Verdana" panose="020B0604030504040204" pitchFamily="34" charset="0"/>
                <a:ea typeface="Verdana" panose="020B0604030504040204" pitchFamily="34" charset="0"/>
              </a:rPr>
              <a:t>Оформить наряд-допуск</a:t>
            </a:r>
          </a:p>
          <a:p>
            <a:pPr marL="342900" indent="-342900" algn="just">
              <a:buAutoNum type="arabicPeriod"/>
            </a:pPr>
            <a:endParaRPr lang="ru-RU" dirty="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161909959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Текст 6">
            <a:extLst>
              <a:ext uri="{FF2B5EF4-FFF2-40B4-BE49-F238E27FC236}">
                <a16:creationId xmlns:a16="http://schemas.microsoft.com/office/drawing/2014/main" id="{8E6B8E05-B925-406A-B527-E6B8316ACA98}"/>
              </a:ext>
            </a:extLst>
          </p:cNvPr>
          <p:cNvSpPr txBox="1">
            <a:spLocks/>
          </p:cNvSpPr>
          <p:nvPr/>
        </p:nvSpPr>
        <p:spPr>
          <a:xfrm>
            <a:off x="10317" y="345214"/>
            <a:ext cx="2590254" cy="288081"/>
          </a:xfrm>
          <a:prstGeom prst="rect">
            <a:avLst/>
          </a:prstGeom>
        </p:spPr>
        <p:txBody>
          <a:bodyPr vert="horz" lIns="121913" tIns="60956" rIns="121913" bIns="60956" rtlCol="0">
            <a:normAutofit fontScale="92500" lnSpcReduction="10000"/>
          </a:bodyPr>
          <a:lstStyle>
            <a:lvl1pPr marL="0" indent="0" algn="l" defTabSz="1152144" rtl="0" eaLnBrk="1" latinLnBrk="0" hangingPunct="1">
              <a:spcBef>
                <a:spcPct val="20000"/>
              </a:spcBef>
              <a:buFontTx/>
              <a:buNone/>
              <a:defRPr sz="1100" b="0" i="0" kern="1200">
                <a:solidFill>
                  <a:srgbClr val="7F8183"/>
                </a:solidFill>
                <a:latin typeface="Verdana" panose="020B0604030504040204" pitchFamily="34" charset="0"/>
                <a:ea typeface="Verdana" panose="020B0604030504040204" pitchFamily="34" charset="0"/>
                <a:cs typeface="Verdana" panose="020B0604030504040204" pitchFamily="34" charset="0"/>
              </a:defRPr>
            </a:lvl1pPr>
            <a:lvl2pPr marL="936117" indent="-360045" algn="l" defTabSz="1152144" rtl="0" eaLnBrk="1" latinLnBrk="0" hangingPunct="1">
              <a:spcBef>
                <a:spcPct val="20000"/>
              </a:spcBef>
              <a:buFont typeface="Arial" pitchFamily="34" charset="0"/>
              <a:buChar char="–"/>
              <a:defRPr sz="3500" kern="1200">
                <a:solidFill>
                  <a:schemeClr val="tx1"/>
                </a:solidFill>
                <a:latin typeface="+mn-lt"/>
                <a:ea typeface="+mn-ea"/>
                <a:cs typeface="+mn-cs"/>
              </a:defRPr>
            </a:lvl2pPr>
            <a:lvl3pPr marL="1440180" indent="-288036" algn="l" defTabSz="1152144" rtl="0" eaLnBrk="1" latinLnBrk="0" hangingPunct="1">
              <a:spcBef>
                <a:spcPct val="20000"/>
              </a:spcBef>
              <a:buFont typeface="Arial" pitchFamily="34" charset="0"/>
              <a:buChar char="•"/>
              <a:defRPr sz="3000" kern="1200">
                <a:solidFill>
                  <a:schemeClr val="tx1"/>
                </a:solidFill>
                <a:latin typeface="+mn-lt"/>
                <a:ea typeface="+mn-ea"/>
                <a:cs typeface="+mn-cs"/>
              </a:defRPr>
            </a:lvl3pPr>
            <a:lvl4pPr marL="201625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4pPr>
            <a:lvl5pPr marL="2592324"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5pPr>
            <a:lvl6pPr marL="3168396"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744468"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320540"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89661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defTabSz="1219084">
              <a:defRPr/>
            </a:pPr>
            <a:r>
              <a:rPr lang="ru-RU" sz="1164" dirty="0" smtClean="0"/>
              <a:t>Производство земляных работ</a:t>
            </a:r>
            <a:endParaRPr lang="ru-RU" sz="1164" dirty="0"/>
          </a:p>
        </p:txBody>
      </p:sp>
      <p:cxnSp>
        <p:nvCxnSpPr>
          <p:cNvPr id="6" name="Прямая соединительная линия 5"/>
          <p:cNvCxnSpPr/>
          <p:nvPr/>
        </p:nvCxnSpPr>
        <p:spPr>
          <a:xfrm>
            <a:off x="108769" y="305016"/>
            <a:ext cx="11886380"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 name="Прямоугольник 6"/>
          <p:cNvSpPr/>
          <p:nvPr/>
        </p:nvSpPr>
        <p:spPr>
          <a:xfrm>
            <a:off x="335418" y="1072088"/>
            <a:ext cx="7160622" cy="2462213"/>
          </a:xfrm>
          <a:prstGeom prst="rect">
            <a:avLst/>
          </a:prstGeom>
        </p:spPr>
        <p:txBody>
          <a:bodyPr wrap="square">
            <a:spAutoFit/>
          </a:bodyPr>
          <a:lstStyle/>
          <a:p>
            <a:pPr algn="just"/>
            <a:r>
              <a:rPr lang="ru-RU" sz="2200" dirty="0">
                <a:latin typeface="Verdana" panose="020B0604030504040204" pitchFamily="34" charset="0"/>
                <a:ea typeface="Calibri" panose="020F0502020204030204" pitchFamily="34" charset="0"/>
                <a:cs typeface="Arial" panose="020B0604020202020204" pitchFamily="34" charset="0"/>
              </a:rPr>
              <a:t>Работы, связанные с повышенной </a:t>
            </a:r>
            <a:r>
              <a:rPr lang="ru-RU" sz="2200" dirty="0" smtClean="0">
                <a:latin typeface="Verdana" panose="020B0604030504040204" pitchFamily="34" charset="0"/>
                <a:ea typeface="Calibri" panose="020F0502020204030204" pitchFamily="34" charset="0"/>
                <a:cs typeface="Arial" panose="020B0604020202020204" pitchFamily="34" charset="0"/>
              </a:rPr>
              <a:t>опасностью </a:t>
            </a:r>
            <a:r>
              <a:rPr lang="ru-RU" sz="2200" dirty="0">
                <a:latin typeface="Verdana" panose="020B0604030504040204" pitchFamily="34" charset="0"/>
                <a:ea typeface="Calibri" panose="020F0502020204030204" pitchFamily="34" charset="0"/>
                <a:cs typeface="Arial" panose="020B0604020202020204" pitchFamily="34" charset="0"/>
              </a:rPr>
              <a:t>должны выполняться в соответствии с нарядом-допуском, определяющим содержание, место, время и условия производства работ, необходимые меры безопасности, состав бригады и лиц, </a:t>
            </a:r>
            <a:r>
              <a:rPr lang="ru-RU" sz="2200" dirty="0">
                <a:latin typeface="Verdana" panose="020B0604030504040204" pitchFamily="34" charset="0"/>
                <a:ea typeface="Calibri" panose="020F0502020204030204" pitchFamily="34" charset="0"/>
                <a:cs typeface="Times New Roman" panose="02020603050405020304" pitchFamily="18" charset="0"/>
              </a:rPr>
              <a:t>ответственных за безопасность </a:t>
            </a:r>
            <a:r>
              <a:rPr lang="ru-RU" sz="2200" dirty="0" smtClean="0">
                <a:latin typeface="Verdana" panose="020B0604030504040204" pitchFamily="34" charset="0"/>
                <a:ea typeface="Calibri" panose="020F0502020204030204" pitchFamily="34" charset="0"/>
                <a:cs typeface="Times New Roman" panose="02020603050405020304" pitchFamily="18" charset="0"/>
              </a:rPr>
              <a:t>работ</a:t>
            </a:r>
            <a:endParaRPr lang="ru-RU" sz="2200" dirty="0"/>
          </a:p>
        </p:txBody>
      </p:sp>
      <p:pic>
        <p:nvPicPr>
          <p:cNvPr id="9" name="Picture 2" descr="https://ohranatryda.ru/wp-content/uploads/2019/08/2-zapolneni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03406" y="1450642"/>
            <a:ext cx="3374278" cy="3436140"/>
          </a:xfrm>
          <a:prstGeom prst="rect">
            <a:avLst/>
          </a:prstGeom>
          <a:noFill/>
          <a:extLst>
            <a:ext uri="{909E8E84-426E-40DD-AFC4-6F175D3DCCD1}">
              <a14:hiddenFill xmlns:a14="http://schemas.microsoft.com/office/drawing/2010/main">
                <a:solidFill>
                  <a:srgbClr val="FFFFFF"/>
                </a:solidFill>
              </a14:hiddenFill>
            </a:ext>
          </a:extLst>
        </p:spPr>
      </p:pic>
      <p:sp>
        <p:nvSpPr>
          <p:cNvPr id="10" name="Прямоугольник 9"/>
          <p:cNvSpPr/>
          <p:nvPr/>
        </p:nvSpPr>
        <p:spPr>
          <a:xfrm>
            <a:off x="335419" y="3751541"/>
            <a:ext cx="7160621" cy="1785104"/>
          </a:xfrm>
          <a:prstGeom prst="rect">
            <a:avLst/>
          </a:prstGeom>
        </p:spPr>
        <p:txBody>
          <a:bodyPr wrap="square">
            <a:spAutoFit/>
          </a:bodyPr>
          <a:lstStyle/>
          <a:p>
            <a:r>
              <a:rPr lang="ru-RU" sz="2200" dirty="0">
                <a:latin typeface="Verdana" panose="020B0604030504040204" pitchFamily="34" charset="0"/>
                <a:ea typeface="Calibri" panose="020F0502020204030204" pitchFamily="34" charset="0"/>
                <a:cs typeface="Arial" panose="020B0604020202020204" pitchFamily="34" charset="0"/>
              </a:rPr>
              <a:t>При выполнении работ в охранных зонах сооружений или коммуникаций наряд-допуск должен выдаваться при наличии письменного разрешения организации - владельца этого сооружения или коммуникации.</a:t>
            </a:r>
            <a:endParaRPr lang="ru-RU" sz="2200" dirty="0"/>
          </a:p>
        </p:txBody>
      </p:sp>
    </p:spTree>
    <p:extLst>
      <p:ext uri="{BB962C8B-B14F-4D97-AF65-F5344CB8AC3E}">
        <p14:creationId xmlns:p14="http://schemas.microsoft.com/office/powerpoint/2010/main" val="382599273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Текст 6">
            <a:extLst>
              <a:ext uri="{FF2B5EF4-FFF2-40B4-BE49-F238E27FC236}">
                <a16:creationId xmlns:a16="http://schemas.microsoft.com/office/drawing/2014/main" id="{8E6B8E05-B925-406A-B527-E6B8316ACA98}"/>
              </a:ext>
            </a:extLst>
          </p:cNvPr>
          <p:cNvSpPr txBox="1">
            <a:spLocks/>
          </p:cNvSpPr>
          <p:nvPr/>
        </p:nvSpPr>
        <p:spPr>
          <a:xfrm>
            <a:off x="10317" y="345214"/>
            <a:ext cx="2590254" cy="288081"/>
          </a:xfrm>
          <a:prstGeom prst="rect">
            <a:avLst/>
          </a:prstGeom>
        </p:spPr>
        <p:txBody>
          <a:bodyPr vert="horz" lIns="121913" tIns="60956" rIns="121913" bIns="60956" rtlCol="0">
            <a:normAutofit fontScale="92500" lnSpcReduction="10000"/>
          </a:bodyPr>
          <a:lstStyle>
            <a:lvl1pPr marL="0" indent="0" algn="l" defTabSz="1152144" rtl="0" eaLnBrk="1" latinLnBrk="0" hangingPunct="1">
              <a:spcBef>
                <a:spcPct val="20000"/>
              </a:spcBef>
              <a:buFontTx/>
              <a:buNone/>
              <a:defRPr sz="1100" b="0" i="0" kern="1200">
                <a:solidFill>
                  <a:srgbClr val="7F8183"/>
                </a:solidFill>
                <a:latin typeface="Verdana" panose="020B0604030504040204" pitchFamily="34" charset="0"/>
                <a:ea typeface="Verdana" panose="020B0604030504040204" pitchFamily="34" charset="0"/>
                <a:cs typeface="Verdana" panose="020B0604030504040204" pitchFamily="34" charset="0"/>
              </a:defRPr>
            </a:lvl1pPr>
            <a:lvl2pPr marL="936117" indent="-360045" algn="l" defTabSz="1152144" rtl="0" eaLnBrk="1" latinLnBrk="0" hangingPunct="1">
              <a:spcBef>
                <a:spcPct val="20000"/>
              </a:spcBef>
              <a:buFont typeface="Arial" pitchFamily="34" charset="0"/>
              <a:buChar char="–"/>
              <a:defRPr sz="3500" kern="1200">
                <a:solidFill>
                  <a:schemeClr val="tx1"/>
                </a:solidFill>
                <a:latin typeface="+mn-lt"/>
                <a:ea typeface="+mn-ea"/>
                <a:cs typeface="+mn-cs"/>
              </a:defRPr>
            </a:lvl2pPr>
            <a:lvl3pPr marL="1440180" indent="-288036" algn="l" defTabSz="1152144" rtl="0" eaLnBrk="1" latinLnBrk="0" hangingPunct="1">
              <a:spcBef>
                <a:spcPct val="20000"/>
              </a:spcBef>
              <a:buFont typeface="Arial" pitchFamily="34" charset="0"/>
              <a:buChar char="•"/>
              <a:defRPr sz="3000" kern="1200">
                <a:solidFill>
                  <a:schemeClr val="tx1"/>
                </a:solidFill>
                <a:latin typeface="+mn-lt"/>
                <a:ea typeface="+mn-ea"/>
                <a:cs typeface="+mn-cs"/>
              </a:defRPr>
            </a:lvl3pPr>
            <a:lvl4pPr marL="201625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4pPr>
            <a:lvl5pPr marL="2592324"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5pPr>
            <a:lvl6pPr marL="3168396"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744468"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320540"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89661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defTabSz="1219084">
              <a:defRPr/>
            </a:pPr>
            <a:r>
              <a:rPr lang="ru-RU" sz="1164" dirty="0" smtClean="0"/>
              <a:t>Производство земляных работ</a:t>
            </a:r>
            <a:endParaRPr lang="ru-RU" sz="1164" dirty="0"/>
          </a:p>
        </p:txBody>
      </p:sp>
      <p:cxnSp>
        <p:nvCxnSpPr>
          <p:cNvPr id="6" name="Прямая соединительная линия 5"/>
          <p:cNvCxnSpPr/>
          <p:nvPr/>
        </p:nvCxnSpPr>
        <p:spPr>
          <a:xfrm>
            <a:off x="108769" y="305016"/>
            <a:ext cx="11886380"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 name="Прямоугольник 7"/>
          <p:cNvSpPr/>
          <p:nvPr/>
        </p:nvSpPr>
        <p:spPr>
          <a:xfrm>
            <a:off x="108769" y="736447"/>
            <a:ext cx="6128129" cy="5940088"/>
          </a:xfrm>
          <a:prstGeom prst="rect">
            <a:avLst/>
          </a:prstGeom>
        </p:spPr>
        <p:txBody>
          <a:bodyPr wrap="square">
            <a:spAutoFit/>
          </a:bodyPr>
          <a:lstStyle/>
          <a:p>
            <a:pPr indent="449580" algn="just">
              <a:spcBef>
                <a:spcPts val="1200"/>
              </a:spcBef>
              <a:spcAft>
                <a:spcPts val="0"/>
              </a:spcAft>
            </a:pPr>
            <a:r>
              <a:rPr lang="ru-RU" dirty="0">
                <a:latin typeface="Verdana" panose="020B0604030504040204" pitchFamily="34" charset="0"/>
                <a:ea typeface="Times New Roman" panose="02020603050405020304" pitchFamily="18" charset="0"/>
                <a:cs typeface="Arial" panose="020B0604020202020204" pitchFamily="34" charset="0"/>
              </a:rPr>
              <a:t>Производство работ в охранной зоне кабелей высокого напряжения, действующего газопровода, других коммуникаций следует осуществлять по наряду-допуску под непосредственным наблюдением руководителя (производителя) работ, а в охранной зоне кабелей, находящихся под напряжением, или действующих газопроводов, кроме того, под наблюдением работников организаций, эксплуатирующих эти коммуникации.</a:t>
            </a:r>
            <a:endParaRPr lang="ru-RU" sz="2000" dirty="0">
              <a:latin typeface="Times New Roman" panose="02020603050405020304" pitchFamily="18" charset="0"/>
              <a:ea typeface="Times New Roman" panose="02020603050405020304" pitchFamily="18" charset="0"/>
            </a:endParaRPr>
          </a:p>
          <a:p>
            <a:pPr indent="449580" algn="just">
              <a:spcBef>
                <a:spcPts val="1200"/>
              </a:spcBef>
              <a:spcAft>
                <a:spcPts val="0"/>
              </a:spcAft>
            </a:pPr>
            <a:r>
              <a:rPr lang="ru-RU" dirty="0">
                <a:latin typeface="Verdana" panose="020B0604030504040204" pitchFamily="34" charset="0"/>
                <a:ea typeface="Times New Roman" panose="02020603050405020304" pitchFamily="18" charset="0"/>
                <a:cs typeface="Arial" panose="020B0604020202020204" pitchFamily="34" charset="0"/>
              </a:rPr>
              <a:t>Разработка грунта в непосредственной близости от действующих подземных коммуникаций допускается только при помощи лопат, без помощи ударных инструментов.</a:t>
            </a:r>
            <a:endParaRPr lang="ru-RU" sz="2000" dirty="0">
              <a:latin typeface="Times New Roman" panose="02020603050405020304" pitchFamily="18" charset="0"/>
              <a:ea typeface="Times New Roman" panose="02020603050405020304" pitchFamily="18" charset="0"/>
            </a:endParaRPr>
          </a:p>
          <a:p>
            <a:pPr indent="449580" algn="just">
              <a:spcBef>
                <a:spcPts val="1200"/>
              </a:spcBef>
              <a:spcAft>
                <a:spcPts val="0"/>
              </a:spcAft>
            </a:pPr>
            <a:r>
              <a:rPr lang="ru-RU" dirty="0">
                <a:latin typeface="Verdana" panose="020B0604030504040204" pitchFamily="34" charset="0"/>
                <a:ea typeface="Times New Roman" panose="02020603050405020304" pitchFamily="18" charset="0"/>
                <a:cs typeface="Arial" panose="020B0604020202020204" pitchFamily="34" charset="0"/>
              </a:rPr>
              <a:t>Применение землеройных машин в местах пересечения выемок с действующими коммуникациями, не защищенными от механических повреждений, разрешается по согласованию с организациями - владельцами коммуникаций.</a:t>
            </a:r>
            <a:endParaRPr lang="ru-RU" sz="2000" dirty="0">
              <a:effectLst/>
              <a:latin typeface="Times New Roman" panose="02020603050405020304" pitchFamily="18" charset="0"/>
              <a:ea typeface="Times New Roman" panose="02020603050405020304" pitchFamily="18" charset="0"/>
            </a:endParaRPr>
          </a:p>
        </p:txBody>
      </p:sp>
      <p:pic>
        <p:nvPicPr>
          <p:cNvPr id="11" name="Picture 4" descr="https://dpkgroup.ru/wp-content/uploads/7/0/7/70756171561e03f574f442459c214da6.jpe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93937" y="1360554"/>
            <a:ext cx="5196459" cy="3953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141081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Текст 6">
            <a:extLst>
              <a:ext uri="{FF2B5EF4-FFF2-40B4-BE49-F238E27FC236}">
                <a16:creationId xmlns:a16="http://schemas.microsoft.com/office/drawing/2014/main" id="{8E6B8E05-B925-406A-B527-E6B8316ACA98}"/>
              </a:ext>
            </a:extLst>
          </p:cNvPr>
          <p:cNvSpPr txBox="1">
            <a:spLocks/>
          </p:cNvSpPr>
          <p:nvPr/>
        </p:nvSpPr>
        <p:spPr>
          <a:xfrm>
            <a:off x="10317" y="345214"/>
            <a:ext cx="2590254" cy="288081"/>
          </a:xfrm>
          <a:prstGeom prst="rect">
            <a:avLst/>
          </a:prstGeom>
        </p:spPr>
        <p:txBody>
          <a:bodyPr vert="horz" lIns="121913" tIns="60956" rIns="121913" bIns="60956" rtlCol="0">
            <a:normAutofit fontScale="92500" lnSpcReduction="10000"/>
          </a:bodyPr>
          <a:lstStyle>
            <a:lvl1pPr marL="0" indent="0" algn="l" defTabSz="1152144" rtl="0" eaLnBrk="1" latinLnBrk="0" hangingPunct="1">
              <a:spcBef>
                <a:spcPct val="20000"/>
              </a:spcBef>
              <a:buFontTx/>
              <a:buNone/>
              <a:defRPr sz="1100" b="0" i="0" kern="1200">
                <a:solidFill>
                  <a:srgbClr val="7F8183"/>
                </a:solidFill>
                <a:latin typeface="Verdana" panose="020B0604030504040204" pitchFamily="34" charset="0"/>
                <a:ea typeface="Verdana" panose="020B0604030504040204" pitchFamily="34" charset="0"/>
                <a:cs typeface="Verdana" panose="020B0604030504040204" pitchFamily="34" charset="0"/>
              </a:defRPr>
            </a:lvl1pPr>
            <a:lvl2pPr marL="936117" indent="-360045" algn="l" defTabSz="1152144" rtl="0" eaLnBrk="1" latinLnBrk="0" hangingPunct="1">
              <a:spcBef>
                <a:spcPct val="20000"/>
              </a:spcBef>
              <a:buFont typeface="Arial" pitchFamily="34" charset="0"/>
              <a:buChar char="–"/>
              <a:defRPr sz="3500" kern="1200">
                <a:solidFill>
                  <a:schemeClr val="tx1"/>
                </a:solidFill>
                <a:latin typeface="+mn-lt"/>
                <a:ea typeface="+mn-ea"/>
                <a:cs typeface="+mn-cs"/>
              </a:defRPr>
            </a:lvl2pPr>
            <a:lvl3pPr marL="1440180" indent="-288036" algn="l" defTabSz="1152144" rtl="0" eaLnBrk="1" latinLnBrk="0" hangingPunct="1">
              <a:spcBef>
                <a:spcPct val="20000"/>
              </a:spcBef>
              <a:buFont typeface="Arial" pitchFamily="34" charset="0"/>
              <a:buChar char="•"/>
              <a:defRPr sz="3000" kern="1200">
                <a:solidFill>
                  <a:schemeClr val="tx1"/>
                </a:solidFill>
                <a:latin typeface="+mn-lt"/>
                <a:ea typeface="+mn-ea"/>
                <a:cs typeface="+mn-cs"/>
              </a:defRPr>
            </a:lvl3pPr>
            <a:lvl4pPr marL="201625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4pPr>
            <a:lvl5pPr marL="2592324"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5pPr>
            <a:lvl6pPr marL="3168396"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744468"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320540"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89661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defTabSz="1219084">
              <a:defRPr/>
            </a:pPr>
            <a:r>
              <a:rPr lang="ru-RU" sz="1164" dirty="0" smtClean="0"/>
              <a:t>Производство земляных работ</a:t>
            </a:r>
            <a:endParaRPr lang="ru-RU" sz="1164" dirty="0"/>
          </a:p>
        </p:txBody>
      </p:sp>
      <p:cxnSp>
        <p:nvCxnSpPr>
          <p:cNvPr id="6" name="Прямая соединительная линия 5"/>
          <p:cNvCxnSpPr/>
          <p:nvPr/>
        </p:nvCxnSpPr>
        <p:spPr>
          <a:xfrm>
            <a:off x="108769" y="305016"/>
            <a:ext cx="11886380"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 name="Прямоугольник 6"/>
          <p:cNvSpPr/>
          <p:nvPr/>
        </p:nvSpPr>
        <p:spPr>
          <a:xfrm>
            <a:off x="232609" y="953207"/>
            <a:ext cx="11762540" cy="1446550"/>
          </a:xfrm>
          <a:prstGeom prst="rect">
            <a:avLst/>
          </a:prstGeom>
        </p:spPr>
        <p:txBody>
          <a:bodyPr wrap="square">
            <a:spAutoFit/>
          </a:bodyPr>
          <a:lstStyle/>
          <a:p>
            <a:pPr indent="449580" algn="just">
              <a:spcBef>
                <a:spcPts val="1200"/>
              </a:spcBef>
              <a:spcAft>
                <a:spcPts val="0"/>
              </a:spcAft>
            </a:pPr>
            <a:r>
              <a:rPr lang="ru-RU" sz="2200" dirty="0">
                <a:latin typeface="Verdana" panose="020B0604030504040204" pitchFamily="34" charset="0"/>
                <a:ea typeface="Times New Roman" panose="02020603050405020304" pitchFamily="18" charset="0"/>
                <a:cs typeface="Arial" panose="020B0604020202020204" pitchFamily="34" charset="0"/>
              </a:rPr>
              <a:t>При обнаружении не отмеченных на планах коммуникаций кабелей, трубопроводов, подземных сооружений, а также боеприпасов земляные работы следует прекратить до выяснения их принадлежности и получения разрешения от соответствующих организаций на продолжение работ.</a:t>
            </a:r>
            <a:endParaRPr lang="ru-RU" sz="2200" dirty="0">
              <a:effectLst/>
              <a:latin typeface="Times New Roman" panose="02020603050405020304" pitchFamily="18" charset="0"/>
              <a:ea typeface="Times New Roman" panose="02020603050405020304" pitchFamily="18" charset="0"/>
            </a:endParaRPr>
          </a:p>
        </p:txBody>
      </p:sp>
      <p:pic>
        <p:nvPicPr>
          <p:cNvPr id="9" name="Picture 2" descr="https://gnb-stroy.com/content/images/image008.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87400" y="2499914"/>
            <a:ext cx="5413560" cy="40647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528113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Текст 6">
            <a:extLst>
              <a:ext uri="{FF2B5EF4-FFF2-40B4-BE49-F238E27FC236}">
                <a16:creationId xmlns:a16="http://schemas.microsoft.com/office/drawing/2014/main" id="{8E6B8E05-B925-406A-B527-E6B8316ACA98}"/>
              </a:ext>
            </a:extLst>
          </p:cNvPr>
          <p:cNvSpPr txBox="1">
            <a:spLocks/>
          </p:cNvSpPr>
          <p:nvPr/>
        </p:nvSpPr>
        <p:spPr>
          <a:xfrm>
            <a:off x="10317" y="345214"/>
            <a:ext cx="2590254" cy="288081"/>
          </a:xfrm>
          <a:prstGeom prst="rect">
            <a:avLst/>
          </a:prstGeom>
        </p:spPr>
        <p:txBody>
          <a:bodyPr vert="horz" lIns="121913" tIns="60956" rIns="121913" bIns="60956" rtlCol="0">
            <a:normAutofit fontScale="92500" lnSpcReduction="10000"/>
          </a:bodyPr>
          <a:lstStyle>
            <a:lvl1pPr marL="0" indent="0" algn="l" defTabSz="1152144" rtl="0" eaLnBrk="1" latinLnBrk="0" hangingPunct="1">
              <a:spcBef>
                <a:spcPct val="20000"/>
              </a:spcBef>
              <a:buFontTx/>
              <a:buNone/>
              <a:defRPr sz="1100" b="0" i="0" kern="1200">
                <a:solidFill>
                  <a:srgbClr val="7F8183"/>
                </a:solidFill>
                <a:latin typeface="Verdana" panose="020B0604030504040204" pitchFamily="34" charset="0"/>
                <a:ea typeface="Verdana" panose="020B0604030504040204" pitchFamily="34" charset="0"/>
                <a:cs typeface="Verdana" panose="020B0604030504040204" pitchFamily="34" charset="0"/>
              </a:defRPr>
            </a:lvl1pPr>
            <a:lvl2pPr marL="936117" indent="-360045" algn="l" defTabSz="1152144" rtl="0" eaLnBrk="1" latinLnBrk="0" hangingPunct="1">
              <a:spcBef>
                <a:spcPct val="20000"/>
              </a:spcBef>
              <a:buFont typeface="Arial" pitchFamily="34" charset="0"/>
              <a:buChar char="–"/>
              <a:defRPr sz="3500" kern="1200">
                <a:solidFill>
                  <a:schemeClr val="tx1"/>
                </a:solidFill>
                <a:latin typeface="+mn-lt"/>
                <a:ea typeface="+mn-ea"/>
                <a:cs typeface="+mn-cs"/>
              </a:defRPr>
            </a:lvl2pPr>
            <a:lvl3pPr marL="1440180" indent="-288036" algn="l" defTabSz="1152144" rtl="0" eaLnBrk="1" latinLnBrk="0" hangingPunct="1">
              <a:spcBef>
                <a:spcPct val="20000"/>
              </a:spcBef>
              <a:buFont typeface="Arial" pitchFamily="34" charset="0"/>
              <a:buChar char="•"/>
              <a:defRPr sz="3000" kern="1200">
                <a:solidFill>
                  <a:schemeClr val="tx1"/>
                </a:solidFill>
                <a:latin typeface="+mn-lt"/>
                <a:ea typeface="+mn-ea"/>
                <a:cs typeface="+mn-cs"/>
              </a:defRPr>
            </a:lvl3pPr>
            <a:lvl4pPr marL="201625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4pPr>
            <a:lvl5pPr marL="2592324"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5pPr>
            <a:lvl6pPr marL="3168396"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744468"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320540"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89661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defTabSz="1219084">
              <a:defRPr/>
            </a:pPr>
            <a:r>
              <a:rPr lang="ru-RU" sz="1164" dirty="0" smtClean="0"/>
              <a:t>Производство земляных работ</a:t>
            </a:r>
            <a:endParaRPr lang="ru-RU" sz="1164" dirty="0"/>
          </a:p>
        </p:txBody>
      </p:sp>
      <p:cxnSp>
        <p:nvCxnSpPr>
          <p:cNvPr id="6" name="Прямая соединительная линия 5"/>
          <p:cNvCxnSpPr/>
          <p:nvPr/>
        </p:nvCxnSpPr>
        <p:spPr>
          <a:xfrm>
            <a:off x="108769" y="305016"/>
            <a:ext cx="11886380"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8" name="Рисунок 7"/>
          <p:cNvPicPr>
            <a:picLocks noChangeAspect="1"/>
          </p:cNvPicPr>
          <p:nvPr/>
        </p:nvPicPr>
        <p:blipFill>
          <a:blip r:embed="rId3"/>
          <a:stretch>
            <a:fillRect/>
          </a:stretch>
        </p:blipFill>
        <p:spPr>
          <a:xfrm>
            <a:off x="2803585" y="489254"/>
            <a:ext cx="6124754" cy="6245215"/>
          </a:xfrm>
          <a:prstGeom prst="rect">
            <a:avLst/>
          </a:prstGeom>
        </p:spPr>
      </p:pic>
    </p:spTree>
    <p:extLst>
      <p:ext uri="{BB962C8B-B14F-4D97-AF65-F5344CB8AC3E}">
        <p14:creationId xmlns:p14="http://schemas.microsoft.com/office/powerpoint/2010/main" val="183090690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B55A3CF3-1A1E-441B-9FBC-32F21D06A2C9}"/>
              </a:ext>
            </a:extLst>
          </p:cNvPr>
          <p:cNvSpPr txBox="1">
            <a:spLocks/>
          </p:cNvSpPr>
          <p:nvPr/>
        </p:nvSpPr>
        <p:spPr>
          <a:xfrm>
            <a:off x="10145603" y="6318916"/>
            <a:ext cx="1790393" cy="374046"/>
          </a:xfrm>
          <a:prstGeom prst="rect">
            <a:avLst/>
          </a:prstGeom>
        </p:spPr>
        <p:txBody>
          <a:bodyPr/>
          <a:lstStyle>
            <a:lvl1pPr marL="0" indent="0" algn="r" defTabSz="914400" rtl="0" eaLnBrk="1" latinLnBrk="0" hangingPunct="1">
              <a:spcBef>
                <a:spcPct val="20000"/>
              </a:spcBef>
              <a:buFontTx/>
              <a:buNone/>
              <a:defRPr sz="800" b="0" i="0" kern="120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67527" rtl="0" eaLnBrk="1" fontAlgn="auto" latinLnBrk="0" hangingPunct="1">
              <a:lnSpc>
                <a:spcPct val="100000"/>
              </a:lnSpc>
              <a:spcBef>
                <a:spcPct val="20000"/>
              </a:spcBef>
              <a:spcAft>
                <a:spcPts val="0"/>
              </a:spcAft>
              <a:buClrTx/>
              <a:buSzTx/>
              <a:buFontTx/>
              <a:buNone/>
              <a:tabLst/>
              <a:defRPr/>
            </a:pPr>
            <a:r>
              <a:rPr kumimoji="0" lang="ru-RU" sz="845" b="0" i="0" u="none" strike="noStrike" kern="1200" cap="none" spc="0" normalizeH="0" baseline="0" noProof="0" dirty="0">
                <a:ln>
                  <a:noFill/>
                </a:ln>
                <a:solidFill>
                  <a:srgbClr val="7F8183">
                    <a:alpha val="50000"/>
                  </a:srgbClr>
                </a:solidFill>
                <a:effectLst/>
                <a:uLnTx/>
                <a:uFillTx/>
                <a:latin typeface="Verdana" panose="020B0604030504040204" pitchFamily="34" charset="0"/>
                <a:ea typeface="Verdana" panose="020B0604030504040204" pitchFamily="34" charset="0"/>
              </a:rPr>
              <a:t>День безопасности труда с подрядными организациями</a:t>
            </a:r>
          </a:p>
        </p:txBody>
      </p:sp>
      <p:sp>
        <p:nvSpPr>
          <p:cNvPr id="7" name="Текст 8">
            <a:extLst>
              <a:ext uri="{FF2B5EF4-FFF2-40B4-BE49-F238E27FC236}">
                <a16:creationId xmlns:a16="http://schemas.microsoft.com/office/drawing/2014/main" id="{A1584F74-92CE-481B-9F91-C1014731D164}"/>
              </a:ext>
            </a:extLst>
          </p:cNvPr>
          <p:cNvSpPr>
            <a:spLocks noGrp="1"/>
          </p:cNvSpPr>
          <p:nvPr>
            <p:ph type="body" sz="quarter" idx="11"/>
          </p:nvPr>
        </p:nvSpPr>
        <p:spPr>
          <a:xfrm>
            <a:off x="3657768" y="2819442"/>
            <a:ext cx="10808247" cy="609558"/>
          </a:xfrm>
        </p:spPr>
        <p:txBody>
          <a:bodyPr>
            <a:normAutofit/>
          </a:bodyPr>
          <a:lstStyle/>
          <a:p>
            <a:r>
              <a:rPr lang="ru-RU" b="1" dirty="0" smtClean="0">
                <a:solidFill>
                  <a:srgbClr val="C00000"/>
                </a:solidFill>
              </a:rPr>
              <a:t>Обучение</a:t>
            </a:r>
            <a:r>
              <a:rPr lang="en-US" b="1" dirty="0" smtClean="0">
                <a:solidFill>
                  <a:srgbClr val="C00000"/>
                </a:solidFill>
              </a:rPr>
              <a:t>/</a:t>
            </a:r>
            <a:r>
              <a:rPr lang="ru-RU" b="1" dirty="0" smtClean="0">
                <a:solidFill>
                  <a:srgbClr val="C00000"/>
                </a:solidFill>
              </a:rPr>
              <a:t>тренинги</a:t>
            </a:r>
            <a:endParaRPr lang="ru-RU" b="1" dirty="0">
              <a:solidFill>
                <a:srgbClr val="C00000"/>
              </a:solidFill>
            </a:endParaRPr>
          </a:p>
        </p:txBody>
      </p:sp>
      <p:sp>
        <p:nvSpPr>
          <p:cNvPr id="5" name="Текст 6">
            <a:extLst>
              <a:ext uri="{FF2B5EF4-FFF2-40B4-BE49-F238E27FC236}">
                <a16:creationId xmlns:a16="http://schemas.microsoft.com/office/drawing/2014/main" id="{8E6B8E05-B925-406A-B527-E6B8316ACA98}"/>
              </a:ext>
            </a:extLst>
          </p:cNvPr>
          <p:cNvSpPr txBox="1">
            <a:spLocks/>
          </p:cNvSpPr>
          <p:nvPr/>
        </p:nvSpPr>
        <p:spPr>
          <a:xfrm>
            <a:off x="295484" y="394129"/>
            <a:ext cx="2590254" cy="288081"/>
          </a:xfrm>
          <a:prstGeom prst="rect">
            <a:avLst/>
          </a:prstGeom>
        </p:spPr>
        <p:txBody>
          <a:bodyPr vert="horz" lIns="121913" tIns="60956" rIns="121913" bIns="60956" rtlCol="0">
            <a:normAutofit lnSpcReduction="10000"/>
          </a:bodyPr>
          <a:lstStyle>
            <a:lvl1pPr marL="0" indent="0" algn="l" defTabSz="1152144" rtl="0" eaLnBrk="1" latinLnBrk="0" hangingPunct="1">
              <a:spcBef>
                <a:spcPct val="20000"/>
              </a:spcBef>
              <a:buFontTx/>
              <a:buNone/>
              <a:defRPr sz="1100" b="0" i="0" kern="1200">
                <a:solidFill>
                  <a:srgbClr val="7F8183"/>
                </a:solidFill>
                <a:latin typeface="Verdana" panose="020B0604030504040204" pitchFamily="34" charset="0"/>
                <a:ea typeface="Verdana" panose="020B0604030504040204" pitchFamily="34" charset="0"/>
                <a:cs typeface="Verdana" panose="020B0604030504040204" pitchFamily="34" charset="0"/>
              </a:defRPr>
            </a:lvl1pPr>
            <a:lvl2pPr marL="936117" indent="-360045" algn="l" defTabSz="1152144" rtl="0" eaLnBrk="1" latinLnBrk="0" hangingPunct="1">
              <a:spcBef>
                <a:spcPct val="20000"/>
              </a:spcBef>
              <a:buFont typeface="Arial" pitchFamily="34" charset="0"/>
              <a:buChar char="–"/>
              <a:defRPr sz="3500" kern="1200">
                <a:solidFill>
                  <a:schemeClr val="tx1"/>
                </a:solidFill>
                <a:latin typeface="+mn-lt"/>
                <a:ea typeface="+mn-ea"/>
                <a:cs typeface="+mn-cs"/>
              </a:defRPr>
            </a:lvl2pPr>
            <a:lvl3pPr marL="1440180" indent="-288036" algn="l" defTabSz="1152144" rtl="0" eaLnBrk="1" latinLnBrk="0" hangingPunct="1">
              <a:spcBef>
                <a:spcPct val="20000"/>
              </a:spcBef>
              <a:buFont typeface="Arial" pitchFamily="34" charset="0"/>
              <a:buChar char="•"/>
              <a:defRPr sz="3000" kern="1200">
                <a:solidFill>
                  <a:schemeClr val="tx1"/>
                </a:solidFill>
                <a:latin typeface="+mn-lt"/>
                <a:ea typeface="+mn-ea"/>
                <a:cs typeface="+mn-cs"/>
              </a:defRPr>
            </a:lvl3pPr>
            <a:lvl4pPr marL="201625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4pPr>
            <a:lvl5pPr marL="2592324"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5pPr>
            <a:lvl6pPr marL="3168396"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744468"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320540"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89661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0" marR="0" lvl="0" indent="0" algn="l" defTabSz="1219084" rtl="0" eaLnBrk="1" fontAlgn="auto" latinLnBrk="0" hangingPunct="1">
              <a:lnSpc>
                <a:spcPct val="100000"/>
              </a:lnSpc>
              <a:spcBef>
                <a:spcPct val="20000"/>
              </a:spcBef>
              <a:spcAft>
                <a:spcPts val="0"/>
              </a:spcAft>
              <a:buClrTx/>
              <a:buSzTx/>
              <a:buFontTx/>
              <a:buNone/>
              <a:tabLst/>
              <a:defRPr/>
            </a:pPr>
            <a:r>
              <a:rPr kumimoji="0" lang="ru-RU" sz="1164" b="0" i="0" u="none" strike="noStrike" kern="1200" cap="none" spc="0" normalizeH="0" baseline="0" noProof="0" dirty="0">
                <a:ln>
                  <a:noFill/>
                </a:ln>
                <a:solidFill>
                  <a:srgbClr val="7F8183"/>
                </a:solidFill>
                <a:effectLst/>
                <a:uLnTx/>
                <a:uFillTx/>
                <a:latin typeface="Verdana" panose="020B0604030504040204" pitchFamily="34" charset="0"/>
                <a:ea typeface="Verdana" panose="020B0604030504040204" pitchFamily="34" charset="0"/>
              </a:rPr>
              <a:t>Информация</a:t>
            </a:r>
          </a:p>
        </p:txBody>
      </p:sp>
      <p:pic>
        <p:nvPicPr>
          <p:cNvPr id="9" name="Рисунок 8" descr="image001.jpg"/>
          <p:cNvPicPr>
            <a:picLocks noChangeAspect="1"/>
          </p:cNvPicPr>
          <p:nvPr/>
        </p:nvPicPr>
        <p:blipFill>
          <a:blip r:embed="rId3" cstate="print"/>
          <a:stretch>
            <a:fillRect/>
          </a:stretch>
        </p:blipFill>
        <p:spPr>
          <a:xfrm>
            <a:off x="686173" y="5181479"/>
            <a:ext cx="3265534" cy="1239694"/>
          </a:xfrm>
          <a:prstGeom prst="rect">
            <a:avLst/>
          </a:prstGeom>
        </p:spPr>
      </p:pic>
      <p:pic>
        <p:nvPicPr>
          <p:cNvPr id="3" name="Рисунок 2"/>
          <p:cNvPicPr>
            <a:picLocks noChangeAspect="1"/>
          </p:cNvPicPr>
          <p:nvPr/>
        </p:nvPicPr>
        <p:blipFill>
          <a:blip r:embed="rId4" cstate="print">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tretch>
            <a:fillRect/>
          </a:stretch>
        </p:blipFill>
        <p:spPr>
          <a:xfrm>
            <a:off x="1524316" y="2369743"/>
            <a:ext cx="2000744" cy="1523895"/>
          </a:xfrm>
          <a:prstGeom prst="rect">
            <a:avLst/>
          </a:prstGeom>
        </p:spPr>
      </p:pic>
    </p:spTree>
    <p:extLst>
      <p:ext uri="{BB962C8B-B14F-4D97-AF65-F5344CB8AC3E}">
        <p14:creationId xmlns:p14="http://schemas.microsoft.com/office/powerpoint/2010/main" val="620925609"/>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4488" y="2033807"/>
            <a:ext cx="831190" cy="743360"/>
          </a:xfrm>
          <a:prstGeom prst="rect">
            <a:avLst/>
          </a:prstGeom>
        </p:spPr>
      </p:pic>
      <p:sp>
        <p:nvSpPr>
          <p:cNvPr id="4" name="Текст 6">
            <a:extLst>
              <a:ext uri="{FF2B5EF4-FFF2-40B4-BE49-F238E27FC236}">
                <a16:creationId xmlns:a16="http://schemas.microsoft.com/office/drawing/2014/main" id="{8E6B8E05-B925-406A-B527-E6B8316ACA98}"/>
              </a:ext>
            </a:extLst>
          </p:cNvPr>
          <p:cNvSpPr txBox="1">
            <a:spLocks/>
          </p:cNvSpPr>
          <p:nvPr/>
        </p:nvSpPr>
        <p:spPr>
          <a:xfrm>
            <a:off x="10317" y="345214"/>
            <a:ext cx="2590254" cy="288081"/>
          </a:xfrm>
          <a:prstGeom prst="rect">
            <a:avLst/>
          </a:prstGeom>
        </p:spPr>
        <p:txBody>
          <a:bodyPr vert="horz" lIns="121913" tIns="60956" rIns="121913" bIns="60956" rtlCol="0">
            <a:normAutofit lnSpcReduction="10000"/>
          </a:bodyPr>
          <a:lstStyle>
            <a:lvl1pPr marL="0" indent="0" algn="l" defTabSz="1152144" rtl="0" eaLnBrk="1" latinLnBrk="0" hangingPunct="1">
              <a:spcBef>
                <a:spcPct val="20000"/>
              </a:spcBef>
              <a:buFontTx/>
              <a:buNone/>
              <a:defRPr sz="1100" b="0" i="0" kern="1200">
                <a:solidFill>
                  <a:srgbClr val="7F8183"/>
                </a:solidFill>
                <a:latin typeface="Verdana" panose="020B0604030504040204" pitchFamily="34" charset="0"/>
                <a:ea typeface="Verdana" panose="020B0604030504040204" pitchFamily="34" charset="0"/>
                <a:cs typeface="Verdana" panose="020B0604030504040204" pitchFamily="34" charset="0"/>
              </a:defRPr>
            </a:lvl1pPr>
            <a:lvl2pPr marL="936117" indent="-360045" algn="l" defTabSz="1152144" rtl="0" eaLnBrk="1" latinLnBrk="0" hangingPunct="1">
              <a:spcBef>
                <a:spcPct val="20000"/>
              </a:spcBef>
              <a:buFont typeface="Arial" pitchFamily="34" charset="0"/>
              <a:buChar char="–"/>
              <a:defRPr sz="3500" kern="1200">
                <a:solidFill>
                  <a:schemeClr val="tx1"/>
                </a:solidFill>
                <a:latin typeface="+mn-lt"/>
                <a:ea typeface="+mn-ea"/>
                <a:cs typeface="+mn-cs"/>
              </a:defRPr>
            </a:lvl2pPr>
            <a:lvl3pPr marL="1440180" indent="-288036" algn="l" defTabSz="1152144" rtl="0" eaLnBrk="1" latinLnBrk="0" hangingPunct="1">
              <a:spcBef>
                <a:spcPct val="20000"/>
              </a:spcBef>
              <a:buFont typeface="Arial" pitchFamily="34" charset="0"/>
              <a:buChar char="•"/>
              <a:defRPr sz="3000" kern="1200">
                <a:solidFill>
                  <a:schemeClr val="tx1"/>
                </a:solidFill>
                <a:latin typeface="+mn-lt"/>
                <a:ea typeface="+mn-ea"/>
                <a:cs typeface="+mn-cs"/>
              </a:defRPr>
            </a:lvl3pPr>
            <a:lvl4pPr marL="201625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4pPr>
            <a:lvl5pPr marL="2592324"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5pPr>
            <a:lvl6pPr marL="3168396"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744468"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320540"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89661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0" marR="0" lvl="0" indent="0" algn="l" defTabSz="1219084" rtl="0" eaLnBrk="1" fontAlgn="auto" latinLnBrk="0" hangingPunct="1">
              <a:lnSpc>
                <a:spcPct val="100000"/>
              </a:lnSpc>
              <a:spcBef>
                <a:spcPct val="20000"/>
              </a:spcBef>
              <a:spcAft>
                <a:spcPts val="0"/>
              </a:spcAft>
              <a:buClrTx/>
              <a:buSzTx/>
              <a:buFontTx/>
              <a:buNone/>
              <a:tabLst/>
              <a:defRPr/>
            </a:pPr>
            <a:r>
              <a:rPr kumimoji="0" lang="ru-RU" sz="1164" b="0" i="0" u="none" strike="noStrike" kern="1200" cap="none" spc="0" normalizeH="0" baseline="0" noProof="0" dirty="0">
                <a:ln>
                  <a:noFill/>
                </a:ln>
                <a:solidFill>
                  <a:srgbClr val="7F8183"/>
                </a:solidFill>
                <a:effectLst/>
                <a:uLnTx/>
                <a:uFillTx/>
                <a:latin typeface="Verdana" panose="020B0604030504040204" pitchFamily="34" charset="0"/>
                <a:ea typeface="Verdana" panose="020B0604030504040204" pitchFamily="34" charset="0"/>
              </a:rPr>
              <a:t>Обучение/Тренинги</a:t>
            </a:r>
          </a:p>
        </p:txBody>
      </p:sp>
      <p:cxnSp>
        <p:nvCxnSpPr>
          <p:cNvPr id="6" name="Прямая соединительная линия 5"/>
          <p:cNvCxnSpPr/>
          <p:nvPr/>
        </p:nvCxnSpPr>
        <p:spPr>
          <a:xfrm>
            <a:off x="108769" y="305016"/>
            <a:ext cx="11886380"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594937" y="1480736"/>
            <a:ext cx="2137124" cy="307777"/>
          </a:xfrm>
          <a:prstGeom prst="rect">
            <a:avLst/>
          </a:prstGeom>
          <a:noFill/>
        </p:spPr>
        <p:txBody>
          <a:bodyPr wrap="none" rtlCol="0">
            <a:spAutoFit/>
          </a:bodyPr>
          <a:lstStyle/>
          <a:p>
            <a:pPr marL="0" marR="0" lvl="0" indent="0" algn="l" defTabSz="1219084"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srgbClr val="C00000"/>
                </a:solidFill>
                <a:effectLst/>
                <a:uLnTx/>
                <a:uFillTx/>
                <a:latin typeface="Verdana" panose="020B0604030504040204" pitchFamily="34" charset="0"/>
                <a:ea typeface="Verdana" panose="020B0604030504040204" pitchFamily="34" charset="0"/>
                <a:cs typeface="+mn-cs"/>
              </a:rPr>
              <a:t>Грубое</a:t>
            </a:r>
            <a:r>
              <a:rPr kumimoji="0" lang="ru-RU" sz="14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 нарушение</a:t>
            </a:r>
          </a:p>
        </p:txBody>
      </p:sp>
      <p:sp>
        <p:nvSpPr>
          <p:cNvPr id="8" name="TextBox 7"/>
          <p:cNvSpPr txBox="1"/>
          <p:nvPr/>
        </p:nvSpPr>
        <p:spPr>
          <a:xfrm>
            <a:off x="3553546" y="1373014"/>
            <a:ext cx="2021506" cy="523220"/>
          </a:xfrm>
          <a:prstGeom prst="rect">
            <a:avLst/>
          </a:prstGeom>
          <a:noFill/>
        </p:spPr>
        <p:txBody>
          <a:bodyPr wrap="square" rtlCol="0">
            <a:spAutoFit/>
          </a:bodyPr>
          <a:lstStyle/>
          <a:p>
            <a:pPr marL="0" marR="0" lvl="0" indent="0" algn="l" defTabSz="1219084"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Остановка работ, </a:t>
            </a:r>
            <a:r>
              <a:rPr kumimoji="0" lang="ru-RU" sz="1400" b="1" i="0" u="none" strike="noStrike" kern="1200" cap="none" spc="0" normalizeH="0" baseline="0" noProof="0" dirty="0">
                <a:ln>
                  <a:noFill/>
                </a:ln>
                <a:solidFill>
                  <a:srgbClr val="C00000"/>
                </a:solidFill>
                <a:effectLst/>
                <a:uLnTx/>
                <a:uFillTx/>
                <a:latin typeface="Verdana" panose="020B0604030504040204" pitchFamily="34" charset="0"/>
                <a:ea typeface="Verdana" panose="020B0604030504040204" pitchFamily="34" charset="0"/>
                <a:cs typeface="+mn-cs"/>
              </a:rPr>
              <a:t>запрет на вход</a:t>
            </a:r>
          </a:p>
        </p:txBody>
      </p:sp>
      <p:sp>
        <p:nvSpPr>
          <p:cNvPr id="9" name="TextBox 8"/>
          <p:cNvSpPr txBox="1"/>
          <p:nvPr/>
        </p:nvSpPr>
        <p:spPr>
          <a:xfrm>
            <a:off x="6286924" y="1329347"/>
            <a:ext cx="2574698" cy="738664"/>
          </a:xfrm>
          <a:prstGeom prst="rect">
            <a:avLst/>
          </a:prstGeom>
          <a:noFill/>
        </p:spPr>
        <p:txBody>
          <a:bodyPr wrap="square" rtlCol="0">
            <a:spAutoFit/>
          </a:bodyPr>
          <a:lstStyle/>
          <a:p>
            <a:pPr marL="0" marR="0" lvl="0" indent="0" algn="l" defTabSz="1219084"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Направление </a:t>
            </a:r>
            <a:r>
              <a:rPr kumimoji="0" lang="ru-RU" sz="1400" b="1" i="0" u="none" strike="noStrike" kern="1200" cap="none" spc="0" normalizeH="0" baseline="0" noProof="0" dirty="0" smtClean="0">
                <a:ln>
                  <a:noFill/>
                </a:ln>
                <a:solidFill>
                  <a:srgbClr val="C00000"/>
                </a:solidFill>
                <a:effectLst/>
                <a:uLnTx/>
                <a:uFillTx/>
                <a:latin typeface="Verdana" panose="020B0604030504040204" pitchFamily="34" charset="0"/>
                <a:ea typeface="Verdana" panose="020B0604030504040204" pitchFamily="34" charset="0"/>
                <a:cs typeface="+mn-cs"/>
              </a:rPr>
              <a:t>в Корпоративный  университет «ОМК»</a:t>
            </a:r>
            <a:endParaRPr kumimoji="0" lang="ru-RU" sz="1400" b="1" i="0" u="none" strike="noStrike" kern="1200" cap="none" spc="0" normalizeH="0" baseline="0" noProof="0" dirty="0">
              <a:ln>
                <a:noFill/>
              </a:ln>
              <a:solidFill>
                <a:srgbClr val="C00000"/>
              </a:solidFill>
              <a:effectLst/>
              <a:uLnTx/>
              <a:uFillTx/>
              <a:latin typeface="Verdana" panose="020B0604030504040204" pitchFamily="34" charset="0"/>
              <a:ea typeface="Verdana" panose="020B0604030504040204" pitchFamily="34" charset="0"/>
              <a:cs typeface="+mn-cs"/>
            </a:endParaRPr>
          </a:p>
        </p:txBody>
      </p:sp>
      <p:pic>
        <p:nvPicPr>
          <p:cNvPr id="30" name="Рисунок 2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24415" y="2068011"/>
            <a:ext cx="617280" cy="739123"/>
          </a:xfrm>
          <a:prstGeom prst="rect">
            <a:avLst/>
          </a:prstGeom>
        </p:spPr>
      </p:pic>
      <p:pic>
        <p:nvPicPr>
          <p:cNvPr id="31" name="Рисунок 3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09984" y="1733358"/>
            <a:ext cx="1807325" cy="1010248"/>
          </a:xfrm>
          <a:prstGeom prst="rect">
            <a:avLst/>
          </a:prstGeom>
        </p:spPr>
      </p:pic>
      <p:sp>
        <p:nvSpPr>
          <p:cNvPr id="32" name="Прямоугольник 31"/>
          <p:cNvSpPr/>
          <p:nvPr/>
        </p:nvSpPr>
        <p:spPr>
          <a:xfrm>
            <a:off x="9992010" y="1397309"/>
            <a:ext cx="1199367" cy="307777"/>
          </a:xfrm>
          <a:prstGeom prst="rect">
            <a:avLst/>
          </a:prstGeom>
        </p:spPr>
        <p:txBody>
          <a:bodyPr wrap="none">
            <a:spAutoFit/>
          </a:bodyPr>
          <a:lstStyle/>
          <a:p>
            <a:pPr marL="0" marR="0" lvl="0" indent="0" algn="l" defTabSz="967527" rtl="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Обучение</a:t>
            </a:r>
          </a:p>
        </p:txBody>
      </p:sp>
      <p:sp>
        <p:nvSpPr>
          <p:cNvPr id="38" name="Стрелка вниз 37"/>
          <p:cNvSpPr/>
          <p:nvPr/>
        </p:nvSpPr>
        <p:spPr>
          <a:xfrm rot="16200000">
            <a:off x="3050508" y="1851333"/>
            <a:ext cx="292671" cy="364944"/>
          </a:xfrm>
          <a:prstGeom prst="downArrow">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84" rtl="0" eaLnBrk="1" fontAlgn="auto" latinLnBrk="0" hangingPunct="1">
              <a:lnSpc>
                <a:spcPct val="100000"/>
              </a:lnSpc>
              <a:spcBef>
                <a:spcPts val="0"/>
              </a:spcBef>
              <a:spcAft>
                <a:spcPts val="0"/>
              </a:spcAft>
              <a:buClrTx/>
              <a:buSzTx/>
              <a:buFontTx/>
              <a:buNone/>
              <a:tabLst/>
              <a:defRPr/>
            </a:pPr>
            <a:endParaRPr kumimoji="0" lang="ru-RU" sz="2434" b="0" i="0" u="none" strike="noStrike" kern="1200" cap="none" spc="0" normalizeH="0" baseline="0" noProof="0">
              <a:ln>
                <a:noFill/>
              </a:ln>
              <a:solidFill>
                <a:prstClr val="white"/>
              </a:solidFill>
              <a:effectLst/>
              <a:uLnTx/>
              <a:uFillTx/>
              <a:latin typeface="Calibri"/>
              <a:ea typeface="+mn-ea"/>
              <a:cs typeface="+mn-cs"/>
            </a:endParaRPr>
          </a:p>
        </p:txBody>
      </p:sp>
      <p:sp>
        <p:nvSpPr>
          <p:cNvPr id="39" name="Стрелка вниз 38"/>
          <p:cNvSpPr/>
          <p:nvPr/>
        </p:nvSpPr>
        <p:spPr>
          <a:xfrm rot="16200000">
            <a:off x="5866969" y="1829802"/>
            <a:ext cx="270712" cy="393695"/>
          </a:xfrm>
          <a:prstGeom prst="downArrow">
            <a:avLst>
              <a:gd name="adj1" fmla="val 50000"/>
              <a:gd name="adj2" fmla="val 53071"/>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84" rtl="0" eaLnBrk="1" fontAlgn="auto" latinLnBrk="0" hangingPunct="1">
              <a:lnSpc>
                <a:spcPct val="100000"/>
              </a:lnSpc>
              <a:spcBef>
                <a:spcPts val="0"/>
              </a:spcBef>
              <a:spcAft>
                <a:spcPts val="0"/>
              </a:spcAft>
              <a:buClrTx/>
              <a:buSzTx/>
              <a:buFontTx/>
              <a:buNone/>
              <a:tabLst/>
              <a:defRPr/>
            </a:pPr>
            <a:endParaRPr kumimoji="0" lang="ru-RU" sz="2434" b="0" i="0" u="none" strike="noStrike" kern="1200" cap="none" spc="0" normalizeH="0" baseline="0" noProof="0">
              <a:ln>
                <a:noFill/>
              </a:ln>
              <a:solidFill>
                <a:prstClr val="white"/>
              </a:solidFill>
              <a:effectLst/>
              <a:uLnTx/>
              <a:uFillTx/>
              <a:latin typeface="Calibri"/>
              <a:ea typeface="+mn-ea"/>
              <a:cs typeface="+mn-cs"/>
            </a:endParaRPr>
          </a:p>
        </p:txBody>
      </p:sp>
      <p:sp>
        <p:nvSpPr>
          <p:cNvPr id="40" name="Стрелка вниз 39"/>
          <p:cNvSpPr/>
          <p:nvPr/>
        </p:nvSpPr>
        <p:spPr>
          <a:xfrm rot="16200000">
            <a:off x="9076000" y="1882138"/>
            <a:ext cx="270711" cy="395825"/>
          </a:xfrm>
          <a:prstGeom prst="downArrow">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84" rtl="0" eaLnBrk="1" fontAlgn="auto" latinLnBrk="0" hangingPunct="1">
              <a:lnSpc>
                <a:spcPct val="100000"/>
              </a:lnSpc>
              <a:spcBef>
                <a:spcPts val="0"/>
              </a:spcBef>
              <a:spcAft>
                <a:spcPts val="0"/>
              </a:spcAft>
              <a:buClrTx/>
              <a:buSzTx/>
              <a:buFontTx/>
              <a:buNone/>
              <a:tabLst/>
              <a:defRPr/>
            </a:pPr>
            <a:endParaRPr kumimoji="0" lang="ru-RU" sz="2434" b="0" i="0" u="none" strike="noStrike" kern="1200" cap="none" spc="0" normalizeH="0" baseline="0" noProof="0">
              <a:ln>
                <a:noFill/>
              </a:ln>
              <a:solidFill>
                <a:prstClr val="white"/>
              </a:solidFill>
              <a:effectLst/>
              <a:uLnTx/>
              <a:uFillTx/>
              <a:latin typeface="Calibri"/>
              <a:ea typeface="+mn-ea"/>
              <a:cs typeface="+mn-cs"/>
            </a:endParaRPr>
          </a:p>
        </p:txBody>
      </p:sp>
      <p:sp>
        <p:nvSpPr>
          <p:cNvPr id="19" name="TextBox 18"/>
          <p:cNvSpPr txBox="1"/>
          <p:nvPr/>
        </p:nvSpPr>
        <p:spPr>
          <a:xfrm rot="451374">
            <a:off x="11121050" y="1792709"/>
            <a:ext cx="460382" cy="271485"/>
          </a:xfrm>
          <a:prstGeom prst="rect">
            <a:avLst/>
          </a:prstGeom>
          <a:noFill/>
        </p:spPr>
        <p:txBody>
          <a:bodyPr wrap="none" rtlCol="0">
            <a:spAutoFit/>
          </a:bodyPr>
          <a:lstStyle/>
          <a:p>
            <a:pPr marL="0" marR="0" lvl="0" indent="0" algn="l" defTabSz="967527" rtl="0" eaLnBrk="1" fontAlgn="auto" latinLnBrk="0" hangingPunct="1">
              <a:lnSpc>
                <a:spcPct val="100000"/>
              </a:lnSpc>
              <a:spcBef>
                <a:spcPts val="0"/>
              </a:spcBef>
              <a:spcAft>
                <a:spcPts val="0"/>
              </a:spcAft>
              <a:buClrTx/>
              <a:buSzTx/>
              <a:buFontTx/>
              <a:buNone/>
              <a:tabLst/>
              <a:defRPr/>
            </a:pPr>
            <a:r>
              <a:rPr kumimoji="0" lang="ru-RU" sz="1164" b="1" i="0" u="none" strike="noStrike" kern="0" cap="none" spc="0" normalizeH="0" baseline="0" noProof="0" dirty="0">
                <a:ln>
                  <a:noFill/>
                </a:ln>
                <a:solidFill>
                  <a:prstClr val="black"/>
                </a:solidFill>
                <a:effectLst/>
                <a:uLnTx/>
                <a:uFillTx/>
                <a:latin typeface="Calibri"/>
                <a:ea typeface="+mn-ea"/>
                <a:cs typeface="+mn-cs"/>
              </a:rPr>
              <a:t>РПО</a:t>
            </a:r>
          </a:p>
        </p:txBody>
      </p:sp>
      <p:sp>
        <p:nvSpPr>
          <p:cNvPr id="10" name="Прямоугольник 9"/>
          <p:cNvSpPr/>
          <p:nvPr/>
        </p:nvSpPr>
        <p:spPr>
          <a:xfrm>
            <a:off x="633690" y="1268002"/>
            <a:ext cx="2230182" cy="169133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84" rtl="0" eaLnBrk="1" fontAlgn="auto" latinLnBrk="0" hangingPunct="1">
              <a:lnSpc>
                <a:spcPct val="100000"/>
              </a:lnSpc>
              <a:spcBef>
                <a:spcPts val="0"/>
              </a:spcBef>
              <a:spcAft>
                <a:spcPts val="0"/>
              </a:spcAft>
              <a:buClrTx/>
              <a:buSzTx/>
              <a:buFontTx/>
              <a:buNone/>
              <a:tabLst/>
              <a:defRPr/>
            </a:pPr>
            <a:endParaRPr kumimoji="0" lang="ru-RU" sz="2434" b="0" i="0" u="none" strike="noStrike" kern="1200" cap="none" spc="0" normalizeH="0" baseline="0" noProof="0">
              <a:ln>
                <a:noFill/>
              </a:ln>
              <a:solidFill>
                <a:prstClr val="white"/>
              </a:solidFill>
              <a:effectLst/>
              <a:uLnTx/>
              <a:uFillTx/>
              <a:latin typeface="Calibri"/>
              <a:ea typeface="+mn-ea"/>
              <a:cs typeface="+mn-cs"/>
            </a:endParaRPr>
          </a:p>
        </p:txBody>
      </p:sp>
      <p:sp>
        <p:nvSpPr>
          <p:cNvPr id="22" name="Прямоугольник 21"/>
          <p:cNvSpPr/>
          <p:nvPr/>
        </p:nvSpPr>
        <p:spPr>
          <a:xfrm>
            <a:off x="3500176" y="1268001"/>
            <a:ext cx="2030233" cy="168744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84" rtl="0" eaLnBrk="1" fontAlgn="auto" latinLnBrk="0" hangingPunct="1">
              <a:lnSpc>
                <a:spcPct val="100000"/>
              </a:lnSpc>
              <a:spcBef>
                <a:spcPts val="0"/>
              </a:spcBef>
              <a:spcAft>
                <a:spcPts val="0"/>
              </a:spcAft>
              <a:buClrTx/>
              <a:buSzTx/>
              <a:buFontTx/>
              <a:buNone/>
              <a:tabLst/>
              <a:defRPr/>
            </a:pPr>
            <a:endParaRPr kumimoji="0" lang="ru-RU" sz="2434" b="0" i="0" u="none" strike="noStrike" kern="1200" cap="none" spc="0" normalizeH="0" baseline="0" noProof="0">
              <a:ln>
                <a:noFill/>
              </a:ln>
              <a:solidFill>
                <a:prstClr val="white"/>
              </a:solidFill>
              <a:effectLst/>
              <a:uLnTx/>
              <a:uFillTx/>
              <a:latin typeface="Calibri"/>
              <a:ea typeface="+mn-ea"/>
              <a:cs typeface="+mn-cs"/>
            </a:endParaRPr>
          </a:p>
        </p:txBody>
      </p:sp>
      <p:sp>
        <p:nvSpPr>
          <p:cNvPr id="23" name="Прямоугольник 22"/>
          <p:cNvSpPr/>
          <p:nvPr/>
        </p:nvSpPr>
        <p:spPr>
          <a:xfrm>
            <a:off x="6243815" y="1270366"/>
            <a:ext cx="2501105" cy="1685075"/>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84" rtl="0" eaLnBrk="1" fontAlgn="auto" latinLnBrk="0" hangingPunct="1">
              <a:lnSpc>
                <a:spcPct val="100000"/>
              </a:lnSpc>
              <a:spcBef>
                <a:spcPts val="0"/>
              </a:spcBef>
              <a:spcAft>
                <a:spcPts val="0"/>
              </a:spcAft>
              <a:buClrTx/>
              <a:buSzTx/>
              <a:buFontTx/>
              <a:buNone/>
              <a:tabLst/>
              <a:defRPr/>
            </a:pPr>
            <a:endParaRPr kumimoji="0" lang="ru-RU" sz="2434" b="0" i="0" u="none" strike="noStrike" kern="1200" cap="none" spc="0" normalizeH="0" baseline="0" noProof="0">
              <a:ln>
                <a:noFill/>
              </a:ln>
              <a:solidFill>
                <a:prstClr val="white"/>
              </a:solidFill>
              <a:effectLst/>
              <a:uLnTx/>
              <a:uFillTx/>
              <a:latin typeface="Calibri"/>
              <a:ea typeface="+mn-ea"/>
              <a:cs typeface="+mn-cs"/>
            </a:endParaRPr>
          </a:p>
        </p:txBody>
      </p:sp>
      <p:sp>
        <p:nvSpPr>
          <p:cNvPr id="24" name="Прямоугольник 23"/>
          <p:cNvSpPr/>
          <p:nvPr/>
        </p:nvSpPr>
        <p:spPr>
          <a:xfrm>
            <a:off x="9472908" y="1268000"/>
            <a:ext cx="2496189" cy="1687441"/>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84" rtl="0" eaLnBrk="1" fontAlgn="auto" latinLnBrk="0" hangingPunct="1">
              <a:lnSpc>
                <a:spcPct val="100000"/>
              </a:lnSpc>
              <a:spcBef>
                <a:spcPts val="0"/>
              </a:spcBef>
              <a:spcAft>
                <a:spcPts val="0"/>
              </a:spcAft>
              <a:buClrTx/>
              <a:buSzTx/>
              <a:buFontTx/>
              <a:buNone/>
              <a:tabLst/>
              <a:defRPr/>
            </a:pPr>
            <a:endParaRPr kumimoji="0" lang="ru-RU" sz="2434" b="0" i="0" u="none" strike="noStrike" kern="1200" cap="none" spc="0" normalizeH="0" baseline="0" noProof="0">
              <a:ln>
                <a:noFill/>
              </a:ln>
              <a:solidFill>
                <a:prstClr val="white"/>
              </a:solidFill>
              <a:effectLst/>
              <a:uLnTx/>
              <a:uFillTx/>
              <a:latin typeface="Calibri"/>
              <a:ea typeface="+mn-ea"/>
              <a:cs typeface="+mn-cs"/>
            </a:endParaRPr>
          </a:p>
        </p:txBody>
      </p:sp>
      <p:sp>
        <p:nvSpPr>
          <p:cNvPr id="11" name="TextBox 10"/>
          <p:cNvSpPr txBox="1"/>
          <p:nvPr/>
        </p:nvSpPr>
        <p:spPr>
          <a:xfrm>
            <a:off x="11173133" y="1397309"/>
            <a:ext cx="619080" cy="307777"/>
          </a:xfrm>
          <a:prstGeom prst="rect">
            <a:avLst/>
          </a:prstGeom>
          <a:noFill/>
        </p:spPr>
        <p:txBody>
          <a:bodyPr wrap="none" rtlCol="0">
            <a:spAutoFit/>
          </a:bodyPr>
          <a:lstStyle/>
          <a:p>
            <a:pPr marL="0" marR="0" lvl="0" indent="0" algn="l" defTabSz="1219084"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srgbClr val="C00000"/>
                </a:solidFill>
                <a:effectLst/>
                <a:uLnTx/>
                <a:uFillTx/>
                <a:latin typeface="Verdana" panose="020B0604030504040204" pitchFamily="34" charset="0"/>
                <a:ea typeface="Verdana" panose="020B0604030504040204" pitchFamily="34" charset="0"/>
                <a:cs typeface="+mn-cs"/>
              </a:rPr>
              <a:t>РПО</a:t>
            </a:r>
          </a:p>
        </p:txBody>
      </p:sp>
      <p:pic>
        <p:nvPicPr>
          <p:cNvPr id="12" name="Рисунок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67632" y="1855966"/>
            <a:ext cx="428618" cy="355681"/>
          </a:xfrm>
          <a:prstGeom prst="rect">
            <a:avLst/>
          </a:prstGeom>
        </p:spPr>
      </p:pic>
      <p:sp>
        <p:nvSpPr>
          <p:cNvPr id="44" name="Прямоугольник 43"/>
          <p:cNvSpPr/>
          <p:nvPr/>
        </p:nvSpPr>
        <p:spPr>
          <a:xfrm>
            <a:off x="1773956" y="717058"/>
            <a:ext cx="9369873" cy="286232"/>
          </a:xfrm>
          <a:prstGeom prst="rect">
            <a:avLst/>
          </a:prstGeom>
        </p:spPr>
        <p:txBody>
          <a:bodyPr wrap="none">
            <a:spAutoFit/>
          </a:bodyPr>
          <a:lstStyle/>
          <a:p>
            <a:pPr marL="0" marR="0" lvl="0" indent="0" algn="l" defTabSz="914216" rtl="0" eaLnBrk="1" fontAlgn="auto" latinLnBrk="0" hangingPunct="1">
              <a:lnSpc>
                <a:spcPct val="90000"/>
              </a:lnSpc>
              <a:spcBef>
                <a:spcPts val="1000"/>
              </a:spcBef>
              <a:spcAft>
                <a:spcPts val="0"/>
              </a:spcAft>
              <a:buClrTx/>
              <a:buSzTx/>
              <a:buFontTx/>
              <a:buNone/>
              <a:tabLst/>
              <a:defRPr/>
            </a:pPr>
            <a:r>
              <a:rPr kumimoji="0" lang="ru-RU" sz="14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Тренинги по</a:t>
            </a:r>
            <a:r>
              <a:rPr kumimoji="0" lang="ru-RU" sz="1400" b="1" i="0" u="none" strike="noStrike" kern="1200" cap="none" spc="0" normalizeH="0" baseline="0" noProof="0" dirty="0" smtClean="0">
                <a:ln>
                  <a:noFill/>
                </a:ln>
                <a:solidFill>
                  <a:srgbClr val="C00000"/>
                </a:solidFill>
                <a:effectLst/>
                <a:uLnTx/>
                <a:uFillTx/>
                <a:latin typeface="Verdana" panose="020B0604030504040204" pitchFamily="34" charset="0"/>
                <a:ea typeface="Verdana" panose="020B0604030504040204" pitchFamily="34" charset="0"/>
                <a:cs typeface="+mn-cs"/>
              </a:rPr>
              <a:t> Р</a:t>
            </a:r>
            <a:r>
              <a:rPr kumimoji="0" lang="ru-RU" sz="1400" b="1" i="0" u="none" strike="noStrike" kern="1200" cap="none" spc="0" normalizeH="0" baseline="0" noProof="0" dirty="0" err="1" smtClean="0">
                <a:ln>
                  <a:noFill/>
                </a:ln>
                <a:solidFill>
                  <a:srgbClr val="C00000"/>
                </a:solidFill>
                <a:effectLst/>
                <a:uLnTx/>
                <a:uFillTx/>
                <a:latin typeface="Verdana" panose="020B0604030504040204" pitchFamily="34" charset="0"/>
                <a:ea typeface="Verdana" panose="020B0604030504040204" pitchFamily="34" charset="0"/>
                <a:cs typeface="+mn-cs"/>
              </a:rPr>
              <a:t>аботам</a:t>
            </a:r>
            <a:r>
              <a:rPr kumimoji="0" lang="ru-RU" sz="1400" b="1" i="0" u="none" strike="noStrike" kern="1200" cap="none" spc="0" normalizeH="0" baseline="0" noProof="0" dirty="0" smtClean="0">
                <a:ln>
                  <a:noFill/>
                </a:ln>
                <a:solidFill>
                  <a:srgbClr val="C00000"/>
                </a:solidFill>
                <a:effectLst/>
                <a:uLnTx/>
                <a:uFillTx/>
                <a:latin typeface="Verdana" panose="020B0604030504040204" pitchFamily="34" charset="0"/>
                <a:ea typeface="Verdana" panose="020B0604030504040204" pitchFamily="34" charset="0"/>
                <a:cs typeface="+mn-cs"/>
              </a:rPr>
              <a:t> повышенной опасности</a:t>
            </a:r>
            <a:r>
              <a:rPr kumimoji="0" lang="ru-RU" sz="14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для </a:t>
            </a:r>
            <a:r>
              <a:rPr kumimoji="0" lang="ru-RU" sz="14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сотрудников</a:t>
            </a:r>
            <a:r>
              <a:rPr kumimoji="0" lang="ru-RU" sz="1400" b="1" i="0" u="none" strike="noStrike" kern="1200" cap="none" spc="0" normalizeH="0" baseline="0" noProof="0" dirty="0">
                <a:ln>
                  <a:noFill/>
                </a:ln>
                <a:solidFill>
                  <a:prstClr val="black"/>
                </a:solidFill>
                <a:effectLst/>
                <a:uLnTx/>
                <a:uFillTx/>
                <a:latin typeface="Calibri"/>
                <a:ea typeface="+mn-ea"/>
                <a:cs typeface="+mn-cs"/>
              </a:rPr>
              <a:t> </a:t>
            </a:r>
            <a:r>
              <a:rPr kumimoji="0" lang="ru-RU" sz="1400" b="1" i="0" u="none" strike="noStrike" kern="1200" cap="none" spc="0" normalizeH="0" baseline="0" noProof="0" dirty="0">
                <a:ln>
                  <a:noFill/>
                </a:ln>
                <a:solidFill>
                  <a:srgbClr val="C00000"/>
                </a:solidFill>
                <a:effectLst/>
                <a:uLnTx/>
                <a:uFillTx/>
                <a:latin typeface="Verdana" panose="020B0604030504040204" pitchFamily="34" charset="0"/>
                <a:ea typeface="Verdana" panose="020B0604030504040204" pitchFamily="34" charset="0"/>
                <a:cs typeface="+mn-cs"/>
              </a:rPr>
              <a:t>подрядных </a:t>
            </a:r>
            <a:r>
              <a:rPr kumimoji="0" lang="ru-RU" sz="1400" b="1" i="0" u="none" strike="noStrike" kern="1200" cap="none" spc="0" normalizeH="0" baseline="0" noProof="0" dirty="0" smtClean="0">
                <a:ln>
                  <a:noFill/>
                </a:ln>
                <a:solidFill>
                  <a:srgbClr val="C00000"/>
                </a:solidFill>
                <a:effectLst/>
                <a:uLnTx/>
                <a:uFillTx/>
                <a:latin typeface="Verdana" panose="020B0604030504040204" pitchFamily="34" charset="0"/>
                <a:ea typeface="Verdana" panose="020B0604030504040204" pitchFamily="34" charset="0"/>
                <a:cs typeface="+mn-cs"/>
              </a:rPr>
              <a:t>организаций</a:t>
            </a:r>
            <a:endParaRPr kumimoji="0" lang="ru-RU" sz="1400" b="1" i="0" u="none" strike="noStrike" kern="1200" cap="none" spc="0" normalizeH="0" baseline="0" noProof="0" dirty="0">
              <a:ln>
                <a:noFill/>
              </a:ln>
              <a:solidFill>
                <a:srgbClr val="C00000"/>
              </a:solidFill>
              <a:effectLst/>
              <a:uLnTx/>
              <a:uFillTx/>
              <a:latin typeface="Verdana" panose="020B0604030504040204" pitchFamily="34" charset="0"/>
              <a:ea typeface="Verdana" panose="020B0604030504040204" pitchFamily="34" charset="0"/>
              <a:cs typeface="+mn-cs"/>
            </a:endParaRPr>
          </a:p>
        </p:txBody>
      </p:sp>
      <p:pic>
        <p:nvPicPr>
          <p:cNvPr id="46" name="Рисунок 4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47141" y="2080051"/>
            <a:ext cx="403718" cy="723077"/>
          </a:xfrm>
          <a:prstGeom prst="rect">
            <a:avLst/>
          </a:prstGeom>
        </p:spPr>
      </p:pic>
      <p:pic>
        <p:nvPicPr>
          <p:cNvPr id="45" name="Рисунок 4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87702" y="2000756"/>
            <a:ext cx="488388" cy="679775"/>
          </a:xfrm>
          <a:prstGeom prst="rect">
            <a:avLst/>
          </a:prstGeom>
        </p:spPr>
      </p:pic>
      <p:sp>
        <p:nvSpPr>
          <p:cNvPr id="47" name="Прямоугольник 46"/>
          <p:cNvSpPr/>
          <p:nvPr/>
        </p:nvSpPr>
        <p:spPr>
          <a:xfrm>
            <a:off x="735666" y="4305002"/>
            <a:ext cx="2950214" cy="1647813"/>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84" rtl="0" eaLnBrk="1" fontAlgn="auto" latinLnBrk="0" hangingPunct="1">
              <a:lnSpc>
                <a:spcPct val="100000"/>
              </a:lnSpc>
              <a:spcBef>
                <a:spcPts val="0"/>
              </a:spcBef>
              <a:spcAft>
                <a:spcPts val="0"/>
              </a:spcAft>
              <a:buClrTx/>
              <a:buSzTx/>
              <a:buFontTx/>
              <a:buNone/>
              <a:tabLst/>
              <a:defRPr/>
            </a:pPr>
            <a:endParaRPr kumimoji="0" lang="ru-RU" sz="2434" b="0" i="0" u="none" strike="noStrike" kern="1200" cap="none" spc="0" normalizeH="0" baseline="0" noProof="0">
              <a:ln>
                <a:noFill/>
              </a:ln>
              <a:solidFill>
                <a:prstClr val="white"/>
              </a:solidFill>
              <a:effectLst/>
              <a:uLnTx/>
              <a:uFillTx/>
              <a:latin typeface="Calibri"/>
              <a:ea typeface="+mn-ea"/>
              <a:cs typeface="+mn-cs"/>
            </a:endParaRPr>
          </a:p>
        </p:txBody>
      </p:sp>
      <p:sp>
        <p:nvSpPr>
          <p:cNvPr id="48" name="Прямоугольник 47"/>
          <p:cNvSpPr/>
          <p:nvPr/>
        </p:nvSpPr>
        <p:spPr>
          <a:xfrm>
            <a:off x="4398005" y="4305002"/>
            <a:ext cx="2060888" cy="1661611"/>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84" rtl="0" eaLnBrk="1" fontAlgn="auto" latinLnBrk="0" hangingPunct="1">
              <a:lnSpc>
                <a:spcPct val="100000"/>
              </a:lnSpc>
              <a:spcBef>
                <a:spcPts val="0"/>
              </a:spcBef>
              <a:spcAft>
                <a:spcPts val="0"/>
              </a:spcAft>
              <a:buClrTx/>
              <a:buSzTx/>
              <a:buFontTx/>
              <a:buNone/>
              <a:tabLst/>
              <a:defRPr/>
            </a:pPr>
            <a:endParaRPr kumimoji="0" lang="ru-RU" sz="2434" b="0" i="0" u="none" strike="noStrike" kern="1200" cap="none" spc="0" normalizeH="0" baseline="0" noProof="0">
              <a:ln>
                <a:noFill/>
              </a:ln>
              <a:solidFill>
                <a:prstClr val="white"/>
              </a:solidFill>
              <a:effectLst/>
              <a:uLnTx/>
              <a:uFillTx/>
              <a:latin typeface="Calibri"/>
              <a:ea typeface="+mn-ea"/>
              <a:cs typeface="+mn-cs"/>
            </a:endParaRPr>
          </a:p>
        </p:txBody>
      </p:sp>
      <p:sp>
        <p:nvSpPr>
          <p:cNvPr id="5" name="Прямоугольник 4"/>
          <p:cNvSpPr/>
          <p:nvPr/>
        </p:nvSpPr>
        <p:spPr>
          <a:xfrm>
            <a:off x="735666" y="4305003"/>
            <a:ext cx="2803892" cy="738664"/>
          </a:xfrm>
          <a:prstGeom prst="rect">
            <a:avLst/>
          </a:prstGeom>
        </p:spPr>
        <p:txBody>
          <a:bodyPr wrap="square">
            <a:spAutoFit/>
          </a:bodyPr>
          <a:lstStyle/>
          <a:p>
            <a:pPr marL="0" marR="0" lvl="0" indent="0" algn="ctr" defTabSz="1219084"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Передача информации об </a:t>
            </a:r>
            <a:r>
              <a:rPr kumimoji="0" lang="ru-RU" sz="1400" b="1" i="0" u="none" strike="noStrike" kern="1200" cap="none" spc="0" normalizeH="0" baseline="0" noProof="0" dirty="0" smtClean="0">
                <a:ln>
                  <a:noFill/>
                </a:ln>
                <a:solidFill>
                  <a:srgbClr val="C00000"/>
                </a:solidFill>
                <a:effectLst/>
                <a:uLnTx/>
                <a:uFillTx/>
                <a:latin typeface="Verdana" panose="020B0604030504040204" pitchFamily="34" charset="0"/>
                <a:ea typeface="Verdana" panose="020B0604030504040204" pitchFamily="34" charset="0"/>
                <a:cs typeface="+mn-cs"/>
              </a:rPr>
              <a:t>обученном персонале   </a:t>
            </a:r>
            <a:r>
              <a:rPr kumimoji="0" lang="ru-RU" sz="14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в    ДЭБ</a:t>
            </a:r>
            <a:endParaRPr kumimoji="0" lang="ru-RU" sz="14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sp>
        <p:nvSpPr>
          <p:cNvPr id="17" name="Прямоугольник 16"/>
          <p:cNvSpPr/>
          <p:nvPr/>
        </p:nvSpPr>
        <p:spPr>
          <a:xfrm>
            <a:off x="4543450" y="4396334"/>
            <a:ext cx="1997420"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Восстановление </a:t>
            </a:r>
            <a:r>
              <a:rPr kumimoji="0" lang="ru-RU" sz="1400" b="1" i="0" u="none" strike="noStrike" kern="1200" cap="none" spc="0" normalizeH="0" baseline="0" noProof="0" dirty="0" smtClean="0">
                <a:ln>
                  <a:noFill/>
                </a:ln>
                <a:solidFill>
                  <a:srgbClr val="C00000"/>
                </a:solidFill>
                <a:effectLst/>
                <a:uLnTx/>
                <a:uFillTx/>
                <a:latin typeface="Verdana" panose="020B0604030504040204" pitchFamily="34" charset="0"/>
                <a:ea typeface="Verdana" panose="020B0604030504040204" pitchFamily="34" charset="0"/>
                <a:cs typeface="+mn-cs"/>
              </a:rPr>
              <a:t>доступа</a:t>
            </a:r>
            <a:r>
              <a:rPr kumimoji="0" lang="ru-RU" sz="14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 сотрудникам</a:t>
            </a:r>
            <a:endParaRPr kumimoji="0" lang="ru-RU" sz="14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18" name="Рисунок 1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549706" y="5134998"/>
            <a:ext cx="1026967" cy="780741"/>
          </a:xfrm>
          <a:prstGeom prst="rect">
            <a:avLst/>
          </a:prstGeom>
        </p:spPr>
      </p:pic>
      <p:pic>
        <p:nvPicPr>
          <p:cNvPr id="26" name="Рисунок 2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flipH="1">
            <a:off x="4967024" y="5140928"/>
            <a:ext cx="784742" cy="825685"/>
          </a:xfrm>
          <a:prstGeom prst="rect">
            <a:avLst/>
          </a:prstGeom>
        </p:spPr>
      </p:pic>
      <p:pic>
        <p:nvPicPr>
          <p:cNvPr id="27" name="Рисунок 2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flipH="1">
            <a:off x="9615835" y="4961725"/>
            <a:ext cx="1322868" cy="1562401"/>
          </a:xfrm>
          <a:prstGeom prst="rect">
            <a:avLst/>
          </a:prstGeom>
        </p:spPr>
      </p:pic>
      <p:sp>
        <p:nvSpPr>
          <p:cNvPr id="28" name="Прямоугольник 27"/>
          <p:cNvSpPr/>
          <p:nvPr/>
        </p:nvSpPr>
        <p:spPr>
          <a:xfrm>
            <a:off x="8744920" y="3725412"/>
            <a:ext cx="3047293" cy="1169551"/>
          </a:xfrm>
          <a:prstGeom prst="rect">
            <a:avLst/>
          </a:prstGeom>
        </p:spPr>
        <p:txBody>
          <a:bodyPr wrap="square">
            <a:spAutoFit/>
          </a:bodyPr>
          <a:lstStyle/>
          <a:p>
            <a:pPr marL="0" marR="0" lvl="0" indent="0" algn="l" defTabSz="1219084"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Запрет </a:t>
            </a:r>
            <a:r>
              <a:rPr kumimoji="0" lang="ru-RU" sz="14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на </a:t>
            </a:r>
            <a:r>
              <a:rPr kumimoji="0" lang="ru-RU" sz="14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вход </a:t>
            </a:r>
            <a:r>
              <a:rPr kumimoji="0" lang="ru-RU" sz="1400" b="1" i="0" u="none" strike="noStrike" kern="1200" cap="none" spc="0" normalizeH="0" baseline="0" noProof="0" dirty="0" smtClean="0">
                <a:ln>
                  <a:noFill/>
                </a:ln>
                <a:solidFill>
                  <a:srgbClr val="C00000"/>
                </a:solidFill>
                <a:effectLst/>
                <a:uLnTx/>
                <a:uFillTx/>
                <a:latin typeface="Verdana" panose="020B0604030504040204" pitchFamily="34" charset="0"/>
                <a:ea typeface="Verdana" panose="020B0604030504040204" pitchFamily="34" charset="0"/>
                <a:cs typeface="+mn-cs"/>
              </a:rPr>
              <a:t>повторно</a:t>
            </a:r>
          </a:p>
          <a:p>
            <a:pPr marL="0" marR="0" lvl="0" indent="0" algn="l" defTabSz="1219084"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smtClean="0">
                <a:ln>
                  <a:noFill/>
                </a:ln>
                <a:solidFill>
                  <a:srgbClr val="C00000"/>
                </a:solidFill>
                <a:effectLst/>
                <a:uLnTx/>
                <a:uFillTx/>
                <a:latin typeface="Verdana" panose="020B0604030504040204" pitchFamily="34" charset="0"/>
                <a:ea typeface="Verdana" panose="020B0604030504040204" pitchFamily="34" charset="0"/>
                <a:cs typeface="+mn-cs"/>
              </a:rPr>
              <a:t> </a:t>
            </a:r>
          </a:p>
          <a:p>
            <a:pPr marL="0" marR="0" lvl="0" indent="0" algn="l" defTabSz="1219084" rtl="0" eaLnBrk="1" fontAlgn="auto" latinLnBrk="0" hangingPunct="1">
              <a:lnSpc>
                <a:spcPct val="100000"/>
              </a:lnSpc>
              <a:spcBef>
                <a:spcPts val="0"/>
              </a:spcBef>
              <a:spcAft>
                <a:spcPts val="0"/>
              </a:spcAft>
              <a:buClrTx/>
              <a:buSzTx/>
              <a:buFontTx/>
              <a:buNone/>
              <a:tabLst/>
              <a:defRPr/>
            </a:pPr>
            <a:endParaRPr kumimoji="0" lang="ru-RU" sz="1400" b="1" i="0" u="none" strike="noStrike" kern="1200" cap="none" spc="0" normalizeH="0" baseline="0" noProof="0" dirty="0" smtClean="0">
              <a:ln>
                <a:noFill/>
              </a:ln>
              <a:solidFill>
                <a:srgbClr val="C00000"/>
              </a:solidFill>
              <a:effectLst/>
              <a:uLnTx/>
              <a:uFillTx/>
              <a:latin typeface="Verdana" panose="020B0604030504040204" pitchFamily="34" charset="0"/>
              <a:ea typeface="Verdana" panose="020B0604030504040204" pitchFamily="34" charset="0"/>
              <a:cs typeface="+mn-cs"/>
            </a:endParaRPr>
          </a:p>
          <a:p>
            <a:pPr marL="0" marR="0" lvl="0" indent="0" algn="l" defTabSz="1219084"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ограничение доступа </a:t>
            </a:r>
            <a:r>
              <a:rPr kumimoji="0" lang="ru-RU" sz="1400" b="1" i="0" u="none" strike="noStrike" kern="1200" cap="none" spc="0" normalizeH="0" baseline="0" noProof="0" dirty="0" smtClean="0">
                <a:ln>
                  <a:noFill/>
                </a:ln>
                <a:solidFill>
                  <a:srgbClr val="C00000"/>
                </a:solidFill>
                <a:effectLst/>
                <a:uLnTx/>
                <a:uFillTx/>
                <a:latin typeface="Verdana" panose="020B0604030504040204" pitchFamily="34" charset="0"/>
                <a:ea typeface="Verdana" panose="020B0604030504040204" pitchFamily="34" charset="0"/>
                <a:cs typeface="+mn-cs"/>
              </a:rPr>
              <a:t>без права на восстановление</a:t>
            </a:r>
            <a:endParaRPr kumimoji="0" lang="ru-RU" sz="1400" b="1" i="0" u="none" strike="noStrike" kern="1200" cap="none" spc="0" normalizeH="0" baseline="0" noProof="0" dirty="0">
              <a:ln>
                <a:noFill/>
              </a:ln>
              <a:solidFill>
                <a:srgbClr val="C00000"/>
              </a:solidFill>
              <a:effectLst/>
              <a:uLnTx/>
              <a:uFillTx/>
              <a:latin typeface="Verdana" panose="020B0604030504040204" pitchFamily="34" charset="0"/>
              <a:ea typeface="Verdana" panose="020B0604030504040204" pitchFamily="34" charset="0"/>
              <a:cs typeface="+mn-cs"/>
            </a:endParaRPr>
          </a:p>
        </p:txBody>
      </p:sp>
      <p:sp>
        <p:nvSpPr>
          <p:cNvPr id="50" name="Стрелка вниз 49"/>
          <p:cNvSpPr/>
          <p:nvPr/>
        </p:nvSpPr>
        <p:spPr>
          <a:xfrm rot="16200000">
            <a:off x="3921446" y="4800100"/>
            <a:ext cx="292671" cy="364944"/>
          </a:xfrm>
          <a:prstGeom prst="downArrow">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84" rtl="0" eaLnBrk="1" fontAlgn="auto" latinLnBrk="0" hangingPunct="1">
              <a:lnSpc>
                <a:spcPct val="100000"/>
              </a:lnSpc>
              <a:spcBef>
                <a:spcPts val="0"/>
              </a:spcBef>
              <a:spcAft>
                <a:spcPts val="0"/>
              </a:spcAft>
              <a:buClrTx/>
              <a:buSzTx/>
              <a:buFontTx/>
              <a:buNone/>
              <a:tabLst/>
              <a:defRPr/>
            </a:pPr>
            <a:endParaRPr kumimoji="0" lang="ru-RU" sz="2434" b="0" i="0" u="none" strike="noStrike" kern="1200" cap="none" spc="0" normalizeH="0" baseline="0" noProof="0">
              <a:ln>
                <a:noFill/>
              </a:ln>
              <a:solidFill>
                <a:prstClr val="white"/>
              </a:solidFill>
              <a:effectLst/>
              <a:uLnTx/>
              <a:uFillTx/>
              <a:latin typeface="Calibri"/>
              <a:ea typeface="+mn-ea"/>
              <a:cs typeface="+mn-cs"/>
            </a:endParaRPr>
          </a:p>
        </p:txBody>
      </p:sp>
      <p:sp>
        <p:nvSpPr>
          <p:cNvPr id="29" name="Прямоугольник 28"/>
          <p:cNvSpPr/>
          <p:nvPr/>
        </p:nvSpPr>
        <p:spPr>
          <a:xfrm>
            <a:off x="8461495" y="3674130"/>
            <a:ext cx="3533654" cy="298034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Стрелка вниз 12"/>
          <p:cNvSpPr/>
          <p:nvPr/>
        </p:nvSpPr>
        <p:spPr>
          <a:xfrm>
            <a:off x="9909984" y="4012149"/>
            <a:ext cx="318338" cy="413641"/>
          </a:xfrm>
          <a:prstGeom prst="downArrow">
            <a:avLst/>
          </a:prstGeom>
          <a:solidFill>
            <a:schemeClr val="bg1">
              <a:lumMod val="65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46570805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Стрелка вправо 19"/>
          <p:cNvSpPr/>
          <p:nvPr/>
        </p:nvSpPr>
        <p:spPr>
          <a:xfrm>
            <a:off x="838563" y="1225509"/>
            <a:ext cx="2838418" cy="1802925"/>
          </a:xfrm>
          <a:prstGeom prst="rightArrow">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84"/>
            <a:endParaRPr lang="ru-RU" sz="2434">
              <a:solidFill>
                <a:prstClr val="white"/>
              </a:solidFill>
              <a:latin typeface="Calibri"/>
            </a:endParaRPr>
          </a:p>
        </p:txBody>
      </p:sp>
      <p:sp>
        <p:nvSpPr>
          <p:cNvPr id="19" name="Прямоугольник 18"/>
          <p:cNvSpPr/>
          <p:nvPr/>
        </p:nvSpPr>
        <p:spPr>
          <a:xfrm>
            <a:off x="609979" y="949132"/>
            <a:ext cx="10895848" cy="2435123"/>
          </a:xfrm>
          <a:prstGeom prst="rect">
            <a:avLst/>
          </a:prstGeom>
          <a:noFill/>
          <a:ln>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84"/>
            <a:endParaRPr lang="ru-RU" sz="2434">
              <a:solidFill>
                <a:prstClr val="white"/>
              </a:solidFill>
              <a:latin typeface="Calibri"/>
            </a:endParaRPr>
          </a:p>
        </p:txBody>
      </p:sp>
      <p:sp>
        <p:nvSpPr>
          <p:cNvPr id="2" name="Прямоугольник 1"/>
          <p:cNvSpPr/>
          <p:nvPr/>
        </p:nvSpPr>
        <p:spPr>
          <a:xfrm>
            <a:off x="609979" y="260129"/>
            <a:ext cx="10895848" cy="609558"/>
          </a:xfrm>
          <a:prstGeom prst="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84">
              <a:defRPr/>
            </a:pPr>
            <a:r>
              <a:rPr lang="ru-RU" sz="2116" b="1" dirty="0">
                <a:solidFill>
                  <a:prstClr val="black"/>
                </a:solidFill>
                <a:latin typeface="Calibri"/>
              </a:rPr>
              <a:t>В Нижегородской области за 2021 год утонули 86 человек, из них 13 дети.</a:t>
            </a:r>
          </a:p>
        </p:txBody>
      </p:sp>
      <p:pic>
        <p:nvPicPr>
          <p:cNvPr id="10" name="Рисунок 9"/>
          <p:cNvPicPr>
            <a:picLocks noChangeAspect="1"/>
          </p:cNvPicPr>
          <p:nvPr/>
        </p:nvPicPr>
        <p:blipFill>
          <a:blip r:embed="rId3"/>
          <a:stretch>
            <a:fillRect/>
          </a:stretch>
        </p:blipFill>
        <p:spPr>
          <a:xfrm>
            <a:off x="2819626" y="3972424"/>
            <a:ext cx="6476553" cy="2666816"/>
          </a:xfrm>
          <a:prstGeom prst="rect">
            <a:avLst/>
          </a:prstGeom>
          <a:ln>
            <a:solidFill>
              <a:srgbClr val="C00000"/>
            </a:solidFill>
          </a:ln>
        </p:spPr>
      </p:pic>
      <p:sp>
        <p:nvSpPr>
          <p:cNvPr id="14" name="TextBox 13"/>
          <p:cNvSpPr txBox="1"/>
          <p:nvPr/>
        </p:nvSpPr>
        <p:spPr>
          <a:xfrm>
            <a:off x="2819626" y="3591408"/>
            <a:ext cx="6476553" cy="385490"/>
          </a:xfrm>
          <a:prstGeom prst="rect">
            <a:avLst/>
          </a:prstGeom>
          <a:solidFill>
            <a:schemeClr val="bg1">
              <a:lumMod val="85000"/>
            </a:schemeClr>
          </a:solidFill>
          <a:ln w="19050">
            <a:solidFill>
              <a:srgbClr val="C00000"/>
            </a:solidFill>
          </a:ln>
        </p:spPr>
        <p:txBody>
          <a:bodyPr wrap="square" rtlCol="0">
            <a:spAutoFit/>
          </a:bodyPr>
          <a:lstStyle/>
          <a:p>
            <a:pPr algn="ctr" defTabSz="1219084"/>
            <a:r>
              <a:rPr lang="ru-RU" sz="1905" b="1" u="sng" dirty="0">
                <a:solidFill>
                  <a:prstClr val="black"/>
                </a:solidFill>
                <a:latin typeface="Calibri"/>
              </a:rPr>
              <a:t>Во избежание несчастных случаев нельзя !!!</a:t>
            </a:r>
          </a:p>
        </p:txBody>
      </p:sp>
      <p:pic>
        <p:nvPicPr>
          <p:cNvPr id="15" name="Рисунок 14"/>
          <p:cNvPicPr>
            <a:picLocks noChangeAspect="1"/>
          </p:cNvPicPr>
          <p:nvPr/>
        </p:nvPicPr>
        <p:blipFill>
          <a:blip r:embed="rId4"/>
          <a:stretch>
            <a:fillRect/>
          </a:stretch>
        </p:blipFill>
        <p:spPr>
          <a:xfrm>
            <a:off x="6172195" y="1225509"/>
            <a:ext cx="2057258" cy="1981063"/>
          </a:xfrm>
          <a:prstGeom prst="rect">
            <a:avLst/>
          </a:prstGeom>
        </p:spPr>
      </p:pic>
      <p:pic>
        <p:nvPicPr>
          <p:cNvPr id="16" name="Рисунок 15"/>
          <p:cNvPicPr>
            <a:picLocks noChangeAspect="1"/>
          </p:cNvPicPr>
          <p:nvPr/>
        </p:nvPicPr>
        <p:blipFill>
          <a:blip r:embed="rId5"/>
          <a:stretch>
            <a:fillRect/>
          </a:stretch>
        </p:blipFill>
        <p:spPr>
          <a:xfrm>
            <a:off x="3810158" y="1245102"/>
            <a:ext cx="1842879" cy="1941877"/>
          </a:xfrm>
          <a:prstGeom prst="rect">
            <a:avLst/>
          </a:prstGeom>
        </p:spPr>
      </p:pic>
      <p:pic>
        <p:nvPicPr>
          <p:cNvPr id="17" name="Рисунок 16"/>
          <p:cNvPicPr>
            <a:picLocks noChangeAspect="1"/>
          </p:cNvPicPr>
          <p:nvPr/>
        </p:nvPicPr>
        <p:blipFill>
          <a:blip r:embed="rId6"/>
          <a:stretch>
            <a:fillRect/>
          </a:stretch>
        </p:blipFill>
        <p:spPr>
          <a:xfrm>
            <a:off x="8615434" y="997127"/>
            <a:ext cx="2133453" cy="2275683"/>
          </a:xfrm>
          <a:prstGeom prst="rect">
            <a:avLst/>
          </a:prstGeom>
        </p:spPr>
      </p:pic>
      <p:sp>
        <p:nvSpPr>
          <p:cNvPr id="18" name="TextBox 17"/>
          <p:cNvSpPr txBox="1"/>
          <p:nvPr/>
        </p:nvSpPr>
        <p:spPr>
          <a:xfrm>
            <a:off x="823240" y="1752449"/>
            <a:ext cx="2514425" cy="743537"/>
          </a:xfrm>
          <a:prstGeom prst="rect">
            <a:avLst/>
          </a:prstGeom>
          <a:noFill/>
        </p:spPr>
        <p:txBody>
          <a:bodyPr wrap="square" rtlCol="0">
            <a:spAutoFit/>
          </a:bodyPr>
          <a:lstStyle/>
          <a:p>
            <a:pPr algn="ctr" defTabSz="1219084"/>
            <a:r>
              <a:rPr lang="ru-RU" sz="2116" b="1" dirty="0">
                <a:solidFill>
                  <a:prstClr val="black"/>
                </a:solidFill>
                <a:latin typeface="Calibri"/>
              </a:rPr>
              <a:t>Общие правила поведения на воде</a:t>
            </a:r>
          </a:p>
        </p:txBody>
      </p:sp>
    </p:spTree>
    <p:extLst>
      <p:ext uri="{BB962C8B-B14F-4D97-AF65-F5344CB8AC3E}">
        <p14:creationId xmlns:p14="http://schemas.microsoft.com/office/powerpoint/2010/main" val="173992967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Прямая соединительная линия 14"/>
          <p:cNvCxnSpPr/>
          <p:nvPr/>
        </p:nvCxnSpPr>
        <p:spPr>
          <a:xfrm>
            <a:off x="108769" y="305016"/>
            <a:ext cx="11886380"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 name="Текст 6">
            <a:extLst>
              <a:ext uri="{FF2B5EF4-FFF2-40B4-BE49-F238E27FC236}">
                <a16:creationId xmlns:a16="http://schemas.microsoft.com/office/drawing/2014/main" id="{8E6B8E05-B925-406A-B527-E6B8316ACA98}"/>
              </a:ext>
            </a:extLst>
          </p:cNvPr>
          <p:cNvSpPr txBox="1">
            <a:spLocks/>
          </p:cNvSpPr>
          <p:nvPr/>
        </p:nvSpPr>
        <p:spPr>
          <a:xfrm>
            <a:off x="10317" y="345214"/>
            <a:ext cx="2590254" cy="288081"/>
          </a:xfrm>
          <a:prstGeom prst="rect">
            <a:avLst/>
          </a:prstGeom>
        </p:spPr>
        <p:txBody>
          <a:bodyPr vert="horz" lIns="121913" tIns="60956" rIns="121913" bIns="60956" rtlCol="0">
            <a:normAutofit lnSpcReduction="10000"/>
          </a:bodyPr>
          <a:lstStyle>
            <a:lvl1pPr marL="0" indent="0" algn="l" defTabSz="1152144" rtl="0" eaLnBrk="1" latinLnBrk="0" hangingPunct="1">
              <a:spcBef>
                <a:spcPct val="20000"/>
              </a:spcBef>
              <a:buFontTx/>
              <a:buNone/>
              <a:defRPr sz="1100" b="0" i="0" kern="1200">
                <a:solidFill>
                  <a:srgbClr val="7F8183"/>
                </a:solidFill>
                <a:latin typeface="Verdana" panose="020B0604030504040204" pitchFamily="34" charset="0"/>
                <a:ea typeface="Verdana" panose="020B0604030504040204" pitchFamily="34" charset="0"/>
                <a:cs typeface="Verdana" panose="020B0604030504040204" pitchFamily="34" charset="0"/>
              </a:defRPr>
            </a:lvl1pPr>
            <a:lvl2pPr marL="936117" indent="-360045" algn="l" defTabSz="1152144" rtl="0" eaLnBrk="1" latinLnBrk="0" hangingPunct="1">
              <a:spcBef>
                <a:spcPct val="20000"/>
              </a:spcBef>
              <a:buFont typeface="Arial" pitchFamily="34" charset="0"/>
              <a:buChar char="–"/>
              <a:defRPr sz="3500" kern="1200">
                <a:solidFill>
                  <a:schemeClr val="tx1"/>
                </a:solidFill>
                <a:latin typeface="+mn-lt"/>
                <a:ea typeface="+mn-ea"/>
                <a:cs typeface="+mn-cs"/>
              </a:defRPr>
            </a:lvl2pPr>
            <a:lvl3pPr marL="1440180" indent="-288036" algn="l" defTabSz="1152144" rtl="0" eaLnBrk="1" latinLnBrk="0" hangingPunct="1">
              <a:spcBef>
                <a:spcPct val="20000"/>
              </a:spcBef>
              <a:buFont typeface="Arial" pitchFamily="34" charset="0"/>
              <a:buChar char="•"/>
              <a:defRPr sz="3000" kern="1200">
                <a:solidFill>
                  <a:schemeClr val="tx1"/>
                </a:solidFill>
                <a:latin typeface="+mn-lt"/>
                <a:ea typeface="+mn-ea"/>
                <a:cs typeface="+mn-cs"/>
              </a:defRPr>
            </a:lvl3pPr>
            <a:lvl4pPr marL="201625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4pPr>
            <a:lvl5pPr marL="2592324"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5pPr>
            <a:lvl6pPr marL="3168396"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744468"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320540"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89661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0" marR="0" lvl="0" indent="0" algn="l" defTabSz="1219084" rtl="0" eaLnBrk="1" fontAlgn="auto" latinLnBrk="0" hangingPunct="1">
              <a:lnSpc>
                <a:spcPct val="100000"/>
              </a:lnSpc>
              <a:spcBef>
                <a:spcPct val="20000"/>
              </a:spcBef>
              <a:spcAft>
                <a:spcPts val="0"/>
              </a:spcAft>
              <a:buClrTx/>
              <a:buSzTx/>
              <a:buFontTx/>
              <a:buNone/>
              <a:tabLst/>
              <a:defRPr/>
            </a:pPr>
            <a:r>
              <a:rPr kumimoji="0" lang="ru-RU" sz="1164" b="0" i="0" u="none" strike="noStrike" kern="1200" cap="none" spc="0" normalizeH="0" baseline="0" noProof="0" dirty="0">
                <a:ln>
                  <a:noFill/>
                </a:ln>
                <a:solidFill>
                  <a:srgbClr val="7F8183"/>
                </a:solidFill>
                <a:effectLst/>
                <a:uLnTx/>
                <a:uFillTx/>
                <a:latin typeface="Verdana" panose="020B0604030504040204" pitchFamily="34" charset="0"/>
                <a:ea typeface="Verdana" panose="020B0604030504040204" pitchFamily="34" charset="0"/>
              </a:rPr>
              <a:t>Обучение/Тренинги</a:t>
            </a:r>
          </a:p>
        </p:txBody>
      </p:sp>
      <p:sp>
        <p:nvSpPr>
          <p:cNvPr id="21" name="Прямоугольник 20"/>
          <p:cNvSpPr/>
          <p:nvPr/>
        </p:nvSpPr>
        <p:spPr>
          <a:xfrm>
            <a:off x="4330931" y="690431"/>
            <a:ext cx="6101541" cy="320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81"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Ра</a:t>
            </a:r>
            <a:r>
              <a:rPr kumimoji="0" lang="ru-RU" sz="14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зви</a:t>
            </a:r>
            <a:r>
              <a:rPr kumimoji="0" lang="ru-RU" sz="1481"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тие         </a:t>
            </a:r>
            <a:r>
              <a:rPr kumimoji="0" lang="ru-RU" sz="1400" b="1" i="0" u="none" strike="noStrike" kern="1200" cap="none" spc="0" normalizeH="0" baseline="0" noProof="0" dirty="0" smtClean="0">
                <a:ln>
                  <a:noFill/>
                </a:ln>
                <a:solidFill>
                  <a:srgbClr val="C00000"/>
                </a:solidFill>
                <a:effectLst/>
                <a:uLnTx/>
                <a:uFillTx/>
                <a:latin typeface="Verdana" panose="020B0604030504040204" pitchFamily="34" charset="0"/>
                <a:ea typeface="Verdana" panose="020B0604030504040204" pitchFamily="34" charset="0"/>
                <a:cs typeface="+mn-cs"/>
              </a:rPr>
              <a:t>это взаимно</a:t>
            </a:r>
            <a:endParaRPr kumimoji="0" lang="ru-RU" sz="1400" b="0" i="0" u="none" strike="noStrike" kern="1200" cap="none" spc="0" normalizeH="0" baseline="0" noProof="0" dirty="0">
              <a:ln>
                <a:noFill/>
              </a:ln>
              <a:solidFill>
                <a:srgbClr val="C00000"/>
              </a:solidFill>
              <a:effectLst/>
              <a:uLnTx/>
              <a:uFillTx/>
              <a:latin typeface="Calibri"/>
              <a:ea typeface="+mn-ea"/>
              <a:cs typeface="+mn-cs"/>
            </a:endParaRPr>
          </a:p>
        </p:txBody>
      </p:sp>
      <p:sp>
        <p:nvSpPr>
          <p:cNvPr id="23" name="Прямоугольник 22"/>
          <p:cNvSpPr/>
          <p:nvPr/>
        </p:nvSpPr>
        <p:spPr>
          <a:xfrm>
            <a:off x="368653" y="1894156"/>
            <a:ext cx="4960819" cy="523220"/>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400" b="0" i="0" u="none" strike="noStrike" kern="1200" cap="none" spc="0" normalizeH="0" baseline="0" noProof="0" dirty="0">
                <a:ln>
                  <a:noFill/>
                </a:ln>
                <a:solidFill>
                  <a:srgbClr val="424242"/>
                </a:solidFill>
                <a:effectLst/>
                <a:uLnTx/>
                <a:uFillTx/>
                <a:latin typeface="Verdana" panose="020B0604030504040204"/>
                <a:ea typeface="+mn-ea"/>
                <a:cs typeface="+mn-cs"/>
              </a:rPr>
              <a:t>П</a:t>
            </a:r>
            <a:r>
              <a:rPr kumimoji="0" lang="ru-RU" sz="1400" b="0" i="0" u="none" strike="noStrike" kern="1200" cap="none" spc="0" normalizeH="0" baseline="0" noProof="0" dirty="0" smtClean="0">
                <a:ln>
                  <a:noFill/>
                </a:ln>
                <a:solidFill>
                  <a:srgbClr val="424242"/>
                </a:solidFill>
                <a:effectLst/>
                <a:uLnTx/>
                <a:uFillTx/>
                <a:latin typeface="Verdana" panose="020B0604030504040204"/>
                <a:ea typeface="+mn-ea"/>
                <a:cs typeface="+mn-cs"/>
              </a:rPr>
              <a:t>роведение </a:t>
            </a:r>
            <a:r>
              <a:rPr kumimoji="0" lang="ru-RU" sz="1400" b="0" i="0" u="none" strike="noStrike" kern="1200" cap="none" spc="0" normalizeH="0" baseline="0" noProof="0" dirty="0">
                <a:ln>
                  <a:noFill/>
                </a:ln>
                <a:solidFill>
                  <a:srgbClr val="424242"/>
                </a:solidFill>
                <a:effectLst/>
                <a:uLnTx/>
                <a:uFillTx/>
                <a:latin typeface="Verdana" panose="020B0604030504040204"/>
                <a:ea typeface="+mn-ea"/>
                <a:cs typeface="+mn-cs"/>
              </a:rPr>
              <a:t>поведенческих аудитов </a:t>
            </a:r>
            <a:r>
              <a:rPr kumimoji="0" lang="ru-RU" sz="1400" b="0" i="0" u="none" strike="noStrike" kern="1200" cap="none" spc="0" normalizeH="0" baseline="0" noProof="0" dirty="0" smtClean="0">
                <a:ln>
                  <a:noFill/>
                </a:ln>
                <a:solidFill>
                  <a:srgbClr val="424242"/>
                </a:solidFill>
                <a:effectLst/>
                <a:uLnTx/>
                <a:uFillTx/>
                <a:latin typeface="Verdana" panose="020B0604030504040204"/>
                <a:ea typeface="+mn-ea"/>
                <a:cs typeface="+mn-cs"/>
              </a:rPr>
              <a:t>и работа </a:t>
            </a:r>
            <a:r>
              <a:rPr kumimoji="0" lang="ru-RU" sz="1400" b="0" i="0" u="none" strike="noStrike" kern="1200" cap="none" spc="0" normalizeH="0" baseline="0" noProof="0" dirty="0">
                <a:ln>
                  <a:noFill/>
                </a:ln>
                <a:solidFill>
                  <a:srgbClr val="424242"/>
                </a:solidFill>
                <a:effectLst/>
                <a:uLnTx/>
                <a:uFillTx/>
                <a:latin typeface="Verdana" panose="020B0604030504040204"/>
                <a:ea typeface="+mn-ea"/>
                <a:cs typeface="+mn-cs"/>
              </a:rPr>
              <a:t>в системе АСУБ.</a:t>
            </a:r>
          </a:p>
        </p:txBody>
      </p:sp>
      <p:sp>
        <p:nvSpPr>
          <p:cNvPr id="24" name="Прямоугольник 23"/>
          <p:cNvSpPr/>
          <p:nvPr/>
        </p:nvSpPr>
        <p:spPr>
          <a:xfrm>
            <a:off x="6907249" y="2078521"/>
            <a:ext cx="4251437" cy="3046988"/>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200" b="0" i="0" u="none" strike="noStrike" kern="1200" cap="none" spc="0" normalizeH="0" baseline="0" noProof="0" dirty="0">
                <a:ln>
                  <a:noFill/>
                </a:ln>
                <a:solidFill>
                  <a:srgbClr val="424242"/>
                </a:solidFill>
                <a:effectLst/>
                <a:uLnTx/>
                <a:uFillTx/>
                <a:latin typeface="Verdana" panose="020B0604030504040204"/>
                <a:ea typeface="+mn-ea"/>
                <a:cs typeface="+mn-cs"/>
              </a:rPr>
              <a:t>Вовлечение руководителей и специалистов подрядных организаций в самостоятельное проведение аудитов с отражением результатов в системе </a:t>
            </a:r>
            <a:r>
              <a:rPr kumimoji="0" lang="ru-RU" sz="1200" b="0" i="0" u="none" strike="noStrike" kern="1200" cap="none" spc="0" normalizeH="0" baseline="0" noProof="0" dirty="0" smtClean="0">
                <a:ln>
                  <a:noFill/>
                </a:ln>
                <a:solidFill>
                  <a:srgbClr val="424242"/>
                </a:solidFill>
                <a:effectLst/>
                <a:uLnTx/>
                <a:uFillTx/>
                <a:latin typeface="Verdana" panose="020B0604030504040204"/>
                <a:ea typeface="+mn-ea"/>
                <a:cs typeface="+mn-cs"/>
              </a:rPr>
              <a:t>АСУБ</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200" b="0" i="0" u="none" strike="noStrike" kern="1200" cap="none" spc="0" normalizeH="0" baseline="0" noProof="0" dirty="0" smtClean="0">
                <a:ln>
                  <a:noFill/>
                </a:ln>
                <a:solidFill>
                  <a:srgbClr val="424242"/>
                </a:solidFill>
                <a:effectLst/>
                <a:uLnTx/>
                <a:uFillTx/>
                <a:latin typeface="Verdana" panose="020B0604030504040204"/>
                <a:ea typeface="+mn-ea"/>
                <a:cs typeface="+mn-cs"/>
              </a:rPr>
              <a:t>Улучшение процесса коммуникации между заказчиком и подрядчиком по вопросам безопасности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200" b="0" i="0" u="none" strike="noStrike" kern="1200" cap="none" spc="0" normalizeH="0" baseline="0" noProof="0" dirty="0" smtClean="0">
                <a:ln>
                  <a:noFill/>
                </a:ln>
                <a:solidFill>
                  <a:srgbClr val="424242"/>
                </a:solidFill>
                <a:effectLst/>
                <a:uLnTx/>
                <a:uFillTx/>
                <a:latin typeface="Verdana" panose="020B0604030504040204"/>
                <a:ea typeface="+mn-ea"/>
                <a:cs typeface="+mn-cs"/>
              </a:rPr>
              <a:t>Исключение фактов сокрытия происшествий</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200" b="0" i="0" u="none" strike="noStrike" kern="1200" cap="none" spc="0" normalizeH="0" baseline="0" noProof="0" dirty="0" smtClean="0">
                <a:ln>
                  <a:noFill/>
                </a:ln>
                <a:solidFill>
                  <a:srgbClr val="424242"/>
                </a:solidFill>
                <a:effectLst/>
                <a:uLnTx/>
                <a:uFillTx/>
                <a:latin typeface="Verdana" panose="020B0604030504040204"/>
                <a:ea typeface="+mn-ea"/>
                <a:cs typeface="+mn-cs"/>
              </a:rPr>
              <a:t>Выработка единого подхода к порядку и организации проведения расследования происшествий</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200" b="0" i="0" u="none" strike="noStrike" kern="1200" cap="none" spc="0" normalizeH="0" baseline="0" noProof="0" dirty="0" smtClean="0">
                <a:ln>
                  <a:noFill/>
                </a:ln>
                <a:solidFill>
                  <a:srgbClr val="424242"/>
                </a:solidFill>
                <a:effectLst/>
                <a:uLnTx/>
                <a:uFillTx/>
                <a:latin typeface="Verdana" panose="020B0604030504040204"/>
                <a:ea typeface="+mn-ea"/>
                <a:cs typeface="+mn-cs"/>
              </a:rPr>
              <a:t>Рассказать об инструментах </a:t>
            </a:r>
            <a:r>
              <a:rPr kumimoji="0" lang="ru-RU" sz="1200" b="0" i="0" u="none" strike="noStrike" kern="1200" cap="none" spc="0" normalizeH="0" baseline="0" noProof="0" dirty="0">
                <a:ln>
                  <a:noFill/>
                </a:ln>
                <a:solidFill>
                  <a:srgbClr val="424242"/>
                </a:solidFill>
                <a:effectLst/>
                <a:uLnTx/>
                <a:uFillTx/>
                <a:latin typeface="Verdana" panose="020B0604030504040204"/>
                <a:ea typeface="+mn-ea"/>
                <a:cs typeface="+mn-cs"/>
              </a:rPr>
              <a:t>управления безопасностью </a:t>
            </a:r>
            <a:endParaRPr kumimoji="0" lang="ru-RU" sz="1200" b="0" i="0" u="none" strike="noStrike" kern="1200" cap="none" spc="0" normalizeH="0" baseline="0" noProof="0" dirty="0" smtClean="0">
              <a:ln>
                <a:noFill/>
              </a:ln>
              <a:solidFill>
                <a:srgbClr val="424242"/>
              </a:solidFill>
              <a:effectLst/>
              <a:uLnTx/>
              <a:uFillTx/>
              <a:latin typeface="Verdana" panose="020B060403050404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200" b="0" i="0" u="none" strike="noStrike" kern="1200" cap="none" spc="0" normalizeH="0" baseline="0" noProof="0" dirty="0" smtClean="0">
                <a:ln>
                  <a:noFill/>
                </a:ln>
                <a:solidFill>
                  <a:srgbClr val="424242"/>
                </a:solidFill>
                <a:effectLst/>
                <a:uLnTx/>
                <a:uFillTx/>
                <a:latin typeface="Verdana" panose="020B0604030504040204"/>
                <a:ea typeface="+mn-ea"/>
                <a:cs typeface="+mn-cs"/>
              </a:rPr>
              <a:t>Формирование осознанного отношения к безопасности у руководителей</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ru-RU" sz="1200" b="0" i="0" u="none" strike="noStrike" kern="1200" cap="none" spc="0" normalizeH="0" baseline="0" noProof="0" dirty="0">
              <a:ln>
                <a:noFill/>
              </a:ln>
              <a:solidFill>
                <a:srgbClr val="424242"/>
              </a:solidFill>
              <a:effectLst/>
              <a:uLnTx/>
              <a:uFillTx/>
              <a:latin typeface="Verdana" panose="020B0604030504040204"/>
              <a:ea typeface="+mn-ea"/>
              <a:cs typeface="+mn-cs"/>
            </a:endParaRPr>
          </a:p>
        </p:txBody>
      </p:sp>
      <p:sp>
        <p:nvSpPr>
          <p:cNvPr id="25" name="Прямоугольник 24"/>
          <p:cNvSpPr/>
          <p:nvPr/>
        </p:nvSpPr>
        <p:spPr>
          <a:xfrm>
            <a:off x="394980" y="2905006"/>
            <a:ext cx="3236422" cy="307777"/>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400" b="0" i="0" u="none" strike="noStrike" kern="1200" cap="none" spc="0" normalizeH="0" baseline="0" noProof="0" dirty="0">
                <a:ln>
                  <a:noFill/>
                </a:ln>
                <a:solidFill>
                  <a:srgbClr val="424242"/>
                </a:solidFill>
                <a:effectLst/>
                <a:uLnTx/>
                <a:uFillTx/>
                <a:latin typeface="Verdana" panose="020B0604030504040204"/>
                <a:ea typeface="+mn-ea"/>
                <a:cs typeface="+mn-cs"/>
              </a:rPr>
              <a:t>Р</a:t>
            </a:r>
            <a:r>
              <a:rPr kumimoji="0" lang="ru-RU" sz="1400" b="0" i="0" u="none" strike="noStrike" kern="1200" cap="none" spc="0" normalizeH="0" baseline="0" noProof="0" dirty="0" smtClean="0">
                <a:ln>
                  <a:noFill/>
                </a:ln>
                <a:solidFill>
                  <a:srgbClr val="424242"/>
                </a:solidFill>
                <a:effectLst/>
                <a:uLnTx/>
                <a:uFillTx/>
                <a:latin typeface="Verdana" panose="020B0604030504040204"/>
                <a:ea typeface="+mn-ea"/>
                <a:cs typeface="+mn-cs"/>
              </a:rPr>
              <a:t>асследование </a:t>
            </a:r>
            <a:r>
              <a:rPr kumimoji="0" lang="ru-RU" sz="1400" b="0" i="0" u="none" strike="noStrike" kern="1200" cap="none" spc="0" normalizeH="0" baseline="0" noProof="0" dirty="0">
                <a:ln>
                  <a:noFill/>
                </a:ln>
                <a:solidFill>
                  <a:srgbClr val="424242"/>
                </a:solidFill>
                <a:effectLst/>
                <a:uLnTx/>
                <a:uFillTx/>
                <a:latin typeface="Verdana" panose="020B0604030504040204"/>
                <a:ea typeface="+mn-ea"/>
                <a:cs typeface="+mn-cs"/>
              </a:rPr>
              <a:t>происшествий</a:t>
            </a:r>
            <a:endParaRPr kumimoji="0" lang="ru-RU" sz="3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Прямоугольник 25"/>
          <p:cNvSpPr/>
          <p:nvPr/>
        </p:nvSpPr>
        <p:spPr>
          <a:xfrm>
            <a:off x="394980" y="3340405"/>
            <a:ext cx="5119867" cy="523220"/>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400" b="0" i="0" u="none" strike="noStrike" kern="1200" cap="none" spc="0" normalizeH="0" baseline="0" noProof="0" dirty="0" smtClean="0">
                <a:ln>
                  <a:noFill/>
                </a:ln>
                <a:solidFill>
                  <a:srgbClr val="424242"/>
                </a:solidFill>
                <a:effectLst/>
                <a:uLnTx/>
                <a:uFillTx/>
                <a:latin typeface="Verdana" panose="020B0604030504040204"/>
                <a:ea typeface="+mn-ea"/>
                <a:cs typeface="+mn-cs"/>
              </a:rPr>
              <a:t>Эффективные инструменты управления безопасностью производства</a:t>
            </a:r>
            <a:endParaRPr kumimoji="0" lang="ru-RU" sz="3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Прямоугольник 27"/>
          <p:cNvSpPr/>
          <p:nvPr/>
        </p:nvSpPr>
        <p:spPr>
          <a:xfrm>
            <a:off x="279244" y="1417107"/>
            <a:ext cx="5558045" cy="4129677"/>
          </a:xfrm>
          <a:prstGeom prst="rect">
            <a:avLst/>
          </a:prstGeom>
          <a:noFill/>
          <a:ln w="9525" cap="flat" cmpd="sng" algn="ctr">
            <a:solidFill>
              <a:srgbClr val="424242"/>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0" cap="none" spc="0" normalizeH="0" baseline="0" noProof="0" dirty="0" err="1">
              <a:ln>
                <a:noFill/>
              </a:ln>
              <a:solidFill>
                <a:srgbClr val="424242"/>
              </a:solidFill>
              <a:effectLst/>
              <a:uLnTx/>
              <a:uFillTx/>
              <a:latin typeface="Arial" charset="0"/>
              <a:ea typeface="Arial" charset="0"/>
              <a:cs typeface="Arial" charset="0"/>
            </a:endParaRPr>
          </a:p>
        </p:txBody>
      </p:sp>
      <p:sp>
        <p:nvSpPr>
          <p:cNvPr id="29" name="Прямоугольник 28"/>
          <p:cNvSpPr/>
          <p:nvPr/>
        </p:nvSpPr>
        <p:spPr>
          <a:xfrm>
            <a:off x="726930" y="1456616"/>
            <a:ext cx="4602542"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srgbClr val="424242"/>
                </a:solidFill>
                <a:effectLst/>
                <a:uLnTx/>
                <a:uFillTx/>
                <a:latin typeface="Verdana" panose="020B0604030504040204"/>
                <a:ea typeface="+mn-ea"/>
                <a:cs typeface="+mn-cs"/>
              </a:rPr>
              <a:t>Тренинги руководителям и специалистам </a:t>
            </a:r>
          </a:p>
        </p:txBody>
      </p:sp>
      <p:sp>
        <p:nvSpPr>
          <p:cNvPr id="30" name="Прямоугольник 29"/>
          <p:cNvSpPr/>
          <p:nvPr/>
        </p:nvSpPr>
        <p:spPr>
          <a:xfrm>
            <a:off x="6711351" y="1372064"/>
            <a:ext cx="5050279" cy="4174720"/>
          </a:xfrm>
          <a:prstGeom prst="rect">
            <a:avLst/>
          </a:prstGeom>
          <a:noFill/>
          <a:ln w="9525" cap="flat" cmpd="sng" algn="ctr">
            <a:solidFill>
              <a:srgbClr val="424242"/>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0" cap="none" spc="0" normalizeH="0" baseline="0" noProof="0" dirty="0" err="1">
              <a:ln>
                <a:noFill/>
              </a:ln>
              <a:solidFill>
                <a:srgbClr val="424242"/>
              </a:solidFill>
              <a:effectLst/>
              <a:uLnTx/>
              <a:uFillTx/>
              <a:latin typeface="Arial" charset="0"/>
              <a:ea typeface="Arial" charset="0"/>
              <a:cs typeface="Arial" charset="0"/>
            </a:endParaRPr>
          </a:p>
        </p:txBody>
      </p:sp>
      <p:pic>
        <p:nvPicPr>
          <p:cNvPr id="31" name="Рисунок 30">
            <a:extLst>
              <a:ext uri="{FF2B5EF4-FFF2-40B4-BE49-F238E27FC236}">
                <a16:creationId xmlns:a16="http://schemas.microsoft.com/office/drawing/2014/main" id="{980EA75E-BE54-4CAC-A7BB-91F8A4BCB81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73981" y="1411261"/>
            <a:ext cx="473351" cy="473351"/>
          </a:xfrm>
          <a:prstGeom prst="rect">
            <a:avLst/>
          </a:prstGeom>
        </p:spPr>
      </p:pic>
      <p:sp>
        <p:nvSpPr>
          <p:cNvPr id="32" name="Прямоугольник 31"/>
          <p:cNvSpPr/>
          <p:nvPr/>
        </p:nvSpPr>
        <p:spPr>
          <a:xfrm>
            <a:off x="7588411" y="1431711"/>
            <a:ext cx="712054"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smtClean="0">
                <a:ln>
                  <a:noFill/>
                </a:ln>
                <a:solidFill>
                  <a:srgbClr val="424242"/>
                </a:solidFill>
                <a:effectLst/>
                <a:uLnTx/>
                <a:uFillTx/>
                <a:latin typeface="Verdana" panose="020B0604030504040204"/>
                <a:ea typeface="+mn-ea"/>
                <a:cs typeface="+mn-cs"/>
              </a:rPr>
              <a:t>Цели</a:t>
            </a:r>
            <a:endParaRPr kumimoji="0" lang="ru-RU"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35" name="Рисунок 34">
            <a:extLst>
              <a:ext uri="{FF2B5EF4-FFF2-40B4-BE49-F238E27FC236}">
                <a16:creationId xmlns:a16="http://schemas.microsoft.com/office/drawing/2014/main" id="{CD316458-8E6B-40C8-930D-D06133B83CC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4328" y="1466878"/>
            <a:ext cx="304884" cy="337146"/>
          </a:xfrm>
          <a:prstGeom prst="rect">
            <a:avLst/>
          </a:prstGeom>
        </p:spPr>
      </p:pic>
      <p:pic>
        <p:nvPicPr>
          <p:cNvPr id="3" name="Рисунок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6770" y="675107"/>
            <a:ext cx="379999" cy="403749"/>
          </a:xfrm>
          <a:prstGeom prst="rect">
            <a:avLst/>
          </a:prstGeom>
        </p:spPr>
      </p:pic>
      <p:sp>
        <p:nvSpPr>
          <p:cNvPr id="36" name="Прямоугольник 35"/>
          <p:cNvSpPr/>
          <p:nvPr/>
        </p:nvSpPr>
        <p:spPr>
          <a:xfrm>
            <a:off x="279246" y="667479"/>
            <a:ext cx="11482384" cy="398399"/>
          </a:xfrm>
          <a:prstGeom prst="rect">
            <a:avLst/>
          </a:prstGeom>
          <a:noFill/>
          <a:ln w="9525" cap="flat" cmpd="sng" algn="ctr">
            <a:solidFill>
              <a:srgbClr val="424242"/>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0" cap="none" spc="0" normalizeH="0" baseline="0" noProof="0" dirty="0" err="1">
              <a:ln>
                <a:noFill/>
              </a:ln>
              <a:solidFill>
                <a:srgbClr val="424242"/>
              </a:solidFill>
              <a:effectLst/>
              <a:uLnTx/>
              <a:uFillTx/>
              <a:latin typeface="Arial" charset="0"/>
              <a:ea typeface="Arial" charset="0"/>
              <a:cs typeface="Arial" charset="0"/>
            </a:endParaRPr>
          </a:p>
        </p:txBody>
      </p:sp>
      <p:sp>
        <p:nvSpPr>
          <p:cNvPr id="2" name="Прямоугольник 1"/>
          <p:cNvSpPr/>
          <p:nvPr/>
        </p:nvSpPr>
        <p:spPr>
          <a:xfrm>
            <a:off x="394980" y="2448971"/>
            <a:ext cx="4654608" cy="369332"/>
          </a:xfrm>
          <a:prstGeom prst="rect">
            <a:avLst/>
          </a:prstGeom>
        </p:spPr>
        <p:txBody>
          <a:bodyPr wrap="non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b="0" i="0" u="none" strike="noStrike" kern="1200" cap="none" spc="0" normalizeH="0" baseline="0" noProof="0" dirty="0" smtClean="0">
                <a:ln>
                  <a:noFill/>
                </a:ln>
                <a:solidFill>
                  <a:prstClr val="black">
                    <a:lumMod val="65000"/>
                    <a:lumOff val="35000"/>
                  </a:prstClr>
                </a:solidFill>
                <a:effectLst/>
                <a:uLnTx/>
                <a:uFillTx/>
                <a:latin typeface="Calibri" panose="020F0502020204030204" pitchFamily="34" charset="0"/>
                <a:ea typeface="+mn-ea"/>
                <a:cs typeface="Times New Roman" panose="02020603050405020304" pitchFamily="18" charset="0"/>
              </a:rPr>
              <a:t>Организация работ повышенной опасности</a:t>
            </a:r>
            <a:endParaRPr kumimoji="0" lang="ru-RU" sz="3200" b="0" i="0" u="none" strike="noStrike" kern="1200" cap="none" spc="0" normalizeH="0" baseline="0" noProof="0" dirty="0">
              <a:ln>
                <a:noFill/>
              </a:ln>
              <a:solidFill>
                <a:prstClr val="black">
                  <a:lumMod val="65000"/>
                  <a:lumOff val="35000"/>
                </a:prstClr>
              </a:solidFill>
              <a:effectLst/>
              <a:uLnTx/>
              <a:uFillTx/>
              <a:latin typeface="Calibri"/>
              <a:ea typeface="+mn-ea"/>
              <a:cs typeface="+mn-cs"/>
            </a:endParaRPr>
          </a:p>
        </p:txBody>
      </p:sp>
      <p:sp>
        <p:nvSpPr>
          <p:cNvPr id="6" name="Прямоугольник 5"/>
          <p:cNvSpPr/>
          <p:nvPr/>
        </p:nvSpPr>
        <p:spPr>
          <a:xfrm>
            <a:off x="406770" y="3911028"/>
            <a:ext cx="4043094" cy="307777"/>
          </a:xfrm>
          <a:prstGeom prst="rect">
            <a:avLst/>
          </a:prstGeom>
        </p:spPr>
        <p:txBody>
          <a:bodyPr wrap="non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400" b="0" i="0" u="none" strike="noStrike" kern="1200" cap="none" spc="0" normalizeH="0" baseline="0" noProof="0" dirty="0">
                <a:ln>
                  <a:noFill/>
                </a:ln>
                <a:solidFill>
                  <a:srgbClr val="424242"/>
                </a:solidFill>
                <a:effectLst/>
                <a:uLnTx/>
                <a:uFillTx/>
                <a:latin typeface="Verdana" panose="020B0604030504040204"/>
                <a:ea typeface="+mn-ea"/>
                <a:cs typeface="+mn-cs"/>
              </a:rPr>
              <a:t>Осознанное отношение к безопасности</a:t>
            </a:r>
            <a:endParaRPr kumimoji="0" lang="ru-RU" sz="32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20" name="Прямая соединительная линия 19"/>
          <p:cNvCxnSpPr/>
          <p:nvPr/>
        </p:nvCxnSpPr>
        <p:spPr>
          <a:xfrm>
            <a:off x="5491599" y="871464"/>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32"/>
          <p:cNvCxnSpPr/>
          <p:nvPr/>
        </p:nvCxnSpPr>
        <p:spPr>
          <a:xfrm>
            <a:off x="5514847" y="872836"/>
            <a:ext cx="322442" cy="0"/>
          </a:xfrm>
          <a:prstGeom prst="line">
            <a:avLst/>
          </a:prstGeom>
          <a:ln w="38100">
            <a:solidFill>
              <a:schemeClr val="tx1"/>
            </a:solidFill>
          </a:ln>
        </p:spPr>
        <p:style>
          <a:lnRef idx="1">
            <a:schemeClr val="dk1"/>
          </a:lnRef>
          <a:fillRef idx="0">
            <a:schemeClr val="dk1"/>
          </a:fillRef>
          <a:effectRef idx="0">
            <a:schemeClr val="dk1"/>
          </a:effectRef>
          <a:fontRef idx="minor">
            <a:schemeClr val="tx1"/>
          </a:fontRef>
        </p:style>
      </p:cxnSp>
      <p:sp>
        <p:nvSpPr>
          <p:cNvPr id="34" name="Прямоугольник 33"/>
          <p:cNvSpPr/>
          <p:nvPr/>
        </p:nvSpPr>
        <p:spPr>
          <a:xfrm>
            <a:off x="406770" y="4319660"/>
            <a:ext cx="2771913" cy="307777"/>
          </a:xfrm>
          <a:prstGeom prst="rect">
            <a:avLst/>
          </a:prstGeom>
        </p:spPr>
        <p:txBody>
          <a:bodyPr wrap="non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400" b="0" i="0" u="none" strike="noStrike" kern="1200" cap="none" spc="0" normalizeH="0" baseline="0" noProof="0" dirty="0" smtClean="0">
                <a:ln>
                  <a:noFill/>
                </a:ln>
                <a:solidFill>
                  <a:srgbClr val="424242"/>
                </a:solidFill>
                <a:effectLst/>
                <a:uLnTx/>
                <a:uFillTx/>
                <a:latin typeface="Verdana" panose="020B0604030504040204"/>
                <a:ea typeface="+mn-ea"/>
                <a:cs typeface="+mn-cs"/>
              </a:rPr>
              <a:t>Оказание первой помощи</a:t>
            </a:r>
            <a:endParaRPr kumimoji="0" lang="ru-RU" sz="3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2213353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3"/>
          <p:cNvSpPr/>
          <p:nvPr/>
        </p:nvSpPr>
        <p:spPr>
          <a:xfrm>
            <a:off x="1058073" y="1935949"/>
            <a:ext cx="2327471" cy="483209"/>
          </a:xfrm>
          <a:prstGeom prst="rect">
            <a:avLst/>
          </a:prstGeom>
        </p:spPr>
        <p:txBody>
          <a:bodyPr wrap="square">
            <a:spAutoFit/>
          </a:bodyPr>
          <a:lstStyle/>
          <a:p>
            <a:pPr marL="0" marR="0" lvl="0" indent="0" algn="ctr" defTabSz="1219084" rtl="0" eaLnBrk="1" fontAlgn="auto" latinLnBrk="0" hangingPunct="1">
              <a:lnSpc>
                <a:spcPct val="100000"/>
              </a:lnSpc>
              <a:spcBef>
                <a:spcPts val="0"/>
              </a:spcBef>
              <a:spcAft>
                <a:spcPts val="0"/>
              </a:spcAft>
              <a:buClrTx/>
              <a:buSzTx/>
              <a:buFontTx/>
              <a:buNone/>
              <a:tabLst/>
              <a:defRPr/>
            </a:pPr>
            <a:r>
              <a:rPr kumimoji="0" lang="ru-RU" sz="1270" b="1" i="0" u="none" strike="noStrike" kern="1200" cap="none" spc="0" normalizeH="0" baseline="0" noProof="0" dirty="0">
                <a:ln>
                  <a:noFill/>
                </a:ln>
                <a:solidFill>
                  <a:srgbClr val="424242"/>
                </a:solidFill>
                <a:effectLst/>
                <a:uLnTx/>
                <a:uFillTx/>
                <a:latin typeface="Verdana" panose="020B0604030504040204"/>
                <a:ea typeface="+mn-ea"/>
                <a:cs typeface="+mn-cs"/>
              </a:rPr>
              <a:t>Заявка </a:t>
            </a:r>
            <a:r>
              <a:rPr kumimoji="0" lang="ru-RU" sz="1270" b="1" i="0" u="none" strike="noStrike" kern="1200" cap="none" spc="0" normalizeH="0" baseline="0" noProof="0" dirty="0">
                <a:ln>
                  <a:noFill/>
                </a:ln>
                <a:solidFill>
                  <a:srgbClr val="C00000"/>
                </a:solidFill>
                <a:effectLst/>
                <a:uLnTx/>
                <a:uFillTx/>
                <a:latin typeface="Verdana" panose="020B0604030504040204"/>
                <a:ea typeface="+mn-ea"/>
                <a:cs typeface="+mn-cs"/>
              </a:rPr>
              <a:t>на участие </a:t>
            </a:r>
            <a:r>
              <a:rPr kumimoji="0" lang="ru-RU" sz="1270" b="1" i="0" u="none" strike="noStrike" kern="1200" cap="none" spc="0" normalizeH="0" baseline="0" noProof="0" dirty="0">
                <a:ln>
                  <a:noFill/>
                </a:ln>
                <a:solidFill>
                  <a:srgbClr val="424242"/>
                </a:solidFill>
                <a:effectLst/>
                <a:uLnTx/>
                <a:uFillTx/>
                <a:latin typeface="Verdana" panose="020B0604030504040204"/>
                <a:ea typeface="+mn-ea"/>
                <a:cs typeface="+mn-cs"/>
              </a:rPr>
              <a:t>в тренинге</a:t>
            </a:r>
          </a:p>
        </p:txBody>
      </p:sp>
      <p:sp>
        <p:nvSpPr>
          <p:cNvPr id="5" name="Прямоугольник 4"/>
          <p:cNvSpPr/>
          <p:nvPr/>
        </p:nvSpPr>
        <p:spPr>
          <a:xfrm>
            <a:off x="1143600" y="1903475"/>
            <a:ext cx="2141688" cy="1722256"/>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84" rtl="0" eaLnBrk="1" fontAlgn="auto" latinLnBrk="0" hangingPunct="1">
              <a:lnSpc>
                <a:spcPct val="100000"/>
              </a:lnSpc>
              <a:spcBef>
                <a:spcPts val="0"/>
              </a:spcBef>
              <a:spcAft>
                <a:spcPts val="0"/>
              </a:spcAft>
              <a:buClrTx/>
              <a:buSzTx/>
              <a:buFontTx/>
              <a:buNone/>
              <a:tabLst/>
              <a:defRPr/>
            </a:pPr>
            <a:endParaRPr kumimoji="0" lang="ru-RU" sz="2434" b="0" i="0" u="none" strike="noStrike" kern="1200" cap="none" spc="0" normalizeH="0" baseline="0" noProof="0">
              <a:ln>
                <a:noFill/>
              </a:ln>
              <a:solidFill>
                <a:prstClr val="white"/>
              </a:solidFill>
              <a:effectLst/>
              <a:uLnTx/>
              <a:uFillTx/>
              <a:latin typeface="Calibri"/>
              <a:ea typeface="+mn-ea"/>
              <a:cs typeface="+mn-cs"/>
            </a:endParaRPr>
          </a:p>
        </p:txBody>
      </p:sp>
      <p:sp>
        <p:nvSpPr>
          <p:cNvPr id="7" name="Прямоугольник 6"/>
          <p:cNvSpPr/>
          <p:nvPr/>
        </p:nvSpPr>
        <p:spPr>
          <a:xfrm>
            <a:off x="4839567" y="1997649"/>
            <a:ext cx="2253948" cy="483209"/>
          </a:xfrm>
          <a:prstGeom prst="rect">
            <a:avLst/>
          </a:prstGeom>
        </p:spPr>
        <p:txBody>
          <a:bodyPr wrap="square">
            <a:spAutoFit/>
          </a:bodyPr>
          <a:lstStyle/>
          <a:p>
            <a:pPr marL="0" marR="0" lvl="0" indent="0" algn="ctr" defTabSz="1219084" rtl="0" eaLnBrk="1" fontAlgn="auto" latinLnBrk="0" hangingPunct="1">
              <a:lnSpc>
                <a:spcPct val="100000"/>
              </a:lnSpc>
              <a:spcBef>
                <a:spcPts val="0"/>
              </a:spcBef>
              <a:spcAft>
                <a:spcPts val="0"/>
              </a:spcAft>
              <a:buClrTx/>
              <a:buSzTx/>
              <a:buFontTx/>
              <a:buNone/>
              <a:tabLst/>
              <a:defRPr/>
            </a:pPr>
            <a:r>
              <a:rPr kumimoji="0" lang="ru-RU" sz="1270" b="1" i="0" u="none" strike="noStrike" kern="1200" cap="none" spc="0" normalizeH="0" baseline="0" noProof="0" dirty="0">
                <a:ln>
                  <a:noFill/>
                </a:ln>
                <a:solidFill>
                  <a:srgbClr val="424242"/>
                </a:solidFill>
                <a:effectLst/>
                <a:uLnTx/>
                <a:uFillTx/>
                <a:latin typeface="Verdana" panose="020B0604030504040204"/>
                <a:ea typeface="+mn-ea"/>
                <a:cs typeface="+mn-cs"/>
              </a:rPr>
              <a:t>Согласование </a:t>
            </a:r>
            <a:r>
              <a:rPr kumimoji="0" lang="ru-RU" sz="1270" b="1" i="0" u="none" strike="noStrike" kern="1200" cap="none" spc="0" normalizeH="0" baseline="0" noProof="0" dirty="0">
                <a:ln>
                  <a:noFill/>
                </a:ln>
                <a:solidFill>
                  <a:srgbClr val="C00000"/>
                </a:solidFill>
                <a:effectLst/>
                <a:uLnTx/>
                <a:uFillTx/>
                <a:latin typeface="Verdana" panose="020B0604030504040204"/>
                <a:ea typeface="+mn-ea"/>
                <a:cs typeface="+mn-cs"/>
              </a:rPr>
              <a:t>даты, время</a:t>
            </a:r>
          </a:p>
        </p:txBody>
      </p:sp>
      <p:sp>
        <p:nvSpPr>
          <p:cNvPr id="8" name="Прямоугольник 7"/>
          <p:cNvSpPr/>
          <p:nvPr/>
        </p:nvSpPr>
        <p:spPr>
          <a:xfrm>
            <a:off x="8903772" y="1958852"/>
            <a:ext cx="954107" cy="287771"/>
          </a:xfrm>
          <a:prstGeom prst="rect">
            <a:avLst/>
          </a:prstGeom>
        </p:spPr>
        <p:txBody>
          <a:bodyPr wrap="none">
            <a:spAutoFit/>
          </a:bodyPr>
          <a:lstStyle/>
          <a:p>
            <a:pPr marL="0" marR="0" lvl="0" indent="0" algn="ctr" defTabSz="1219084" rtl="0" eaLnBrk="1" fontAlgn="auto" latinLnBrk="0" hangingPunct="1">
              <a:lnSpc>
                <a:spcPct val="100000"/>
              </a:lnSpc>
              <a:spcBef>
                <a:spcPts val="0"/>
              </a:spcBef>
              <a:spcAft>
                <a:spcPts val="0"/>
              </a:spcAft>
              <a:buClrTx/>
              <a:buSzTx/>
              <a:buFontTx/>
              <a:buNone/>
              <a:tabLst/>
              <a:defRPr/>
            </a:pPr>
            <a:r>
              <a:rPr kumimoji="0" lang="ru-RU" sz="1270" b="1" i="0" u="none" strike="noStrike" kern="1200" cap="none" spc="0" normalizeH="0" baseline="0" noProof="0" dirty="0">
                <a:ln>
                  <a:noFill/>
                </a:ln>
                <a:solidFill>
                  <a:srgbClr val="424242"/>
                </a:solidFill>
                <a:effectLst/>
                <a:uLnTx/>
                <a:uFillTx/>
                <a:latin typeface="Verdana" panose="020B0604030504040204"/>
                <a:ea typeface="+mn-ea"/>
                <a:cs typeface="+mn-cs"/>
              </a:rPr>
              <a:t>Тренинг</a:t>
            </a:r>
          </a:p>
        </p:txBody>
      </p:sp>
      <p:sp>
        <p:nvSpPr>
          <p:cNvPr id="9" name="Прямоугольник 8"/>
          <p:cNvSpPr/>
          <p:nvPr/>
        </p:nvSpPr>
        <p:spPr>
          <a:xfrm>
            <a:off x="8431916" y="1927785"/>
            <a:ext cx="1986808" cy="1695352"/>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84" rtl="0" eaLnBrk="1" fontAlgn="auto" latinLnBrk="0" hangingPunct="1">
              <a:lnSpc>
                <a:spcPct val="100000"/>
              </a:lnSpc>
              <a:spcBef>
                <a:spcPts val="0"/>
              </a:spcBef>
              <a:spcAft>
                <a:spcPts val="0"/>
              </a:spcAft>
              <a:buClrTx/>
              <a:buSzTx/>
              <a:buFontTx/>
              <a:buNone/>
              <a:tabLst/>
              <a:defRPr/>
            </a:pPr>
            <a:endParaRPr kumimoji="0" lang="ru-RU" sz="2434" b="0" i="0" u="none" strike="noStrike" kern="1200" cap="none" spc="0" normalizeH="0" baseline="0" noProof="0">
              <a:ln>
                <a:noFill/>
              </a:ln>
              <a:solidFill>
                <a:prstClr val="white"/>
              </a:solidFill>
              <a:effectLst/>
              <a:uLnTx/>
              <a:uFillTx/>
              <a:latin typeface="Calibri"/>
              <a:ea typeface="+mn-ea"/>
              <a:cs typeface="+mn-cs"/>
            </a:endParaRPr>
          </a:p>
        </p:txBody>
      </p:sp>
      <p:pic>
        <p:nvPicPr>
          <p:cNvPr id="10" name="Рисунок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16790" y="2528225"/>
            <a:ext cx="1094912" cy="1094912"/>
          </a:xfrm>
          <a:prstGeom prst="rect">
            <a:avLst/>
          </a:prstGeom>
        </p:spPr>
      </p:pic>
      <p:pic>
        <p:nvPicPr>
          <p:cNvPr id="11" name="Рисунок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48364" y="2612804"/>
            <a:ext cx="654461" cy="866017"/>
          </a:xfrm>
          <a:prstGeom prst="rect">
            <a:avLst/>
          </a:prstGeom>
        </p:spPr>
      </p:pic>
      <p:pic>
        <p:nvPicPr>
          <p:cNvPr id="12" name="Рисунок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36325" y="2450047"/>
            <a:ext cx="1194621" cy="953566"/>
          </a:xfrm>
          <a:prstGeom prst="rect">
            <a:avLst/>
          </a:prstGeom>
        </p:spPr>
      </p:pic>
      <p:sp>
        <p:nvSpPr>
          <p:cNvPr id="13" name="Стрелка вниз 12"/>
          <p:cNvSpPr/>
          <p:nvPr/>
        </p:nvSpPr>
        <p:spPr>
          <a:xfrm rot="16200000">
            <a:off x="3950576" y="2384157"/>
            <a:ext cx="318505" cy="506589"/>
          </a:xfrm>
          <a:prstGeom prst="downArrow">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84" rtl="0" eaLnBrk="1" fontAlgn="auto" latinLnBrk="0" hangingPunct="1">
              <a:lnSpc>
                <a:spcPct val="100000"/>
              </a:lnSpc>
              <a:spcBef>
                <a:spcPts val="0"/>
              </a:spcBef>
              <a:spcAft>
                <a:spcPts val="0"/>
              </a:spcAft>
              <a:buClrTx/>
              <a:buSzTx/>
              <a:buFontTx/>
              <a:buNone/>
              <a:tabLst/>
              <a:defRPr/>
            </a:pPr>
            <a:endParaRPr kumimoji="0" lang="ru-RU" sz="2434" b="0" i="0" u="none" strike="noStrike" kern="1200" cap="none" spc="0" normalizeH="0" baseline="0" noProof="0">
              <a:ln>
                <a:noFill/>
              </a:ln>
              <a:solidFill>
                <a:prstClr val="white"/>
              </a:solidFill>
              <a:effectLst/>
              <a:uLnTx/>
              <a:uFillTx/>
              <a:latin typeface="Calibri"/>
              <a:ea typeface="+mn-ea"/>
              <a:cs typeface="+mn-cs"/>
            </a:endParaRPr>
          </a:p>
        </p:txBody>
      </p:sp>
      <p:sp>
        <p:nvSpPr>
          <p:cNvPr id="14" name="Стрелка вниз 13"/>
          <p:cNvSpPr/>
          <p:nvPr/>
        </p:nvSpPr>
        <p:spPr>
          <a:xfrm rot="16200000">
            <a:off x="7601711" y="2397075"/>
            <a:ext cx="292671" cy="506589"/>
          </a:xfrm>
          <a:prstGeom prst="downArrow">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84" rtl="0" eaLnBrk="1" fontAlgn="auto" latinLnBrk="0" hangingPunct="1">
              <a:lnSpc>
                <a:spcPct val="100000"/>
              </a:lnSpc>
              <a:spcBef>
                <a:spcPts val="0"/>
              </a:spcBef>
              <a:spcAft>
                <a:spcPts val="0"/>
              </a:spcAft>
              <a:buClrTx/>
              <a:buSzTx/>
              <a:buFontTx/>
              <a:buNone/>
              <a:tabLst/>
              <a:defRPr/>
            </a:pPr>
            <a:endParaRPr kumimoji="0" lang="ru-RU" sz="2434" b="0" i="0" u="none" strike="noStrike" kern="1200" cap="none" spc="0" normalizeH="0" baseline="0" noProof="0">
              <a:ln>
                <a:noFill/>
              </a:ln>
              <a:solidFill>
                <a:prstClr val="white"/>
              </a:solidFill>
              <a:effectLst/>
              <a:uLnTx/>
              <a:uFillTx/>
              <a:latin typeface="Calibri"/>
              <a:ea typeface="+mn-ea"/>
              <a:cs typeface="+mn-cs"/>
            </a:endParaRPr>
          </a:p>
        </p:txBody>
      </p:sp>
      <p:cxnSp>
        <p:nvCxnSpPr>
          <p:cNvPr id="15" name="Прямая соединительная линия 14"/>
          <p:cNvCxnSpPr/>
          <p:nvPr/>
        </p:nvCxnSpPr>
        <p:spPr>
          <a:xfrm>
            <a:off x="108769" y="305016"/>
            <a:ext cx="11886380"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 name="Текст 6">
            <a:extLst>
              <a:ext uri="{FF2B5EF4-FFF2-40B4-BE49-F238E27FC236}">
                <a16:creationId xmlns:a16="http://schemas.microsoft.com/office/drawing/2014/main" id="{8E6B8E05-B925-406A-B527-E6B8316ACA98}"/>
              </a:ext>
            </a:extLst>
          </p:cNvPr>
          <p:cNvSpPr txBox="1">
            <a:spLocks/>
          </p:cNvSpPr>
          <p:nvPr/>
        </p:nvSpPr>
        <p:spPr>
          <a:xfrm>
            <a:off x="10317" y="345214"/>
            <a:ext cx="2590254" cy="288081"/>
          </a:xfrm>
          <a:prstGeom prst="rect">
            <a:avLst/>
          </a:prstGeom>
        </p:spPr>
        <p:txBody>
          <a:bodyPr vert="horz" lIns="121913" tIns="60956" rIns="121913" bIns="60956" rtlCol="0">
            <a:normAutofit lnSpcReduction="10000"/>
          </a:bodyPr>
          <a:lstStyle>
            <a:lvl1pPr marL="0" indent="0" algn="l" defTabSz="1152144" rtl="0" eaLnBrk="1" latinLnBrk="0" hangingPunct="1">
              <a:spcBef>
                <a:spcPct val="20000"/>
              </a:spcBef>
              <a:buFontTx/>
              <a:buNone/>
              <a:defRPr sz="1100" b="0" i="0" kern="1200">
                <a:solidFill>
                  <a:srgbClr val="7F8183"/>
                </a:solidFill>
                <a:latin typeface="Verdana" panose="020B0604030504040204" pitchFamily="34" charset="0"/>
                <a:ea typeface="Verdana" panose="020B0604030504040204" pitchFamily="34" charset="0"/>
                <a:cs typeface="Verdana" panose="020B0604030504040204" pitchFamily="34" charset="0"/>
              </a:defRPr>
            </a:lvl1pPr>
            <a:lvl2pPr marL="936117" indent="-360045" algn="l" defTabSz="1152144" rtl="0" eaLnBrk="1" latinLnBrk="0" hangingPunct="1">
              <a:spcBef>
                <a:spcPct val="20000"/>
              </a:spcBef>
              <a:buFont typeface="Arial" pitchFamily="34" charset="0"/>
              <a:buChar char="–"/>
              <a:defRPr sz="3500" kern="1200">
                <a:solidFill>
                  <a:schemeClr val="tx1"/>
                </a:solidFill>
                <a:latin typeface="+mn-lt"/>
                <a:ea typeface="+mn-ea"/>
                <a:cs typeface="+mn-cs"/>
              </a:defRPr>
            </a:lvl2pPr>
            <a:lvl3pPr marL="1440180" indent="-288036" algn="l" defTabSz="1152144" rtl="0" eaLnBrk="1" latinLnBrk="0" hangingPunct="1">
              <a:spcBef>
                <a:spcPct val="20000"/>
              </a:spcBef>
              <a:buFont typeface="Arial" pitchFamily="34" charset="0"/>
              <a:buChar char="•"/>
              <a:defRPr sz="3000" kern="1200">
                <a:solidFill>
                  <a:schemeClr val="tx1"/>
                </a:solidFill>
                <a:latin typeface="+mn-lt"/>
                <a:ea typeface="+mn-ea"/>
                <a:cs typeface="+mn-cs"/>
              </a:defRPr>
            </a:lvl3pPr>
            <a:lvl4pPr marL="201625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4pPr>
            <a:lvl5pPr marL="2592324"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5pPr>
            <a:lvl6pPr marL="3168396"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744468"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320540"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896612" indent="-288036" algn="l" defTabSz="1152144"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pPr marL="0" marR="0" lvl="0" indent="0" algn="l" defTabSz="1219084" rtl="0" eaLnBrk="1" fontAlgn="auto" latinLnBrk="0" hangingPunct="1">
              <a:lnSpc>
                <a:spcPct val="100000"/>
              </a:lnSpc>
              <a:spcBef>
                <a:spcPct val="20000"/>
              </a:spcBef>
              <a:spcAft>
                <a:spcPts val="0"/>
              </a:spcAft>
              <a:buClrTx/>
              <a:buSzTx/>
              <a:buFontTx/>
              <a:buNone/>
              <a:tabLst/>
              <a:defRPr/>
            </a:pPr>
            <a:r>
              <a:rPr kumimoji="0" lang="ru-RU" sz="1164" b="0" i="0" u="none" strike="noStrike" kern="1200" cap="none" spc="0" normalizeH="0" baseline="0" noProof="0" dirty="0">
                <a:ln>
                  <a:noFill/>
                </a:ln>
                <a:solidFill>
                  <a:srgbClr val="7F8183"/>
                </a:solidFill>
                <a:effectLst/>
                <a:uLnTx/>
                <a:uFillTx/>
                <a:latin typeface="Verdana" panose="020B0604030504040204" pitchFamily="34" charset="0"/>
                <a:ea typeface="Verdana" panose="020B0604030504040204" pitchFamily="34" charset="0"/>
              </a:rPr>
              <a:t>Обучение/Тренинги</a:t>
            </a:r>
          </a:p>
        </p:txBody>
      </p:sp>
      <p:sp>
        <p:nvSpPr>
          <p:cNvPr id="21" name="Прямоугольник 20"/>
          <p:cNvSpPr/>
          <p:nvPr/>
        </p:nvSpPr>
        <p:spPr>
          <a:xfrm>
            <a:off x="4330931" y="690431"/>
            <a:ext cx="6101541" cy="32021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81"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Ра</a:t>
            </a:r>
            <a:r>
              <a:rPr kumimoji="0" lang="ru-RU" sz="14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зви</a:t>
            </a:r>
            <a:r>
              <a:rPr kumimoji="0" lang="ru-RU" sz="1481"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mn-cs"/>
              </a:rPr>
              <a:t>тие         </a:t>
            </a:r>
            <a:r>
              <a:rPr kumimoji="0" lang="ru-RU" sz="1400" b="1" i="0" u="none" strike="noStrike" kern="1200" cap="none" spc="0" normalizeH="0" baseline="0" noProof="0" dirty="0" smtClean="0">
                <a:ln>
                  <a:noFill/>
                </a:ln>
                <a:solidFill>
                  <a:srgbClr val="C00000"/>
                </a:solidFill>
                <a:effectLst/>
                <a:uLnTx/>
                <a:uFillTx/>
                <a:latin typeface="Verdana" panose="020B0604030504040204" pitchFamily="34" charset="0"/>
                <a:ea typeface="Verdana" panose="020B0604030504040204" pitchFamily="34" charset="0"/>
                <a:cs typeface="+mn-cs"/>
              </a:rPr>
              <a:t>это взаимно</a:t>
            </a:r>
            <a:endParaRPr kumimoji="0" lang="ru-RU" sz="1400" b="0" i="0" u="none" strike="noStrike" kern="1200" cap="none" spc="0" normalizeH="0" baseline="0" noProof="0" dirty="0">
              <a:ln>
                <a:noFill/>
              </a:ln>
              <a:solidFill>
                <a:srgbClr val="C00000"/>
              </a:solidFill>
              <a:effectLst/>
              <a:uLnTx/>
              <a:uFillTx/>
              <a:latin typeface="Calibri"/>
              <a:ea typeface="+mn-ea"/>
              <a:cs typeface="+mn-cs"/>
            </a:endParaRPr>
          </a:p>
        </p:txBody>
      </p:sp>
      <p:sp>
        <p:nvSpPr>
          <p:cNvPr id="22" name="Прямоугольник 21"/>
          <p:cNvSpPr/>
          <p:nvPr/>
        </p:nvSpPr>
        <p:spPr>
          <a:xfrm>
            <a:off x="302331" y="1336189"/>
            <a:ext cx="10812471"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srgbClr val="424242"/>
                </a:solidFill>
                <a:effectLst/>
                <a:uLnTx/>
                <a:uFillTx/>
                <a:latin typeface="Verdana" panose="020B0604030504040204"/>
                <a:ea typeface="+mn-ea"/>
                <a:cs typeface="+mn-cs"/>
              </a:rPr>
              <a:t>Главный показатель безопасности в организации </a:t>
            </a:r>
            <a:r>
              <a:rPr kumimoji="0" lang="ru-RU" sz="1400" b="0" i="0" u="none" strike="noStrike" kern="1200" cap="none" spc="0" normalizeH="0" baseline="0" noProof="0" dirty="0">
                <a:ln>
                  <a:noFill/>
                </a:ln>
                <a:solidFill>
                  <a:srgbClr val="424242"/>
                </a:solidFill>
                <a:effectLst/>
                <a:uLnTx/>
                <a:uFillTx/>
                <a:latin typeface="Verdana" panose="020B0604030504040204"/>
                <a:ea typeface="+mn-ea"/>
                <a:cs typeface="+mn-cs"/>
              </a:rPr>
              <a:t>– </a:t>
            </a:r>
            <a:r>
              <a:rPr kumimoji="0" lang="ru-RU" sz="1400" b="1" i="0" u="none" strike="noStrike" kern="1200" cap="none" spc="0" normalizeH="0" baseline="0" noProof="0" dirty="0">
                <a:ln>
                  <a:noFill/>
                </a:ln>
                <a:solidFill>
                  <a:srgbClr val="C00000"/>
                </a:solidFill>
                <a:effectLst/>
                <a:uLnTx/>
                <a:uFillTx/>
                <a:latin typeface="Verdana" panose="020B0604030504040204"/>
                <a:ea typeface="+mn-ea"/>
                <a:cs typeface="+mn-cs"/>
              </a:rPr>
              <a:t>приверженность первого лица!</a:t>
            </a:r>
          </a:p>
        </p:txBody>
      </p:sp>
      <p:pic>
        <p:nvPicPr>
          <p:cNvPr id="3" name="Рисунок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06770" y="675107"/>
            <a:ext cx="379999" cy="403749"/>
          </a:xfrm>
          <a:prstGeom prst="rect">
            <a:avLst/>
          </a:prstGeom>
        </p:spPr>
      </p:pic>
      <p:sp>
        <p:nvSpPr>
          <p:cNvPr id="36" name="Прямоугольник 35"/>
          <p:cNvSpPr/>
          <p:nvPr/>
        </p:nvSpPr>
        <p:spPr>
          <a:xfrm>
            <a:off x="279246" y="667479"/>
            <a:ext cx="11482384" cy="398399"/>
          </a:xfrm>
          <a:prstGeom prst="rect">
            <a:avLst/>
          </a:prstGeom>
          <a:noFill/>
          <a:ln w="9525" cap="flat" cmpd="sng" algn="ctr">
            <a:solidFill>
              <a:srgbClr val="424242"/>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0" cap="none" spc="0" normalizeH="0" baseline="0" noProof="0" dirty="0" err="1">
              <a:ln>
                <a:noFill/>
              </a:ln>
              <a:solidFill>
                <a:srgbClr val="424242"/>
              </a:solidFill>
              <a:effectLst/>
              <a:uLnTx/>
              <a:uFillTx/>
              <a:latin typeface="Arial" charset="0"/>
              <a:ea typeface="Arial" charset="0"/>
              <a:cs typeface="Arial" charset="0"/>
            </a:endParaRPr>
          </a:p>
        </p:txBody>
      </p:sp>
      <p:sp>
        <p:nvSpPr>
          <p:cNvPr id="37" name="Прямоугольник 36"/>
          <p:cNvSpPr/>
          <p:nvPr/>
        </p:nvSpPr>
        <p:spPr>
          <a:xfrm>
            <a:off x="4839567" y="1907857"/>
            <a:ext cx="2141688" cy="171528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084" rtl="0" eaLnBrk="1" fontAlgn="auto" latinLnBrk="0" hangingPunct="1">
              <a:lnSpc>
                <a:spcPct val="100000"/>
              </a:lnSpc>
              <a:spcBef>
                <a:spcPts val="0"/>
              </a:spcBef>
              <a:spcAft>
                <a:spcPts val="0"/>
              </a:spcAft>
              <a:buClrTx/>
              <a:buSzTx/>
              <a:buFontTx/>
              <a:buNone/>
              <a:tabLst/>
              <a:defRPr/>
            </a:pPr>
            <a:endParaRPr kumimoji="0" lang="ru-RU" sz="2434" b="0" i="0" u="none" strike="noStrike" kern="1200" cap="none" spc="0" normalizeH="0" baseline="0" noProof="0">
              <a:ln>
                <a:noFill/>
              </a:ln>
              <a:solidFill>
                <a:prstClr val="white"/>
              </a:solidFill>
              <a:effectLst/>
              <a:uLnTx/>
              <a:uFillTx/>
              <a:latin typeface="Calibri"/>
              <a:ea typeface="+mn-ea"/>
              <a:cs typeface="+mn-cs"/>
            </a:endParaRPr>
          </a:p>
        </p:txBody>
      </p:sp>
      <p:cxnSp>
        <p:nvCxnSpPr>
          <p:cNvPr id="20" name="Прямая соединительная линия 19"/>
          <p:cNvCxnSpPr/>
          <p:nvPr/>
        </p:nvCxnSpPr>
        <p:spPr>
          <a:xfrm>
            <a:off x="5491599" y="871464"/>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32"/>
          <p:cNvCxnSpPr/>
          <p:nvPr/>
        </p:nvCxnSpPr>
        <p:spPr>
          <a:xfrm>
            <a:off x="5514847" y="872836"/>
            <a:ext cx="322442" cy="0"/>
          </a:xfrm>
          <a:prstGeom prst="line">
            <a:avLst/>
          </a:prstGeom>
          <a:ln w="38100">
            <a:solidFill>
              <a:schemeClr val="tx1"/>
            </a:solidFill>
          </a:ln>
        </p:spPr>
        <p:style>
          <a:lnRef idx="1">
            <a:schemeClr val="dk1"/>
          </a:lnRef>
          <a:fillRef idx="0">
            <a:schemeClr val="dk1"/>
          </a:fillRef>
          <a:effectRef idx="0">
            <a:schemeClr val="dk1"/>
          </a:effectRef>
          <a:fontRef idx="minor">
            <a:schemeClr val="tx1"/>
          </a:fontRef>
        </p:style>
      </p:cxnSp>
      <p:sp>
        <p:nvSpPr>
          <p:cNvPr id="40" name="Прямоугольник 39"/>
          <p:cNvSpPr/>
          <p:nvPr/>
        </p:nvSpPr>
        <p:spPr>
          <a:xfrm>
            <a:off x="3176664" y="3906956"/>
            <a:ext cx="642198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srgbClr val="424242"/>
                </a:solidFill>
                <a:effectLst/>
                <a:uLnTx/>
                <a:uFillTx/>
                <a:latin typeface="Verdana" panose="020B0604030504040204"/>
                <a:ea typeface="+mn-ea"/>
                <a:cs typeface="+mn-cs"/>
              </a:rPr>
              <a:t>По вопросам организации тренинга обращаться в </a:t>
            </a:r>
            <a:r>
              <a:rPr kumimoji="0" lang="ru-RU" sz="1200" b="1" i="0" u="none" strike="noStrike" kern="1200" cap="none" spc="0" normalizeH="0" baseline="0" noProof="0" dirty="0" err="1" smtClean="0">
                <a:ln>
                  <a:noFill/>
                </a:ln>
                <a:solidFill>
                  <a:srgbClr val="424242"/>
                </a:solidFill>
                <a:effectLst/>
                <a:uLnTx/>
                <a:uFillTx/>
                <a:latin typeface="Verdana" panose="020B0604030504040204"/>
                <a:ea typeface="+mn-ea"/>
                <a:cs typeface="+mn-cs"/>
              </a:rPr>
              <a:t>ДпБП</a:t>
            </a:r>
            <a:r>
              <a:rPr kumimoji="0" lang="ru-RU" sz="1200" b="1" i="0" u="none" strike="noStrike" kern="1200" cap="none" spc="0" normalizeH="0" baseline="0" noProof="0" dirty="0" smtClean="0">
                <a:ln>
                  <a:noFill/>
                </a:ln>
                <a:solidFill>
                  <a:srgbClr val="424242"/>
                </a:solidFill>
                <a:effectLst/>
                <a:uLnTx/>
                <a:uFillTx/>
                <a:latin typeface="Verdana" panose="020B0604030504040204"/>
                <a:ea typeface="+mn-ea"/>
                <a:cs typeface="+mn-cs"/>
              </a:rPr>
              <a:t> ОРПО </a:t>
            </a:r>
            <a:endParaRPr kumimoji="0" lang="ru-RU" sz="12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38" name="Рисунок 37"/>
          <p:cNvPicPr>
            <a:picLocks noChangeAspect="1"/>
          </p:cNvPicPr>
          <p:nvPr/>
        </p:nvPicPr>
        <p:blipFill>
          <a:blip r:embed="rId7"/>
          <a:stretch>
            <a:fillRect/>
          </a:stretch>
        </p:blipFill>
        <p:spPr>
          <a:xfrm>
            <a:off x="4263159" y="4183955"/>
            <a:ext cx="2825818" cy="2108378"/>
          </a:xfrm>
          <a:prstGeom prst="rect">
            <a:avLst/>
          </a:prstGeom>
        </p:spPr>
      </p:pic>
      <p:sp>
        <p:nvSpPr>
          <p:cNvPr id="39" name="Прямоугольник 38"/>
          <p:cNvSpPr/>
          <p:nvPr/>
        </p:nvSpPr>
        <p:spPr>
          <a:xfrm>
            <a:off x="4339864" y="6292333"/>
            <a:ext cx="3361147" cy="399981"/>
          </a:xfrm>
          <a:prstGeom prst="rect">
            <a:avLst/>
          </a:prstGeom>
        </p:spPr>
        <p:txBody>
          <a:bodyPr wrap="square">
            <a:spAutoFit/>
          </a:bodyPr>
          <a:lstStyle/>
          <a:p>
            <a:pPr defTabSz="1151912">
              <a:defRPr/>
            </a:pPr>
            <a:r>
              <a:rPr lang="en-US" sz="1999" b="1" dirty="0">
                <a:solidFill>
                  <a:prstClr val="black">
                    <a:lumMod val="65000"/>
                    <a:lumOff val="35000"/>
                  </a:prstClr>
                </a:solidFill>
                <a:latin typeface="Verdana" panose="020B0604030504040204" pitchFamily="34" charset="0"/>
                <a:ea typeface="Verdana" panose="020B0604030504040204" pitchFamily="34" charset="0"/>
              </a:rPr>
              <a:t>vmz_orpo@omk</a:t>
            </a:r>
            <a:r>
              <a:rPr lang="ru-RU" sz="1999" b="1" dirty="0">
                <a:solidFill>
                  <a:prstClr val="black">
                    <a:lumMod val="65000"/>
                    <a:lumOff val="35000"/>
                  </a:prstClr>
                </a:solidFill>
                <a:latin typeface="Verdana" panose="020B0604030504040204" pitchFamily="34" charset="0"/>
                <a:ea typeface="Verdana" panose="020B0604030504040204" pitchFamily="34" charset="0"/>
              </a:rPr>
              <a:t>.</a:t>
            </a:r>
            <a:r>
              <a:rPr lang="en-US" sz="1999" b="1" dirty="0">
                <a:solidFill>
                  <a:prstClr val="black">
                    <a:lumMod val="65000"/>
                    <a:lumOff val="35000"/>
                  </a:prstClr>
                </a:solidFill>
                <a:latin typeface="Verdana" panose="020B0604030504040204" pitchFamily="34" charset="0"/>
                <a:ea typeface="Verdana" panose="020B0604030504040204" pitchFamily="34" charset="0"/>
              </a:rPr>
              <a:t>ru</a:t>
            </a:r>
            <a:r>
              <a:rPr lang="ru-RU" sz="1999" b="1" dirty="0">
                <a:solidFill>
                  <a:prstClr val="black">
                    <a:lumMod val="65000"/>
                    <a:lumOff val="35000"/>
                  </a:prstClr>
                </a:solidFill>
                <a:latin typeface="Verdana" panose="020B0604030504040204" pitchFamily="34" charset="0"/>
                <a:ea typeface="Verdana" panose="020B0604030504040204" pitchFamily="34" charset="0"/>
              </a:rPr>
              <a:t> </a:t>
            </a:r>
          </a:p>
        </p:txBody>
      </p:sp>
    </p:spTree>
    <p:extLst>
      <p:ext uri="{BB962C8B-B14F-4D97-AF65-F5344CB8AC3E}">
        <p14:creationId xmlns:p14="http://schemas.microsoft.com/office/powerpoint/2010/main" val="319652083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Прямоугольник 23"/>
          <p:cNvSpPr/>
          <p:nvPr/>
        </p:nvSpPr>
        <p:spPr>
          <a:xfrm>
            <a:off x="328320" y="305016"/>
            <a:ext cx="11482286" cy="2971595"/>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84">
              <a:defRPr/>
            </a:pPr>
            <a:endParaRPr lang="ru-RU" sz="2434" dirty="0">
              <a:solidFill>
                <a:prstClr val="white"/>
              </a:solidFill>
              <a:latin typeface="Calibri"/>
            </a:endParaRPr>
          </a:p>
        </p:txBody>
      </p:sp>
      <p:pic>
        <p:nvPicPr>
          <p:cNvPr id="5" name="Рисунок 4"/>
          <p:cNvPicPr>
            <a:picLocks noChangeAspect="1"/>
          </p:cNvPicPr>
          <p:nvPr/>
        </p:nvPicPr>
        <p:blipFill>
          <a:blip r:embed="rId3"/>
          <a:stretch>
            <a:fillRect/>
          </a:stretch>
        </p:blipFill>
        <p:spPr>
          <a:xfrm>
            <a:off x="417076" y="865298"/>
            <a:ext cx="11305748" cy="2311621"/>
          </a:xfrm>
          <a:prstGeom prst="rect">
            <a:avLst/>
          </a:prstGeom>
        </p:spPr>
      </p:pic>
      <p:sp>
        <p:nvSpPr>
          <p:cNvPr id="9" name="TextBox 8"/>
          <p:cNvSpPr txBox="1"/>
          <p:nvPr/>
        </p:nvSpPr>
        <p:spPr>
          <a:xfrm>
            <a:off x="2438653" y="349046"/>
            <a:ext cx="7543279" cy="466923"/>
          </a:xfrm>
          <a:prstGeom prst="rect">
            <a:avLst/>
          </a:prstGeom>
          <a:noFill/>
        </p:spPr>
        <p:txBody>
          <a:bodyPr wrap="square" rtlCol="0">
            <a:spAutoFit/>
          </a:bodyPr>
          <a:lstStyle/>
          <a:p>
            <a:pPr defTabSz="1219084"/>
            <a:r>
              <a:rPr lang="ru-RU" sz="2434" b="1" u="sng" dirty="0">
                <a:solidFill>
                  <a:prstClr val="black"/>
                </a:solidFill>
                <a:latin typeface="Calibri"/>
              </a:rPr>
              <a:t>Оказание помощи терпящим бедствие на воде</a:t>
            </a:r>
          </a:p>
        </p:txBody>
      </p:sp>
      <p:pic>
        <p:nvPicPr>
          <p:cNvPr id="2" name="Рисунок 1"/>
          <p:cNvPicPr>
            <a:picLocks noChangeAspect="1"/>
          </p:cNvPicPr>
          <p:nvPr/>
        </p:nvPicPr>
        <p:blipFill rotWithShape="1">
          <a:blip r:embed="rId4" cstate="print">
            <a:extLst>
              <a:ext uri="{28A0092B-C50C-407E-A947-70E740481C1C}">
                <a14:useLocalDpi xmlns:a14="http://schemas.microsoft.com/office/drawing/2010/main" val="0"/>
              </a:ext>
            </a:extLst>
          </a:blip>
          <a:srcRect l="2863" t="7980" r="2638" b="7440"/>
          <a:stretch/>
        </p:blipFill>
        <p:spPr>
          <a:xfrm>
            <a:off x="386957" y="3657584"/>
            <a:ext cx="7125062" cy="2576165"/>
          </a:xfrm>
          <a:prstGeom prst="rect">
            <a:avLst/>
          </a:prstGeom>
        </p:spPr>
      </p:pic>
      <p:pic>
        <p:nvPicPr>
          <p:cNvPr id="3" name="Рисунок 2"/>
          <p:cNvPicPr>
            <a:picLocks noChangeAspect="1"/>
          </p:cNvPicPr>
          <p:nvPr/>
        </p:nvPicPr>
        <p:blipFill rotWithShape="1">
          <a:blip r:embed="rId5">
            <a:extLst>
              <a:ext uri="{28A0092B-C50C-407E-A947-70E740481C1C}">
                <a14:useLocalDpi xmlns:a14="http://schemas.microsoft.com/office/drawing/2010/main" val="0"/>
              </a:ext>
            </a:extLst>
          </a:blip>
          <a:srcRect t="1838" b="12694"/>
          <a:stretch/>
        </p:blipFill>
        <p:spPr>
          <a:xfrm>
            <a:off x="7619895" y="4001722"/>
            <a:ext cx="1904869" cy="2285842"/>
          </a:xfrm>
          <a:prstGeom prst="rect">
            <a:avLst/>
          </a:prstGeom>
        </p:spPr>
      </p:pic>
      <p:pic>
        <p:nvPicPr>
          <p:cNvPr id="4" name="Рисунок 3"/>
          <p:cNvPicPr>
            <a:picLocks noChangeAspect="1"/>
          </p:cNvPicPr>
          <p:nvPr/>
        </p:nvPicPr>
        <p:blipFill rotWithShape="1">
          <a:blip r:embed="rId6" cstate="print">
            <a:extLst>
              <a:ext uri="{28A0092B-C50C-407E-A947-70E740481C1C}">
                <a14:useLocalDpi xmlns:a14="http://schemas.microsoft.com/office/drawing/2010/main" val="0"/>
              </a:ext>
            </a:extLst>
          </a:blip>
          <a:srcRect l="15152" r="19306"/>
          <a:stretch/>
        </p:blipFill>
        <p:spPr>
          <a:xfrm>
            <a:off x="9586531" y="4001722"/>
            <a:ext cx="2136292" cy="2324230"/>
          </a:xfrm>
          <a:prstGeom prst="rect">
            <a:avLst/>
          </a:prstGeom>
        </p:spPr>
      </p:pic>
    </p:spTree>
    <p:extLst>
      <p:ext uri="{BB962C8B-B14F-4D97-AF65-F5344CB8AC3E}">
        <p14:creationId xmlns:p14="http://schemas.microsoft.com/office/powerpoint/2010/main" val="12763544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B55A3CF3-1A1E-441B-9FBC-32F21D06A2C9}"/>
              </a:ext>
            </a:extLst>
          </p:cNvPr>
          <p:cNvSpPr txBox="1">
            <a:spLocks/>
          </p:cNvSpPr>
          <p:nvPr/>
        </p:nvSpPr>
        <p:spPr>
          <a:xfrm>
            <a:off x="10145603" y="6318916"/>
            <a:ext cx="1790393" cy="374046"/>
          </a:xfrm>
          <a:prstGeom prst="rect">
            <a:avLst/>
          </a:prstGeom>
        </p:spPr>
        <p:txBody>
          <a:bodyPr/>
          <a:lstStyle>
            <a:lvl1pPr marL="0" indent="0" algn="r" defTabSz="914400" rtl="0" eaLnBrk="1" latinLnBrk="0" hangingPunct="1">
              <a:spcBef>
                <a:spcPct val="20000"/>
              </a:spcBef>
              <a:buFontTx/>
              <a:buNone/>
              <a:defRPr sz="800" b="0" i="0" kern="120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67527">
              <a:defRPr/>
            </a:pPr>
            <a:r>
              <a:rPr lang="ru-RU" sz="845" dirty="0"/>
              <a:t>День безопасности труда с подрядными организациями</a:t>
            </a:r>
          </a:p>
        </p:txBody>
      </p:sp>
      <p:sp>
        <p:nvSpPr>
          <p:cNvPr id="7" name="Текст 8">
            <a:extLst>
              <a:ext uri="{FF2B5EF4-FFF2-40B4-BE49-F238E27FC236}">
                <a16:creationId xmlns:a16="http://schemas.microsoft.com/office/drawing/2014/main" id="{A1584F74-92CE-481B-9F91-C1014731D164}"/>
              </a:ext>
            </a:extLst>
          </p:cNvPr>
          <p:cNvSpPr>
            <a:spLocks noGrp="1"/>
          </p:cNvSpPr>
          <p:nvPr>
            <p:ph type="body" sz="quarter" idx="11"/>
          </p:nvPr>
        </p:nvSpPr>
        <p:spPr>
          <a:xfrm>
            <a:off x="4155966" y="2895637"/>
            <a:ext cx="9665943" cy="838036"/>
          </a:xfrm>
        </p:spPr>
        <p:txBody>
          <a:bodyPr>
            <a:normAutofit/>
          </a:bodyPr>
          <a:lstStyle/>
          <a:p>
            <a:r>
              <a:rPr lang="ru-RU" b="1" dirty="0">
                <a:solidFill>
                  <a:srgbClr val="C00000"/>
                </a:solidFill>
              </a:rPr>
              <a:t>Статистика</a:t>
            </a:r>
          </a:p>
        </p:txBody>
      </p:sp>
      <p:sp>
        <p:nvSpPr>
          <p:cNvPr id="4" name="Текст 11">
            <a:extLst>
              <a:ext uri="{FF2B5EF4-FFF2-40B4-BE49-F238E27FC236}">
                <a16:creationId xmlns:a16="http://schemas.microsoft.com/office/drawing/2014/main" id="{27600C3B-5AB0-462C-BDD1-DED5432434FE}"/>
              </a:ext>
            </a:extLst>
          </p:cNvPr>
          <p:cNvSpPr txBox="1">
            <a:spLocks/>
          </p:cNvSpPr>
          <p:nvPr/>
        </p:nvSpPr>
        <p:spPr>
          <a:xfrm>
            <a:off x="296372" y="394594"/>
            <a:ext cx="4541650" cy="288037"/>
          </a:xfrm>
          <a:prstGeom prst="rect">
            <a:avLst/>
          </a:prstGeom>
        </p:spPr>
        <p:txBody>
          <a:bodyPr/>
          <a:lstStyle>
            <a:lvl1pPr marL="0" indent="0" algn="l" defTabSz="914400" rtl="0" eaLnBrk="1" latinLnBrk="0" hangingPunct="1">
              <a:spcBef>
                <a:spcPct val="20000"/>
              </a:spcBef>
              <a:buFontTx/>
              <a:buNone/>
              <a:defRPr sz="1100" b="0" i="0" kern="1200">
                <a:solidFill>
                  <a:srgbClr val="7F8183"/>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67527">
              <a:defRPr/>
            </a:pPr>
            <a:r>
              <a:rPr lang="ru-RU" sz="1164" dirty="0"/>
              <a:t>Статистика происшествий</a:t>
            </a:r>
          </a:p>
        </p:txBody>
      </p:sp>
      <p:pic>
        <p:nvPicPr>
          <p:cNvPr id="9" name="Рисунок 8" descr="image001.jpg"/>
          <p:cNvPicPr>
            <a:picLocks noChangeAspect="1"/>
          </p:cNvPicPr>
          <p:nvPr/>
        </p:nvPicPr>
        <p:blipFill>
          <a:blip r:embed="rId3" cstate="print"/>
          <a:stretch>
            <a:fillRect/>
          </a:stretch>
        </p:blipFill>
        <p:spPr>
          <a:xfrm>
            <a:off x="838563" y="5181479"/>
            <a:ext cx="3265534" cy="1239694"/>
          </a:xfrm>
          <a:prstGeom prst="rect">
            <a:avLst/>
          </a:prstGeom>
        </p:spPr>
      </p:pic>
      <p:pic>
        <p:nvPicPr>
          <p:cNvPr id="2" name="Рисунок 1"/>
          <p:cNvPicPr>
            <a:picLocks noChangeAspect="1"/>
          </p:cNvPicPr>
          <p:nvPr/>
        </p:nvPicPr>
        <p:blipFill>
          <a:blip r:embed="rId4" cstate="print">
            <a:extLst>
              <a:ext uri="{BEBA8EAE-BF5A-486C-A8C5-ECC9F3942E4B}">
                <a14:imgProps xmlns:a14="http://schemas.microsoft.com/office/drawing/2010/main">
                  <a14:imgLayer r:embed="rId5">
                    <a14:imgEffect>
                      <a14:backgroundRemoval t="10000" b="90000" l="7778" r="90333"/>
                    </a14:imgEffect>
                    <a14:imgEffect>
                      <a14:saturation sat="0"/>
                    </a14:imgEffect>
                  </a14:imgLayer>
                </a14:imgProps>
              </a:ext>
              <a:ext uri="{28A0092B-C50C-407E-A947-70E740481C1C}">
                <a14:useLocalDpi xmlns:a14="http://schemas.microsoft.com/office/drawing/2010/main" val="0"/>
              </a:ext>
            </a:extLst>
          </a:blip>
          <a:stretch>
            <a:fillRect/>
          </a:stretch>
        </p:blipFill>
        <p:spPr>
          <a:xfrm>
            <a:off x="1122829" y="2286079"/>
            <a:ext cx="3033138" cy="1752479"/>
          </a:xfrm>
          <a:prstGeom prst="rect">
            <a:avLst/>
          </a:prstGeom>
        </p:spPr>
      </p:pic>
    </p:spTree>
    <p:extLst>
      <p:ext uri="{BB962C8B-B14F-4D97-AF65-F5344CB8AC3E}">
        <p14:creationId xmlns:p14="http://schemas.microsoft.com/office/powerpoint/2010/main" val="30615806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9F6A5ECB-6564-4A74-8F21-DDFC18BF4629}"/>
              </a:ext>
            </a:extLst>
          </p:cNvPr>
          <p:cNvGraphicFramePr>
            <a:graphicFrameLocks noChangeAspect="1"/>
          </p:cNvGraphicFramePr>
          <p:nvPr>
            <p:custDataLst>
              <p:tags r:id="rId2"/>
            </p:custDataLst>
            <p:extLst/>
          </p:nvPr>
        </p:nvGraphicFramePr>
        <p:xfrm>
          <a:off x="2615" y="2731"/>
          <a:ext cx="1679" cy="1679"/>
        </p:xfrm>
        <a:graphic>
          <a:graphicData uri="http://schemas.openxmlformats.org/presentationml/2006/ole">
            <mc:AlternateContent xmlns:mc="http://schemas.openxmlformats.org/markup-compatibility/2006">
              <mc:Choice xmlns:v="urn:schemas-microsoft-com:vml" Requires="v">
                <p:oleObj spid="_x0000_s3093" name="Слайд think-cell" r:id="rId26" imgW="270" imgH="270" progId="TCLayout.ActiveDocument.1">
                  <p:embed/>
                </p:oleObj>
              </mc:Choice>
              <mc:Fallback>
                <p:oleObj name="Слайд think-cell" r:id="rId26" imgW="270" imgH="270" progId="TCLayout.ActiveDocument.1">
                  <p:embed/>
                  <p:pic>
                    <p:nvPicPr>
                      <p:cNvPr id="2" name="Объект 1" hidden="1">
                        <a:extLst>
                          <a:ext uri="{FF2B5EF4-FFF2-40B4-BE49-F238E27FC236}">
                            <a16:creationId xmlns:a16="http://schemas.microsoft.com/office/drawing/2014/main" id="{9F6A5ECB-6564-4A74-8F21-DDFC18BF4629}"/>
                          </a:ext>
                        </a:extLst>
                      </p:cNvPr>
                      <p:cNvPicPr/>
                      <p:nvPr/>
                    </p:nvPicPr>
                    <p:blipFill>
                      <a:blip r:embed="rId27"/>
                      <a:stretch>
                        <a:fillRect/>
                      </a:stretch>
                    </p:blipFill>
                    <p:spPr>
                      <a:xfrm>
                        <a:off x="2615" y="2731"/>
                        <a:ext cx="1679" cy="1679"/>
                      </a:xfrm>
                      <a:prstGeom prst="rect">
                        <a:avLst/>
                      </a:prstGeom>
                    </p:spPr>
                  </p:pic>
                </p:oleObj>
              </mc:Fallback>
            </mc:AlternateContent>
          </a:graphicData>
        </a:graphic>
      </p:graphicFrame>
      <p:sp>
        <p:nvSpPr>
          <p:cNvPr id="3" name="Прямоугольник 2" hidden="1">
            <a:extLst>
              <a:ext uri="{FF2B5EF4-FFF2-40B4-BE49-F238E27FC236}">
                <a16:creationId xmlns:a16="http://schemas.microsoft.com/office/drawing/2014/main" id="{10680F9D-A981-4133-93A3-D60528F412AC}"/>
              </a:ext>
            </a:extLst>
          </p:cNvPr>
          <p:cNvSpPr/>
          <p:nvPr>
            <p:custDataLst>
              <p:tags r:id="rId3"/>
            </p:custDataLst>
          </p:nvPr>
        </p:nvSpPr>
        <p:spPr>
          <a:xfrm>
            <a:off x="934" y="1050"/>
            <a:ext cx="167955" cy="16795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967332">
              <a:defRPr/>
            </a:pPr>
            <a:endParaRPr lang="en-US" sz="1270" dirty="0" err="1">
              <a:solidFill>
                <a:srgbClr val="424242"/>
              </a:solidFill>
              <a:latin typeface="Verdana" panose="020B0604030504040204" pitchFamily="34" charset="0"/>
              <a:sym typeface="Verdana" panose="020B0604030504040204" pitchFamily="34" charset="0"/>
            </a:endParaRPr>
          </a:p>
        </p:txBody>
      </p:sp>
      <p:sp>
        <p:nvSpPr>
          <p:cNvPr id="4" name="Text Placeholder 3">
            <a:extLst>
              <a:ext uri="{FF2B5EF4-FFF2-40B4-BE49-F238E27FC236}">
                <a16:creationId xmlns:a16="http://schemas.microsoft.com/office/drawing/2014/main" id="{63656570-E48E-7D49-A33C-2775EEC4FEDC}"/>
              </a:ext>
            </a:extLst>
          </p:cNvPr>
          <p:cNvSpPr>
            <a:spLocks noGrp="1"/>
          </p:cNvSpPr>
          <p:nvPr>
            <p:ph type="body" sz="quarter" idx="14"/>
          </p:nvPr>
        </p:nvSpPr>
        <p:spPr>
          <a:xfrm>
            <a:off x="296371" y="394594"/>
            <a:ext cx="11327013" cy="521809"/>
          </a:xfrm>
        </p:spPr>
        <p:txBody>
          <a:bodyPr/>
          <a:lstStyle/>
          <a:p>
            <a:r>
              <a:rPr lang="ru-RU" sz="1058" dirty="0">
                <a:solidFill>
                  <a:schemeClr val="bg1"/>
                </a:solidFill>
              </a:rPr>
              <a:t>Итоги работы в области безопасности производства за 2021 год.          Анализ травматизма и происшествий.       </a:t>
            </a:r>
            <a:r>
              <a:rPr lang="ru-RU" sz="1058" b="1" dirty="0">
                <a:solidFill>
                  <a:srgbClr val="C00000"/>
                </a:solidFill>
              </a:rPr>
              <a:t>    </a:t>
            </a:r>
          </a:p>
        </p:txBody>
      </p:sp>
      <p:sp>
        <p:nvSpPr>
          <p:cNvPr id="128" name="Текст 4">
            <a:extLst>
              <a:ext uri="{FF2B5EF4-FFF2-40B4-BE49-F238E27FC236}">
                <a16:creationId xmlns:a16="http://schemas.microsoft.com/office/drawing/2014/main" id="{4B580ABA-5942-45EC-A26A-57B5CB481C87}"/>
              </a:ext>
            </a:extLst>
          </p:cNvPr>
          <p:cNvSpPr txBox="1">
            <a:spLocks/>
          </p:cNvSpPr>
          <p:nvPr/>
        </p:nvSpPr>
        <p:spPr>
          <a:xfrm>
            <a:off x="10309029" y="6590154"/>
            <a:ext cx="1790393" cy="374046"/>
          </a:xfrm>
          <a:prstGeom prst="rect">
            <a:avLst/>
          </a:prstGeom>
        </p:spPr>
        <p:txBody>
          <a:bodyPr/>
          <a:lstStyle>
            <a:lvl1pPr marL="0" indent="0" algn="r" defTabSz="914400" rtl="0" eaLnBrk="1" latinLnBrk="0" hangingPunct="1">
              <a:spcBef>
                <a:spcPct val="20000"/>
              </a:spcBef>
              <a:buFontTx/>
              <a:buNone/>
              <a:defRPr sz="800" b="0" i="0" kern="120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67332">
              <a:defRPr/>
            </a:pPr>
            <a:r>
              <a:rPr lang="ru-RU" sz="845" dirty="0"/>
              <a:t>День безопасности ПО</a:t>
            </a:r>
          </a:p>
        </p:txBody>
      </p:sp>
      <p:sp>
        <p:nvSpPr>
          <p:cNvPr id="218" name="TextBox 217">
            <a:extLst>
              <a:ext uri="{FF2B5EF4-FFF2-40B4-BE49-F238E27FC236}">
                <a16:creationId xmlns:a16="http://schemas.microsoft.com/office/drawing/2014/main" id="{698AAB2B-F8E5-4C9E-92A4-DBD424AEA757}"/>
              </a:ext>
            </a:extLst>
          </p:cNvPr>
          <p:cNvSpPr txBox="1"/>
          <p:nvPr/>
        </p:nvSpPr>
        <p:spPr>
          <a:xfrm>
            <a:off x="333021" y="502528"/>
            <a:ext cx="11513438" cy="613373"/>
          </a:xfrm>
          <a:prstGeom prst="rect">
            <a:avLst/>
          </a:prstGeom>
          <a:noFill/>
        </p:spPr>
        <p:txBody>
          <a:bodyPr wrap="square" rtlCol="0">
            <a:spAutoFit/>
          </a:bodyPr>
          <a:lstStyle/>
          <a:p>
            <a:pPr algn="ctr" defTabSz="967332">
              <a:defRPr/>
            </a:pPr>
            <a:r>
              <a:rPr lang="ru-RU" sz="1693" b="1" dirty="0">
                <a:solidFill>
                  <a:srgbClr val="424242"/>
                </a:solidFill>
                <a:latin typeface="Verdana" panose="020B0604030504040204"/>
              </a:rPr>
              <a:t>В 2021 году допущены чрезвычайные происшествия, связанные с работой </a:t>
            </a:r>
            <a:r>
              <a:rPr lang="ru-RU" sz="1693" b="1" dirty="0">
                <a:solidFill>
                  <a:srgbClr val="C00000"/>
                </a:solidFill>
                <a:latin typeface="Verdana" panose="020B0604030504040204"/>
              </a:rPr>
              <a:t>подрядных организаций </a:t>
            </a:r>
          </a:p>
        </p:txBody>
      </p:sp>
      <p:sp>
        <p:nvSpPr>
          <p:cNvPr id="65" name="Прямоугольник 64"/>
          <p:cNvSpPr/>
          <p:nvPr/>
        </p:nvSpPr>
        <p:spPr>
          <a:xfrm>
            <a:off x="344877" y="1636723"/>
            <a:ext cx="11531225" cy="1984437"/>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67332">
              <a:defRPr/>
            </a:pPr>
            <a:endParaRPr lang="ru-RU" sz="1480" dirty="0" err="1">
              <a:solidFill>
                <a:srgbClr val="424242"/>
              </a:solidFill>
              <a:latin typeface="Arial" charset="0"/>
              <a:ea typeface="Arial" charset="0"/>
              <a:cs typeface="Arial" charset="0"/>
            </a:endParaRPr>
          </a:p>
        </p:txBody>
      </p:sp>
      <p:graphicFrame>
        <p:nvGraphicFramePr>
          <p:cNvPr id="66" name="Диаграмма 65"/>
          <p:cNvGraphicFramePr/>
          <p:nvPr>
            <p:extLst/>
          </p:nvPr>
        </p:nvGraphicFramePr>
        <p:xfrm>
          <a:off x="491112" y="1398488"/>
          <a:ext cx="11435454" cy="1761685"/>
        </p:xfrm>
        <a:graphic>
          <a:graphicData uri="http://schemas.openxmlformats.org/drawingml/2006/chart">
            <c:chart xmlns:c="http://schemas.openxmlformats.org/drawingml/2006/chart" xmlns:r="http://schemas.openxmlformats.org/officeDocument/2006/relationships" r:id="rId28"/>
          </a:graphicData>
        </a:graphic>
      </p:graphicFrame>
      <p:sp>
        <p:nvSpPr>
          <p:cNvPr id="67" name="Прямоугольник 66"/>
          <p:cNvSpPr/>
          <p:nvPr>
            <p:custDataLst>
              <p:tags r:id="rId4"/>
            </p:custDataLst>
          </p:nvPr>
        </p:nvSpPr>
        <p:spPr bwMode="auto">
          <a:xfrm>
            <a:off x="845131" y="3060453"/>
            <a:ext cx="1189118" cy="322472"/>
          </a:xfrm>
          <a:prstGeom prst="rect">
            <a:avLst/>
          </a:prstGeom>
          <a:noFill/>
          <a:ln>
            <a:noFill/>
          </a:ln>
          <a:effectLst/>
          <a:extLst>
            <a:ext uri="{909E8E84-426E-40DD-AFC4-6F175D3DCCD1}">
              <a14:hiddenFill xmlns:a14="http://schemas.microsoft.com/office/drawing/2010/main">
                <a:solidFill>
                  <a:schemeClr val="bg1">
                    <a:lumMod val="5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defTabSz="967332">
              <a:spcBef>
                <a:spcPct val="0"/>
              </a:spcBef>
              <a:spcAft>
                <a:spcPct val="0"/>
              </a:spcAft>
              <a:defRPr/>
            </a:pPr>
            <a:r>
              <a:rPr lang="ru-RU" altLang="en-US" sz="845" b="1" dirty="0">
                <a:solidFill>
                  <a:srgbClr val="C00000"/>
                </a:solidFill>
                <a:latin typeface="Verdana" panose="020B0604030504040204"/>
              </a:rPr>
              <a:t>Чрезвычайные </a:t>
            </a:r>
          </a:p>
          <a:p>
            <a:pPr algn="ctr" defTabSz="967332">
              <a:spcBef>
                <a:spcPct val="0"/>
              </a:spcBef>
              <a:spcAft>
                <a:spcPct val="0"/>
              </a:spcAft>
              <a:defRPr/>
            </a:pPr>
            <a:r>
              <a:rPr lang="ru-RU" altLang="en-US" sz="845" b="1" dirty="0">
                <a:solidFill>
                  <a:srgbClr val="C00000"/>
                </a:solidFill>
                <a:latin typeface="Verdana" panose="020B0604030504040204"/>
              </a:rPr>
              <a:t>происшествия</a:t>
            </a:r>
            <a:endParaRPr lang="ru-RU" sz="845" b="1" dirty="0">
              <a:solidFill>
                <a:srgbClr val="C00000"/>
              </a:solidFill>
              <a:latin typeface="Verdana" panose="020B0604030504040204"/>
            </a:endParaRPr>
          </a:p>
        </p:txBody>
      </p:sp>
      <p:sp>
        <p:nvSpPr>
          <p:cNvPr id="68" name="Прямоугольник 67"/>
          <p:cNvSpPr/>
          <p:nvPr>
            <p:custDataLst>
              <p:tags r:id="rId5"/>
            </p:custDataLst>
          </p:nvPr>
        </p:nvSpPr>
        <p:spPr bwMode="auto">
          <a:xfrm>
            <a:off x="2510836" y="3059839"/>
            <a:ext cx="1194156" cy="161237"/>
          </a:xfrm>
          <a:prstGeom prst="rect">
            <a:avLst/>
          </a:prstGeom>
          <a:noFill/>
          <a:ln>
            <a:noFill/>
          </a:ln>
          <a:effectLst/>
          <a:extLst>
            <a:ext uri="{909E8E84-426E-40DD-AFC4-6F175D3DCCD1}">
              <a14:hiddenFill xmlns:a14="http://schemas.microsoft.com/office/drawing/2010/main">
                <a:solidFill>
                  <a:schemeClr val="bg1">
                    <a:lumMod val="5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defTabSz="967332">
              <a:spcBef>
                <a:spcPct val="0"/>
              </a:spcBef>
              <a:spcAft>
                <a:spcPct val="0"/>
              </a:spcAft>
              <a:defRPr/>
            </a:pPr>
            <a:r>
              <a:rPr lang="ru-RU" altLang="en-US" sz="845" b="1" dirty="0">
                <a:solidFill>
                  <a:schemeClr val="tx1"/>
                </a:solidFill>
                <a:latin typeface="Verdana" panose="020B0604030504040204"/>
              </a:rPr>
              <a:t>Легкие травмы</a:t>
            </a:r>
            <a:endParaRPr lang="en-US" altLang="en-US" sz="845" b="1" dirty="0">
              <a:solidFill>
                <a:schemeClr val="tx1"/>
              </a:solidFill>
              <a:latin typeface="Verdana" panose="020B0604030504040204"/>
            </a:endParaRPr>
          </a:p>
          <a:p>
            <a:pPr algn="ctr" defTabSz="967332">
              <a:spcBef>
                <a:spcPct val="0"/>
              </a:spcBef>
              <a:spcAft>
                <a:spcPct val="0"/>
              </a:spcAft>
              <a:defRPr/>
            </a:pPr>
            <a:endParaRPr lang="ru-RU" sz="845" b="1" dirty="0" err="1">
              <a:solidFill>
                <a:srgbClr val="C00000"/>
              </a:solidFill>
              <a:latin typeface="Verdana" panose="020B0604030504040204"/>
            </a:endParaRPr>
          </a:p>
        </p:txBody>
      </p:sp>
      <p:sp>
        <p:nvSpPr>
          <p:cNvPr id="71" name="Прямоугольник 70"/>
          <p:cNvSpPr/>
          <p:nvPr>
            <p:custDataLst>
              <p:tags r:id="rId6"/>
            </p:custDataLst>
          </p:nvPr>
        </p:nvSpPr>
        <p:spPr bwMode="auto">
          <a:xfrm>
            <a:off x="4024317" y="3040395"/>
            <a:ext cx="970776" cy="161237"/>
          </a:xfrm>
          <a:prstGeom prst="rect">
            <a:avLst/>
          </a:prstGeom>
          <a:noFill/>
          <a:ln>
            <a:noFill/>
          </a:ln>
          <a:effectLst/>
          <a:extLst>
            <a:ext uri="{909E8E84-426E-40DD-AFC4-6F175D3DCCD1}">
              <a14:hiddenFill xmlns:a14="http://schemas.microsoft.com/office/drawing/2010/main">
                <a:solidFill>
                  <a:schemeClr val="bg1">
                    <a:lumMod val="5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defTabSz="967332">
              <a:spcBef>
                <a:spcPct val="0"/>
              </a:spcBef>
              <a:spcAft>
                <a:spcPct val="0"/>
              </a:spcAft>
              <a:defRPr/>
            </a:pPr>
            <a:r>
              <a:rPr lang="ru-RU" sz="845" b="1" dirty="0">
                <a:solidFill>
                  <a:srgbClr val="424242">
                    <a:lumMod val="75000"/>
                  </a:srgbClr>
                </a:solidFill>
                <a:latin typeface="Verdana" panose="020B0604030504040204"/>
              </a:rPr>
              <a:t>Микротравм</a:t>
            </a:r>
            <a:r>
              <a:rPr lang="ru-RU" sz="846" b="1" dirty="0">
                <a:solidFill>
                  <a:srgbClr val="424242">
                    <a:lumMod val="75000"/>
                  </a:srgbClr>
                </a:solidFill>
                <a:latin typeface="Verdana" panose="020B0604030504040204"/>
              </a:rPr>
              <a:t>ы</a:t>
            </a:r>
            <a:endParaRPr lang="ru-RU" sz="846" b="1" dirty="0" err="1">
              <a:solidFill>
                <a:srgbClr val="424242">
                  <a:lumMod val="75000"/>
                </a:srgbClr>
              </a:solidFill>
              <a:latin typeface="Verdana" panose="020B0604030504040204"/>
            </a:endParaRPr>
          </a:p>
        </p:txBody>
      </p:sp>
      <p:sp>
        <p:nvSpPr>
          <p:cNvPr id="72" name="Прямоугольник 71"/>
          <p:cNvSpPr/>
          <p:nvPr>
            <p:custDataLst>
              <p:tags r:id="rId7"/>
            </p:custDataLst>
          </p:nvPr>
        </p:nvSpPr>
        <p:spPr bwMode="auto">
          <a:xfrm>
            <a:off x="5903550" y="3059839"/>
            <a:ext cx="297280" cy="161237"/>
          </a:xfrm>
          <a:prstGeom prst="rect">
            <a:avLst/>
          </a:prstGeom>
          <a:noFill/>
          <a:ln>
            <a:noFill/>
          </a:ln>
          <a:effectLst/>
          <a:extLst>
            <a:ext uri="{909E8E84-426E-40DD-AFC4-6F175D3DCCD1}">
              <a14:hiddenFill xmlns:a14="http://schemas.microsoft.com/office/drawing/2010/main">
                <a:solidFill>
                  <a:schemeClr val="bg1">
                    <a:lumMod val="5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defTabSz="967332">
              <a:spcBef>
                <a:spcPct val="0"/>
              </a:spcBef>
              <a:spcAft>
                <a:spcPct val="0"/>
              </a:spcAft>
              <a:defRPr/>
            </a:pPr>
            <a:fld id="{F17DB954-250B-4DE2-9E46-4C08EC294AFD}" type="datetime'''''''''''''''''''Д''''''''''''''''Т''''П'''''''">
              <a:rPr lang="ru-RU" altLang="en-US" sz="845" b="1">
                <a:solidFill>
                  <a:srgbClr val="424242"/>
                </a:solidFill>
                <a:latin typeface="Verdana" panose="020B0604030504040204"/>
              </a:rPr>
              <a:pPr algn="ctr" defTabSz="967332">
                <a:spcBef>
                  <a:spcPct val="0"/>
                </a:spcBef>
                <a:spcAft>
                  <a:spcPct val="0"/>
                </a:spcAft>
                <a:defRPr/>
              </a:pPr>
              <a:t>ДТП</a:t>
            </a:fld>
            <a:endParaRPr lang="ru-RU" sz="845" b="1" dirty="0" err="1">
              <a:solidFill>
                <a:srgbClr val="424242"/>
              </a:solidFill>
              <a:latin typeface="Verdana" panose="020B0604030504040204"/>
            </a:endParaRPr>
          </a:p>
        </p:txBody>
      </p:sp>
      <p:sp>
        <p:nvSpPr>
          <p:cNvPr id="73" name="Прямоугольник 72"/>
          <p:cNvSpPr/>
          <p:nvPr/>
        </p:nvSpPr>
        <p:spPr bwMode="auto">
          <a:xfrm>
            <a:off x="6978470" y="3039243"/>
            <a:ext cx="1326840" cy="434593"/>
          </a:xfrm>
          <a:prstGeom prst="rect">
            <a:avLst/>
          </a:prstGeom>
          <a:noFill/>
          <a:ln>
            <a:noFill/>
          </a:ln>
          <a:effectLst/>
          <a:extLst>
            <a:ext uri="{909E8E84-426E-40DD-AFC4-6F175D3DCCD1}">
              <a14:hiddenFill xmlns:a14="http://schemas.microsoft.com/office/drawing/2010/main">
                <a:solidFill>
                  <a:schemeClr val="bg1">
                    <a:lumMod val="5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lstStyle/>
          <a:p>
            <a:pPr algn="ctr" defTabSz="967332">
              <a:spcBef>
                <a:spcPct val="0"/>
              </a:spcBef>
              <a:spcAft>
                <a:spcPct val="0"/>
              </a:spcAft>
              <a:defRPr/>
            </a:pPr>
            <a:fld id="{EDBBE051-1843-49D6-99DC-DBDF9E142772}" type="datetime'Нез''на''''''чи''тельные'' ''прои''с''ш''е''с''''тв''ия'''''">
              <a:rPr lang="ru-RU" altLang="en-US" sz="845" b="1">
                <a:solidFill>
                  <a:srgbClr val="424242">
                    <a:lumMod val="75000"/>
                  </a:srgbClr>
                </a:solidFill>
                <a:latin typeface="Verdana" panose="020B0604030504040204"/>
              </a:rPr>
              <a:pPr algn="ctr" defTabSz="967332">
                <a:spcBef>
                  <a:spcPct val="0"/>
                </a:spcBef>
                <a:spcAft>
                  <a:spcPct val="0"/>
                </a:spcAft>
                <a:defRPr/>
              </a:pPr>
              <a:t>Незначительные происшествия</a:t>
            </a:fld>
            <a:endParaRPr lang="en-US" altLang="en-US" sz="845" b="1" dirty="0">
              <a:solidFill>
                <a:srgbClr val="424242">
                  <a:lumMod val="75000"/>
                </a:srgbClr>
              </a:solidFill>
              <a:latin typeface="Verdana" panose="020B0604030504040204"/>
            </a:endParaRPr>
          </a:p>
          <a:p>
            <a:pPr algn="ctr" defTabSz="967332">
              <a:spcBef>
                <a:spcPct val="0"/>
              </a:spcBef>
              <a:spcAft>
                <a:spcPct val="0"/>
              </a:spcAft>
              <a:defRPr/>
            </a:pPr>
            <a:endParaRPr lang="ru-RU" sz="845" b="1" dirty="0" err="1">
              <a:solidFill>
                <a:srgbClr val="C00000"/>
              </a:solidFill>
              <a:latin typeface="Verdana" panose="020B0604030504040204"/>
            </a:endParaRPr>
          </a:p>
        </p:txBody>
      </p:sp>
      <p:sp>
        <p:nvSpPr>
          <p:cNvPr id="78" name="Прямоугольник 77"/>
          <p:cNvSpPr/>
          <p:nvPr>
            <p:custDataLst>
              <p:tags r:id="rId8"/>
            </p:custDataLst>
          </p:nvPr>
        </p:nvSpPr>
        <p:spPr bwMode="auto">
          <a:xfrm>
            <a:off x="10496445" y="3081855"/>
            <a:ext cx="468593" cy="161237"/>
          </a:xfrm>
          <a:prstGeom prst="rect">
            <a:avLst/>
          </a:prstGeom>
          <a:noFill/>
          <a:ln>
            <a:noFill/>
          </a:ln>
          <a:effectLst/>
          <a:extLst>
            <a:ext uri="{909E8E84-426E-40DD-AFC4-6F175D3DCCD1}">
              <a14:hiddenFill xmlns:a14="http://schemas.microsoft.com/office/drawing/2010/main">
                <a:solidFill>
                  <a:schemeClr val="bg1">
                    <a:lumMod val="5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defTabSz="967332">
              <a:spcBef>
                <a:spcPct val="0"/>
              </a:spcBef>
              <a:spcAft>
                <a:spcPct val="0"/>
              </a:spcAft>
              <a:defRPr/>
            </a:pPr>
            <a:r>
              <a:rPr lang="ru-RU" altLang="en-US" sz="845" b="1" dirty="0">
                <a:solidFill>
                  <a:schemeClr val="tx1"/>
                </a:solidFill>
                <a:latin typeface="Verdana" panose="020B0604030504040204"/>
              </a:rPr>
              <a:t>Пожар</a:t>
            </a:r>
            <a:endParaRPr lang="ru-RU" sz="845" b="1" dirty="0">
              <a:solidFill>
                <a:schemeClr val="tx1"/>
              </a:solidFill>
              <a:latin typeface="Verdana" panose="020B0604030504040204"/>
            </a:endParaRPr>
          </a:p>
        </p:txBody>
      </p:sp>
      <p:sp>
        <p:nvSpPr>
          <p:cNvPr id="79" name="Прямоугольник 78"/>
          <p:cNvSpPr/>
          <p:nvPr/>
        </p:nvSpPr>
        <p:spPr>
          <a:xfrm>
            <a:off x="357524" y="1143158"/>
            <a:ext cx="11518578" cy="490814"/>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67332">
              <a:defRPr/>
            </a:pPr>
            <a:endParaRPr lang="ru-RU" sz="1480" dirty="0" err="1">
              <a:solidFill>
                <a:srgbClr val="424242"/>
              </a:solidFill>
              <a:latin typeface="Arial" charset="0"/>
              <a:ea typeface="Arial" charset="0"/>
              <a:cs typeface="Arial" charset="0"/>
            </a:endParaRPr>
          </a:p>
        </p:txBody>
      </p:sp>
      <p:sp>
        <p:nvSpPr>
          <p:cNvPr id="81" name="TextBox 80"/>
          <p:cNvSpPr txBox="1"/>
          <p:nvPr/>
        </p:nvSpPr>
        <p:spPr>
          <a:xfrm>
            <a:off x="406075" y="1150833"/>
            <a:ext cx="11408829" cy="483209"/>
          </a:xfrm>
          <a:prstGeom prst="rect">
            <a:avLst/>
          </a:prstGeom>
          <a:noFill/>
        </p:spPr>
        <p:txBody>
          <a:bodyPr wrap="square" rtlCol="0">
            <a:spAutoFit/>
          </a:bodyPr>
          <a:lstStyle/>
          <a:p>
            <a:pPr algn="ctr" defTabSz="967332">
              <a:defRPr/>
            </a:pPr>
            <a:r>
              <a:rPr lang="ru-RU" sz="1270" b="1" dirty="0">
                <a:solidFill>
                  <a:prstClr val="black"/>
                </a:solidFill>
                <a:latin typeface="Verdana" panose="020B0604030504040204"/>
              </a:rPr>
              <a:t>Количество происшествий связанных с работой подрядных организаций</a:t>
            </a:r>
          </a:p>
          <a:p>
            <a:pPr algn="ctr" defTabSz="967332">
              <a:defRPr/>
            </a:pPr>
            <a:r>
              <a:rPr lang="ru-RU" sz="1270" b="1" dirty="0">
                <a:solidFill>
                  <a:prstClr val="black"/>
                </a:solidFill>
                <a:latin typeface="Verdana" panose="020B0604030504040204"/>
              </a:rPr>
              <a:t> по направлениям за первые шесть месяцев 2021/2022г. </a:t>
            </a:r>
            <a:r>
              <a:rPr lang="ru-RU" sz="1270" b="1" dirty="0">
                <a:solidFill>
                  <a:srgbClr val="C00000"/>
                </a:solidFill>
                <a:latin typeface="Verdana" panose="020B0604030504040204"/>
              </a:rPr>
              <a:t>«ВМЗ»</a:t>
            </a:r>
          </a:p>
        </p:txBody>
      </p:sp>
      <p:sp>
        <p:nvSpPr>
          <p:cNvPr id="82" name="Прямоугольник 81"/>
          <p:cNvSpPr/>
          <p:nvPr>
            <p:custDataLst>
              <p:tags r:id="rId9"/>
            </p:custDataLst>
          </p:nvPr>
        </p:nvSpPr>
        <p:spPr bwMode="auto">
          <a:xfrm>
            <a:off x="9863019" y="1888694"/>
            <a:ext cx="189788" cy="141081"/>
          </a:xfrm>
          <a:prstGeom prst="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67332">
              <a:defRPr/>
            </a:pPr>
            <a:endParaRPr lang="ru-RU" sz="1480" dirty="0" err="1">
              <a:solidFill>
                <a:srgbClr val="424242"/>
              </a:solidFill>
              <a:latin typeface="Arial" charset="0"/>
              <a:ea typeface="Arial" charset="0"/>
              <a:cs typeface="Arial" charset="0"/>
            </a:endParaRPr>
          </a:p>
        </p:txBody>
      </p:sp>
      <p:sp>
        <p:nvSpPr>
          <p:cNvPr id="83" name="Прямоугольник 82"/>
          <p:cNvSpPr/>
          <p:nvPr>
            <p:custDataLst>
              <p:tags r:id="rId10"/>
            </p:custDataLst>
          </p:nvPr>
        </p:nvSpPr>
        <p:spPr bwMode="auto">
          <a:xfrm>
            <a:off x="10806180" y="1888694"/>
            <a:ext cx="189788" cy="141081"/>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67332">
              <a:defRPr/>
            </a:pPr>
            <a:endParaRPr lang="ru-RU" sz="1480" dirty="0" err="1">
              <a:solidFill>
                <a:srgbClr val="424242"/>
              </a:solidFill>
              <a:latin typeface="Arial" charset="0"/>
              <a:ea typeface="Arial" charset="0"/>
              <a:cs typeface="Arial" charset="0"/>
            </a:endParaRPr>
          </a:p>
        </p:txBody>
      </p:sp>
      <p:sp>
        <p:nvSpPr>
          <p:cNvPr id="84" name="Прямоугольник 83"/>
          <p:cNvSpPr/>
          <p:nvPr>
            <p:custDataLst>
              <p:tags r:id="rId11"/>
            </p:custDataLst>
          </p:nvPr>
        </p:nvSpPr>
        <p:spPr bwMode="auto">
          <a:xfrm>
            <a:off x="10066343" y="1879750"/>
            <a:ext cx="619752" cy="161237"/>
          </a:xfrm>
          <a:prstGeom prst="rect">
            <a:avLst/>
          </a:prstGeom>
          <a:noFill/>
          <a:ln>
            <a:noFill/>
          </a:ln>
          <a:effectLst/>
          <a:extLst>
            <a:ext uri="{909E8E84-426E-40DD-AFC4-6F175D3DCCD1}">
              <a14:hiddenFill xmlns:a14="http://schemas.microsoft.com/office/drawing/2010/main">
                <a:solidFill>
                  <a:schemeClr val="bg1">
                    <a:lumMod val="5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defTabSz="967332">
              <a:spcBef>
                <a:spcPct val="0"/>
              </a:spcBef>
              <a:spcAft>
                <a:spcPct val="0"/>
              </a:spcAft>
              <a:defRPr/>
            </a:pPr>
            <a:r>
              <a:rPr lang="ru-RU" sz="1058" dirty="0">
                <a:solidFill>
                  <a:srgbClr val="424242"/>
                </a:solidFill>
                <a:latin typeface="Verdana" panose="020B0604030504040204"/>
              </a:rPr>
              <a:t>2021 год</a:t>
            </a:r>
          </a:p>
        </p:txBody>
      </p:sp>
      <p:sp>
        <p:nvSpPr>
          <p:cNvPr id="85" name="Прямоугольник 84"/>
          <p:cNvSpPr/>
          <p:nvPr>
            <p:custDataLst>
              <p:tags r:id="rId12"/>
            </p:custDataLst>
          </p:nvPr>
        </p:nvSpPr>
        <p:spPr bwMode="auto">
          <a:xfrm>
            <a:off x="11016507" y="1874334"/>
            <a:ext cx="619752" cy="161237"/>
          </a:xfrm>
          <a:prstGeom prst="rect">
            <a:avLst/>
          </a:prstGeom>
          <a:noFill/>
          <a:ln>
            <a:noFill/>
          </a:ln>
          <a:effectLst/>
          <a:extLst>
            <a:ext uri="{909E8E84-426E-40DD-AFC4-6F175D3DCCD1}">
              <a14:hiddenFill xmlns:a14="http://schemas.microsoft.com/office/drawing/2010/main">
                <a:solidFill>
                  <a:schemeClr val="bg1">
                    <a:lumMod val="5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defTabSz="967332">
              <a:spcBef>
                <a:spcPct val="0"/>
              </a:spcBef>
              <a:spcAft>
                <a:spcPct val="0"/>
              </a:spcAft>
              <a:defRPr/>
            </a:pPr>
            <a:r>
              <a:rPr lang="ru-RU" sz="1058" dirty="0">
                <a:solidFill>
                  <a:srgbClr val="424242"/>
                </a:solidFill>
                <a:latin typeface="Verdana" panose="020B0604030504040204"/>
              </a:rPr>
              <a:t>2022 год</a:t>
            </a:r>
          </a:p>
        </p:txBody>
      </p:sp>
      <p:sp>
        <p:nvSpPr>
          <p:cNvPr id="74" name="Прямоугольник 73"/>
          <p:cNvSpPr/>
          <p:nvPr>
            <p:custDataLst>
              <p:tags r:id="rId13"/>
            </p:custDataLst>
          </p:nvPr>
        </p:nvSpPr>
        <p:spPr bwMode="auto">
          <a:xfrm>
            <a:off x="8858432" y="3060453"/>
            <a:ext cx="732646" cy="322472"/>
          </a:xfrm>
          <a:prstGeom prst="rect">
            <a:avLst/>
          </a:prstGeom>
          <a:noFill/>
          <a:ln>
            <a:noFill/>
          </a:ln>
          <a:effectLst/>
          <a:extLst>
            <a:ext uri="{909E8E84-426E-40DD-AFC4-6F175D3DCCD1}">
              <a14:hiddenFill xmlns:a14="http://schemas.microsoft.com/office/drawing/2010/main">
                <a:solidFill>
                  <a:schemeClr val="bg1">
                    <a:lumMod val="5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defTabSz="967332">
              <a:spcBef>
                <a:spcPct val="0"/>
              </a:spcBef>
              <a:spcAft>
                <a:spcPct val="0"/>
              </a:spcAft>
              <a:defRPr/>
            </a:pPr>
            <a:fld id="{5FDA0908-3649-4B21-BC64-B22B79BBABB4}" type="datetime'''З''''''а''''''''''г''''''о''''р''''''''а''н''''''''и''я'''''">
              <a:rPr lang="ru-RU" altLang="en-US" sz="845" b="1">
                <a:solidFill>
                  <a:srgbClr val="424242">
                    <a:lumMod val="75000"/>
                  </a:srgbClr>
                </a:solidFill>
                <a:latin typeface="Verdana" panose="020B0604030504040204"/>
              </a:rPr>
              <a:pPr algn="ctr" defTabSz="967332">
                <a:spcBef>
                  <a:spcPct val="0"/>
                </a:spcBef>
                <a:spcAft>
                  <a:spcPct val="0"/>
                </a:spcAft>
                <a:defRPr/>
              </a:pPr>
              <a:t>Загорания</a:t>
            </a:fld>
            <a:endParaRPr lang="en-US" altLang="en-US" sz="845" b="1" dirty="0">
              <a:solidFill>
                <a:srgbClr val="424242">
                  <a:lumMod val="75000"/>
                </a:srgbClr>
              </a:solidFill>
              <a:latin typeface="Verdana" panose="020B0604030504040204"/>
            </a:endParaRPr>
          </a:p>
          <a:p>
            <a:pPr algn="ctr" defTabSz="967332">
              <a:spcBef>
                <a:spcPct val="0"/>
              </a:spcBef>
              <a:spcAft>
                <a:spcPct val="0"/>
              </a:spcAft>
              <a:defRPr/>
            </a:pPr>
            <a:endParaRPr lang="ru-RU" sz="845" b="1" dirty="0" err="1">
              <a:solidFill>
                <a:srgbClr val="C00000"/>
              </a:solidFill>
              <a:latin typeface="Verdana" panose="020B0604030504040204"/>
            </a:endParaRPr>
          </a:p>
        </p:txBody>
      </p:sp>
      <p:sp>
        <p:nvSpPr>
          <p:cNvPr id="39" name="Прямоугольник 38"/>
          <p:cNvSpPr/>
          <p:nvPr/>
        </p:nvSpPr>
        <p:spPr>
          <a:xfrm>
            <a:off x="333299" y="4219355"/>
            <a:ext cx="11542803" cy="2333986"/>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67527">
              <a:defRPr/>
            </a:pPr>
            <a:endParaRPr lang="ru-RU" sz="1481" dirty="0" err="1">
              <a:solidFill>
                <a:srgbClr val="424242"/>
              </a:solidFill>
              <a:latin typeface="Arial" charset="0"/>
              <a:ea typeface="Arial" charset="0"/>
              <a:cs typeface="Arial" charset="0"/>
            </a:endParaRPr>
          </a:p>
        </p:txBody>
      </p:sp>
      <p:sp>
        <p:nvSpPr>
          <p:cNvPr id="40" name="Прямоугольник 39"/>
          <p:cNvSpPr/>
          <p:nvPr/>
        </p:nvSpPr>
        <p:spPr>
          <a:xfrm>
            <a:off x="341819" y="3680027"/>
            <a:ext cx="11525763" cy="549255"/>
          </a:xfrm>
          <a:prstGeom prst="rect">
            <a:avLst/>
          </a:prstGeom>
          <a:no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67527">
              <a:defRPr/>
            </a:pPr>
            <a:endParaRPr lang="ru-RU" sz="1481" dirty="0" err="1">
              <a:solidFill>
                <a:srgbClr val="424242"/>
              </a:solidFill>
              <a:latin typeface="Arial" charset="0"/>
              <a:ea typeface="Arial" charset="0"/>
              <a:cs typeface="Arial" charset="0"/>
            </a:endParaRPr>
          </a:p>
        </p:txBody>
      </p:sp>
      <p:sp>
        <p:nvSpPr>
          <p:cNvPr id="41" name="TextBox 40"/>
          <p:cNvSpPr txBox="1"/>
          <p:nvPr/>
        </p:nvSpPr>
        <p:spPr>
          <a:xfrm>
            <a:off x="437925" y="3751001"/>
            <a:ext cx="11448399" cy="483209"/>
          </a:xfrm>
          <a:prstGeom prst="rect">
            <a:avLst/>
          </a:prstGeom>
          <a:noFill/>
        </p:spPr>
        <p:txBody>
          <a:bodyPr wrap="square" rtlCol="0">
            <a:spAutoFit/>
          </a:bodyPr>
          <a:lstStyle/>
          <a:p>
            <a:pPr algn="ctr" defTabSz="967527">
              <a:defRPr/>
            </a:pPr>
            <a:r>
              <a:rPr lang="ru-RU" sz="1270" b="1" dirty="0">
                <a:solidFill>
                  <a:prstClr val="black"/>
                </a:solidFill>
                <a:latin typeface="Verdana" panose="020B0604030504040204"/>
              </a:rPr>
              <a:t>Количество происшествий связанных с работой подрядных организаций за первые шесть месяцев 2021/2022г. </a:t>
            </a:r>
            <a:r>
              <a:rPr lang="ru-RU" sz="1270" b="1" dirty="0">
                <a:solidFill>
                  <a:srgbClr val="C00000"/>
                </a:solidFill>
                <a:latin typeface="Verdana" panose="020B0604030504040204"/>
              </a:rPr>
              <a:t>«</a:t>
            </a:r>
            <a:r>
              <a:rPr lang="ru-RU" sz="1270" b="1">
                <a:solidFill>
                  <a:srgbClr val="C00000"/>
                </a:solidFill>
                <a:latin typeface="Verdana" panose="020B0604030504040204"/>
              </a:rPr>
              <a:t>ОМК</a:t>
            </a:r>
            <a:r>
              <a:rPr lang="ru-RU" sz="1270" b="1" smtClean="0">
                <a:solidFill>
                  <a:srgbClr val="C00000"/>
                </a:solidFill>
                <a:latin typeface="Verdana" panose="020B0604030504040204"/>
              </a:rPr>
              <a:t>»</a:t>
            </a:r>
            <a:r>
              <a:rPr lang="ru-RU" sz="1270" b="1" smtClean="0">
                <a:latin typeface="Verdana" panose="020B0604030504040204"/>
              </a:rPr>
              <a:t>(</a:t>
            </a:r>
            <a:r>
              <a:rPr lang="ru-RU" sz="1270" b="1" dirty="0" smtClean="0">
                <a:latin typeface="Verdana" panose="020B0604030504040204"/>
              </a:rPr>
              <a:t>без ВМЗ) </a:t>
            </a:r>
            <a:endParaRPr lang="ru-RU" sz="1270" b="1" dirty="0">
              <a:latin typeface="Verdana" panose="020B0604030504040204"/>
            </a:endParaRPr>
          </a:p>
        </p:txBody>
      </p:sp>
      <p:sp>
        <p:nvSpPr>
          <p:cNvPr id="51" name="Прямоугольник 50"/>
          <p:cNvSpPr/>
          <p:nvPr>
            <p:custDataLst>
              <p:tags r:id="rId14"/>
            </p:custDataLst>
          </p:nvPr>
        </p:nvSpPr>
        <p:spPr bwMode="auto">
          <a:xfrm>
            <a:off x="10683944" y="4082383"/>
            <a:ext cx="189818" cy="123493"/>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67527">
              <a:defRPr/>
            </a:pPr>
            <a:endParaRPr lang="ru-RU" sz="1481" dirty="0" err="1">
              <a:solidFill>
                <a:srgbClr val="424242"/>
              </a:solidFill>
              <a:latin typeface="Arial" charset="0"/>
              <a:ea typeface="Arial" charset="0"/>
              <a:cs typeface="Arial" charset="0"/>
            </a:endParaRPr>
          </a:p>
        </p:txBody>
      </p:sp>
      <p:sp>
        <p:nvSpPr>
          <p:cNvPr id="52" name="Прямоугольник 51"/>
          <p:cNvSpPr/>
          <p:nvPr>
            <p:custDataLst>
              <p:tags r:id="rId15"/>
            </p:custDataLst>
          </p:nvPr>
        </p:nvSpPr>
        <p:spPr bwMode="auto">
          <a:xfrm>
            <a:off x="9782134" y="4053306"/>
            <a:ext cx="619847" cy="161261"/>
          </a:xfrm>
          <a:prstGeom prst="rect">
            <a:avLst/>
          </a:prstGeom>
          <a:noFill/>
          <a:ln>
            <a:noFill/>
          </a:ln>
          <a:effectLst/>
          <a:extLst>
            <a:ext uri="{909E8E84-426E-40DD-AFC4-6F175D3DCCD1}">
              <a14:hiddenFill xmlns:a14="http://schemas.microsoft.com/office/drawing/2010/main">
                <a:solidFill>
                  <a:schemeClr val="bg1">
                    <a:lumMod val="5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defTabSz="967527">
              <a:spcBef>
                <a:spcPct val="0"/>
              </a:spcBef>
              <a:spcAft>
                <a:spcPct val="0"/>
              </a:spcAft>
              <a:defRPr/>
            </a:pPr>
            <a:r>
              <a:rPr lang="ru-RU" sz="1058" dirty="0" smtClean="0">
                <a:solidFill>
                  <a:srgbClr val="424242"/>
                </a:solidFill>
                <a:latin typeface="Verdana" panose="020B0604030504040204"/>
              </a:rPr>
              <a:t> 2021 год</a:t>
            </a:r>
            <a:endParaRPr lang="ru-RU" sz="1058" dirty="0">
              <a:solidFill>
                <a:srgbClr val="424242"/>
              </a:solidFill>
              <a:latin typeface="Verdana" panose="020B0604030504040204"/>
            </a:endParaRPr>
          </a:p>
        </p:txBody>
      </p:sp>
      <p:sp>
        <p:nvSpPr>
          <p:cNvPr id="53" name="Прямоугольник 52"/>
          <p:cNvSpPr/>
          <p:nvPr>
            <p:custDataLst>
              <p:tags r:id="rId16"/>
            </p:custDataLst>
          </p:nvPr>
        </p:nvSpPr>
        <p:spPr bwMode="auto">
          <a:xfrm>
            <a:off x="10894302" y="4068021"/>
            <a:ext cx="619847" cy="161261"/>
          </a:xfrm>
          <a:prstGeom prst="rect">
            <a:avLst/>
          </a:prstGeom>
          <a:noFill/>
          <a:ln>
            <a:noFill/>
          </a:ln>
          <a:effectLst/>
          <a:extLst>
            <a:ext uri="{909E8E84-426E-40DD-AFC4-6F175D3DCCD1}">
              <a14:hiddenFill xmlns:a14="http://schemas.microsoft.com/office/drawing/2010/main">
                <a:solidFill>
                  <a:schemeClr val="bg1">
                    <a:lumMod val="5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defTabSz="967527">
              <a:spcBef>
                <a:spcPct val="0"/>
              </a:spcBef>
              <a:spcAft>
                <a:spcPct val="0"/>
              </a:spcAft>
              <a:defRPr/>
            </a:pPr>
            <a:r>
              <a:rPr lang="ru-RU" sz="1058" dirty="0">
                <a:solidFill>
                  <a:srgbClr val="424242"/>
                </a:solidFill>
                <a:latin typeface="Verdana" panose="020B0604030504040204"/>
              </a:rPr>
              <a:t> </a:t>
            </a:r>
            <a:r>
              <a:rPr lang="ru-RU" sz="1058" dirty="0" smtClean="0">
                <a:solidFill>
                  <a:srgbClr val="424242"/>
                </a:solidFill>
                <a:latin typeface="Verdana" panose="020B0604030504040204"/>
              </a:rPr>
              <a:t>2022 год</a:t>
            </a:r>
            <a:endParaRPr lang="ru-RU" sz="1058" dirty="0">
              <a:solidFill>
                <a:srgbClr val="424242"/>
              </a:solidFill>
              <a:latin typeface="Verdana" panose="020B0604030504040204"/>
            </a:endParaRPr>
          </a:p>
        </p:txBody>
      </p:sp>
      <p:sp>
        <p:nvSpPr>
          <p:cNvPr id="54" name="Прямоугольник 53"/>
          <p:cNvSpPr/>
          <p:nvPr>
            <p:custDataLst>
              <p:tags r:id="rId17"/>
            </p:custDataLst>
          </p:nvPr>
        </p:nvSpPr>
        <p:spPr bwMode="auto">
          <a:xfrm>
            <a:off x="9588142" y="4073464"/>
            <a:ext cx="189818" cy="141103"/>
          </a:xfrm>
          <a:prstGeom prst="rect">
            <a:avLst/>
          </a:prstGeom>
          <a:solidFill>
            <a:schemeClr val="bg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67527">
              <a:defRPr/>
            </a:pPr>
            <a:endParaRPr lang="ru-RU" sz="1481" dirty="0" err="1">
              <a:solidFill>
                <a:srgbClr val="424242"/>
              </a:solidFill>
              <a:latin typeface="Arial" charset="0"/>
              <a:ea typeface="Arial" charset="0"/>
              <a:cs typeface="Arial" charset="0"/>
            </a:endParaRPr>
          </a:p>
        </p:txBody>
      </p:sp>
      <p:sp>
        <p:nvSpPr>
          <p:cNvPr id="55" name="Текст 11">
            <a:extLst>
              <a:ext uri="{FF2B5EF4-FFF2-40B4-BE49-F238E27FC236}">
                <a16:creationId xmlns:a16="http://schemas.microsoft.com/office/drawing/2014/main" id="{27600C3B-5AB0-462C-BDD1-DED5432434FE}"/>
              </a:ext>
            </a:extLst>
          </p:cNvPr>
          <p:cNvSpPr txBox="1">
            <a:spLocks/>
          </p:cNvSpPr>
          <p:nvPr/>
        </p:nvSpPr>
        <p:spPr>
          <a:xfrm>
            <a:off x="290554" y="130001"/>
            <a:ext cx="4541650" cy="288037"/>
          </a:xfrm>
          <a:prstGeom prst="rect">
            <a:avLst/>
          </a:prstGeom>
        </p:spPr>
        <p:txBody>
          <a:bodyPr/>
          <a:lstStyle>
            <a:lvl1pPr marL="0" indent="0" algn="l" defTabSz="914400" rtl="0" eaLnBrk="1" latinLnBrk="0" hangingPunct="1">
              <a:spcBef>
                <a:spcPct val="20000"/>
              </a:spcBef>
              <a:buFontTx/>
              <a:buNone/>
              <a:defRPr sz="1100" b="0" i="0" kern="1200">
                <a:solidFill>
                  <a:srgbClr val="7F8183"/>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67527">
              <a:defRPr/>
            </a:pPr>
            <a:r>
              <a:rPr lang="ru-RU" sz="1164" dirty="0"/>
              <a:t>Статистика происшествий</a:t>
            </a:r>
          </a:p>
        </p:txBody>
      </p:sp>
      <p:cxnSp>
        <p:nvCxnSpPr>
          <p:cNvPr id="26" name="Прямая соединительная линия 25"/>
          <p:cNvCxnSpPr/>
          <p:nvPr/>
        </p:nvCxnSpPr>
        <p:spPr>
          <a:xfrm flipV="1">
            <a:off x="2819626" y="2362273"/>
            <a:ext cx="0" cy="3809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Прямая соединительная линия 28"/>
          <p:cNvCxnSpPr/>
          <p:nvPr/>
        </p:nvCxnSpPr>
        <p:spPr>
          <a:xfrm>
            <a:off x="2819626" y="2358918"/>
            <a:ext cx="7619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Прямая соединительная линия 30"/>
          <p:cNvCxnSpPr/>
          <p:nvPr/>
        </p:nvCxnSpPr>
        <p:spPr>
          <a:xfrm flipV="1">
            <a:off x="7467505" y="1828911"/>
            <a:ext cx="0" cy="44939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Прямая соединительная линия 5"/>
          <p:cNvCxnSpPr/>
          <p:nvPr/>
        </p:nvCxnSpPr>
        <p:spPr>
          <a:xfrm>
            <a:off x="5959877" y="1828911"/>
            <a:ext cx="157243" cy="35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56" name="Диаграмма 55"/>
          <p:cNvGraphicFramePr/>
          <p:nvPr>
            <p:extLst>
              <p:ext uri="{D42A27DB-BD31-4B8C-83A1-F6EECF244321}">
                <p14:modId xmlns:p14="http://schemas.microsoft.com/office/powerpoint/2010/main" val="3336811020"/>
              </p:ext>
            </p:extLst>
          </p:nvPr>
        </p:nvGraphicFramePr>
        <p:xfrm>
          <a:off x="491112" y="4219355"/>
          <a:ext cx="11435454" cy="1761685"/>
        </p:xfrm>
        <a:graphic>
          <a:graphicData uri="http://schemas.openxmlformats.org/drawingml/2006/chart">
            <c:chart xmlns:c="http://schemas.openxmlformats.org/drawingml/2006/chart" xmlns:r="http://schemas.openxmlformats.org/officeDocument/2006/relationships" r:id="rId29"/>
          </a:graphicData>
        </a:graphic>
      </p:graphicFrame>
      <p:sp>
        <p:nvSpPr>
          <p:cNvPr id="57" name="Прямоугольник 56"/>
          <p:cNvSpPr/>
          <p:nvPr>
            <p:custDataLst>
              <p:tags r:id="rId18"/>
            </p:custDataLst>
          </p:nvPr>
        </p:nvSpPr>
        <p:spPr bwMode="auto">
          <a:xfrm>
            <a:off x="779066" y="5957261"/>
            <a:ext cx="1189118" cy="322472"/>
          </a:xfrm>
          <a:prstGeom prst="rect">
            <a:avLst/>
          </a:prstGeom>
          <a:noFill/>
          <a:ln>
            <a:noFill/>
          </a:ln>
          <a:effectLst/>
          <a:extLst>
            <a:ext uri="{909E8E84-426E-40DD-AFC4-6F175D3DCCD1}">
              <a14:hiddenFill xmlns:a14="http://schemas.microsoft.com/office/drawing/2010/main">
                <a:solidFill>
                  <a:schemeClr val="bg1">
                    <a:lumMod val="5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defTabSz="967332">
              <a:spcBef>
                <a:spcPct val="0"/>
              </a:spcBef>
              <a:spcAft>
                <a:spcPct val="0"/>
              </a:spcAft>
              <a:defRPr/>
            </a:pPr>
            <a:r>
              <a:rPr lang="ru-RU" altLang="en-US" sz="845" b="1" dirty="0">
                <a:solidFill>
                  <a:srgbClr val="C00000"/>
                </a:solidFill>
                <a:latin typeface="Verdana" panose="020B0604030504040204"/>
              </a:rPr>
              <a:t>Чрезвычайные </a:t>
            </a:r>
          </a:p>
          <a:p>
            <a:pPr algn="ctr" defTabSz="967332">
              <a:spcBef>
                <a:spcPct val="0"/>
              </a:spcBef>
              <a:spcAft>
                <a:spcPct val="0"/>
              </a:spcAft>
              <a:defRPr/>
            </a:pPr>
            <a:r>
              <a:rPr lang="ru-RU" altLang="en-US" sz="845" b="1" dirty="0">
                <a:solidFill>
                  <a:srgbClr val="C00000"/>
                </a:solidFill>
                <a:latin typeface="Verdana" panose="020B0604030504040204"/>
              </a:rPr>
              <a:t>происшествия</a:t>
            </a:r>
            <a:endParaRPr lang="ru-RU" sz="845" b="1" dirty="0">
              <a:solidFill>
                <a:srgbClr val="C00000"/>
              </a:solidFill>
              <a:latin typeface="Verdana" panose="020B0604030504040204"/>
            </a:endParaRPr>
          </a:p>
        </p:txBody>
      </p:sp>
      <p:sp>
        <p:nvSpPr>
          <p:cNvPr id="59" name="Прямоугольник 58"/>
          <p:cNvSpPr/>
          <p:nvPr>
            <p:custDataLst>
              <p:tags r:id="rId19"/>
            </p:custDataLst>
          </p:nvPr>
        </p:nvSpPr>
        <p:spPr bwMode="auto">
          <a:xfrm>
            <a:off x="2399243" y="5981040"/>
            <a:ext cx="1194156" cy="161237"/>
          </a:xfrm>
          <a:prstGeom prst="rect">
            <a:avLst/>
          </a:prstGeom>
          <a:noFill/>
          <a:ln>
            <a:noFill/>
          </a:ln>
          <a:effectLst/>
          <a:extLst>
            <a:ext uri="{909E8E84-426E-40DD-AFC4-6F175D3DCCD1}">
              <a14:hiddenFill xmlns:a14="http://schemas.microsoft.com/office/drawing/2010/main">
                <a:solidFill>
                  <a:schemeClr val="bg1">
                    <a:lumMod val="5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defTabSz="967332">
              <a:spcBef>
                <a:spcPct val="0"/>
              </a:spcBef>
              <a:spcAft>
                <a:spcPct val="0"/>
              </a:spcAft>
              <a:defRPr/>
            </a:pPr>
            <a:r>
              <a:rPr lang="ru-RU" altLang="en-US" sz="845" b="1" dirty="0">
                <a:solidFill>
                  <a:schemeClr val="tx1"/>
                </a:solidFill>
                <a:latin typeface="Verdana" panose="020B0604030504040204"/>
              </a:rPr>
              <a:t>Легкие травмы</a:t>
            </a:r>
            <a:endParaRPr lang="en-US" altLang="en-US" sz="845" b="1" dirty="0">
              <a:solidFill>
                <a:schemeClr val="tx1"/>
              </a:solidFill>
              <a:latin typeface="Verdana" panose="020B0604030504040204"/>
            </a:endParaRPr>
          </a:p>
          <a:p>
            <a:pPr algn="ctr" defTabSz="967332">
              <a:spcBef>
                <a:spcPct val="0"/>
              </a:spcBef>
              <a:spcAft>
                <a:spcPct val="0"/>
              </a:spcAft>
              <a:defRPr/>
            </a:pPr>
            <a:endParaRPr lang="ru-RU" sz="845" b="1" dirty="0" err="1">
              <a:solidFill>
                <a:srgbClr val="C00000"/>
              </a:solidFill>
              <a:latin typeface="Verdana" panose="020B0604030504040204"/>
            </a:endParaRPr>
          </a:p>
        </p:txBody>
      </p:sp>
      <p:sp>
        <p:nvSpPr>
          <p:cNvPr id="60" name="Прямоугольник 59"/>
          <p:cNvSpPr/>
          <p:nvPr>
            <p:custDataLst>
              <p:tags r:id="rId20"/>
            </p:custDataLst>
          </p:nvPr>
        </p:nvSpPr>
        <p:spPr bwMode="auto">
          <a:xfrm>
            <a:off x="3982136" y="5994519"/>
            <a:ext cx="970776" cy="161237"/>
          </a:xfrm>
          <a:prstGeom prst="rect">
            <a:avLst/>
          </a:prstGeom>
          <a:noFill/>
          <a:ln>
            <a:noFill/>
          </a:ln>
          <a:effectLst/>
          <a:extLst>
            <a:ext uri="{909E8E84-426E-40DD-AFC4-6F175D3DCCD1}">
              <a14:hiddenFill xmlns:a14="http://schemas.microsoft.com/office/drawing/2010/main">
                <a:solidFill>
                  <a:schemeClr val="bg1">
                    <a:lumMod val="5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defTabSz="967332">
              <a:spcBef>
                <a:spcPct val="0"/>
              </a:spcBef>
              <a:spcAft>
                <a:spcPct val="0"/>
              </a:spcAft>
              <a:defRPr/>
            </a:pPr>
            <a:r>
              <a:rPr lang="ru-RU" sz="845" b="1" dirty="0">
                <a:solidFill>
                  <a:schemeClr val="tx1"/>
                </a:solidFill>
                <a:latin typeface="Verdana" panose="020B0604030504040204"/>
              </a:rPr>
              <a:t>Микротравм</a:t>
            </a:r>
            <a:r>
              <a:rPr lang="ru-RU" sz="846" b="1" dirty="0">
                <a:solidFill>
                  <a:schemeClr val="tx1"/>
                </a:solidFill>
                <a:latin typeface="Verdana" panose="020B0604030504040204"/>
              </a:rPr>
              <a:t>ы</a:t>
            </a:r>
            <a:endParaRPr lang="ru-RU" sz="846" b="1" dirty="0" err="1">
              <a:solidFill>
                <a:schemeClr val="tx1"/>
              </a:solidFill>
              <a:latin typeface="Verdana" panose="020B0604030504040204"/>
            </a:endParaRPr>
          </a:p>
        </p:txBody>
      </p:sp>
      <p:sp>
        <p:nvSpPr>
          <p:cNvPr id="61" name="Прямоугольник 60"/>
          <p:cNvSpPr/>
          <p:nvPr>
            <p:custDataLst>
              <p:tags r:id="rId21"/>
            </p:custDataLst>
          </p:nvPr>
        </p:nvSpPr>
        <p:spPr bwMode="auto">
          <a:xfrm>
            <a:off x="5902503" y="5994519"/>
            <a:ext cx="297280" cy="161237"/>
          </a:xfrm>
          <a:prstGeom prst="rect">
            <a:avLst/>
          </a:prstGeom>
          <a:noFill/>
          <a:ln>
            <a:noFill/>
          </a:ln>
          <a:effectLst/>
          <a:extLst>
            <a:ext uri="{909E8E84-426E-40DD-AFC4-6F175D3DCCD1}">
              <a14:hiddenFill xmlns:a14="http://schemas.microsoft.com/office/drawing/2010/main">
                <a:solidFill>
                  <a:schemeClr val="bg1">
                    <a:lumMod val="5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defTabSz="967332">
              <a:spcBef>
                <a:spcPct val="0"/>
              </a:spcBef>
              <a:spcAft>
                <a:spcPct val="0"/>
              </a:spcAft>
              <a:defRPr/>
            </a:pPr>
            <a:fld id="{F17DB954-250B-4DE2-9E46-4C08EC294AFD}" type="datetime'''''''''''''''''''Д''''''''''''''''Т''''П'''''''">
              <a:rPr lang="ru-RU" altLang="en-US" sz="845" b="1">
                <a:solidFill>
                  <a:srgbClr val="424242"/>
                </a:solidFill>
                <a:latin typeface="Verdana" panose="020B0604030504040204"/>
              </a:rPr>
              <a:pPr algn="ctr" defTabSz="967332">
                <a:spcBef>
                  <a:spcPct val="0"/>
                </a:spcBef>
                <a:spcAft>
                  <a:spcPct val="0"/>
                </a:spcAft>
                <a:defRPr/>
              </a:pPr>
              <a:t>ДТП</a:t>
            </a:fld>
            <a:endParaRPr lang="ru-RU" sz="845" b="1" dirty="0" err="1">
              <a:solidFill>
                <a:srgbClr val="424242"/>
              </a:solidFill>
              <a:latin typeface="Verdana" panose="020B0604030504040204"/>
            </a:endParaRPr>
          </a:p>
        </p:txBody>
      </p:sp>
      <p:sp>
        <p:nvSpPr>
          <p:cNvPr id="62" name="Прямоугольник 61"/>
          <p:cNvSpPr/>
          <p:nvPr/>
        </p:nvSpPr>
        <p:spPr bwMode="auto">
          <a:xfrm>
            <a:off x="6965865" y="5938459"/>
            <a:ext cx="1326840" cy="434593"/>
          </a:xfrm>
          <a:prstGeom prst="rect">
            <a:avLst/>
          </a:prstGeom>
          <a:noFill/>
          <a:ln>
            <a:noFill/>
          </a:ln>
          <a:effectLst/>
          <a:extLst>
            <a:ext uri="{909E8E84-426E-40DD-AFC4-6F175D3DCCD1}">
              <a14:hiddenFill xmlns:a14="http://schemas.microsoft.com/office/drawing/2010/main">
                <a:solidFill>
                  <a:schemeClr val="bg1">
                    <a:lumMod val="5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lstStyle/>
          <a:p>
            <a:pPr algn="ctr" defTabSz="967332">
              <a:spcBef>
                <a:spcPct val="0"/>
              </a:spcBef>
              <a:spcAft>
                <a:spcPct val="0"/>
              </a:spcAft>
              <a:defRPr/>
            </a:pPr>
            <a:fld id="{EDBBE051-1843-49D6-99DC-DBDF9E142772}" type="datetime'Нез''на''''''чи''тельные'' ''прои''с''ш''е''с''''тв''ия'''''">
              <a:rPr lang="ru-RU" altLang="en-US" sz="845" b="1">
                <a:solidFill>
                  <a:srgbClr val="424242">
                    <a:lumMod val="75000"/>
                  </a:srgbClr>
                </a:solidFill>
                <a:latin typeface="Verdana" panose="020B0604030504040204"/>
              </a:rPr>
              <a:pPr algn="ctr" defTabSz="967332">
                <a:spcBef>
                  <a:spcPct val="0"/>
                </a:spcBef>
                <a:spcAft>
                  <a:spcPct val="0"/>
                </a:spcAft>
                <a:defRPr/>
              </a:pPr>
              <a:t>Незначительные происшествия</a:t>
            </a:fld>
            <a:endParaRPr lang="en-US" altLang="en-US" sz="845" b="1" dirty="0">
              <a:solidFill>
                <a:srgbClr val="424242">
                  <a:lumMod val="75000"/>
                </a:srgbClr>
              </a:solidFill>
              <a:latin typeface="Verdana" panose="020B0604030504040204"/>
            </a:endParaRPr>
          </a:p>
          <a:p>
            <a:pPr algn="ctr" defTabSz="967332">
              <a:spcBef>
                <a:spcPct val="0"/>
              </a:spcBef>
              <a:spcAft>
                <a:spcPct val="0"/>
              </a:spcAft>
              <a:defRPr/>
            </a:pPr>
            <a:endParaRPr lang="ru-RU" sz="845" b="1" dirty="0" err="1">
              <a:solidFill>
                <a:srgbClr val="C00000"/>
              </a:solidFill>
              <a:latin typeface="Verdana" panose="020B0604030504040204"/>
            </a:endParaRPr>
          </a:p>
        </p:txBody>
      </p:sp>
      <p:sp>
        <p:nvSpPr>
          <p:cNvPr id="63" name="Прямоугольник 62"/>
          <p:cNvSpPr/>
          <p:nvPr>
            <p:custDataLst>
              <p:tags r:id="rId22"/>
            </p:custDataLst>
          </p:nvPr>
        </p:nvSpPr>
        <p:spPr bwMode="auto">
          <a:xfrm>
            <a:off x="8842943" y="5963125"/>
            <a:ext cx="732646" cy="322472"/>
          </a:xfrm>
          <a:prstGeom prst="rect">
            <a:avLst/>
          </a:prstGeom>
          <a:noFill/>
          <a:ln>
            <a:noFill/>
          </a:ln>
          <a:effectLst/>
          <a:extLst>
            <a:ext uri="{909E8E84-426E-40DD-AFC4-6F175D3DCCD1}">
              <a14:hiddenFill xmlns:a14="http://schemas.microsoft.com/office/drawing/2010/main">
                <a:solidFill>
                  <a:schemeClr val="bg1">
                    <a:lumMod val="5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defTabSz="967332">
              <a:spcBef>
                <a:spcPct val="0"/>
              </a:spcBef>
              <a:spcAft>
                <a:spcPct val="0"/>
              </a:spcAft>
              <a:defRPr/>
            </a:pPr>
            <a:fld id="{5FDA0908-3649-4B21-BC64-B22B79BBABB4}" type="datetime'''З''''''а''''''''''г''''''о''''р''''''''а''н''''''''и''я'''''">
              <a:rPr lang="ru-RU" altLang="en-US" sz="845" b="1">
                <a:solidFill>
                  <a:srgbClr val="424242">
                    <a:lumMod val="75000"/>
                  </a:srgbClr>
                </a:solidFill>
                <a:latin typeface="Verdana" panose="020B0604030504040204"/>
              </a:rPr>
              <a:pPr algn="ctr" defTabSz="967332">
                <a:spcBef>
                  <a:spcPct val="0"/>
                </a:spcBef>
                <a:spcAft>
                  <a:spcPct val="0"/>
                </a:spcAft>
                <a:defRPr/>
              </a:pPr>
              <a:t>Загорания</a:t>
            </a:fld>
            <a:endParaRPr lang="en-US" altLang="en-US" sz="845" b="1" dirty="0">
              <a:solidFill>
                <a:srgbClr val="424242">
                  <a:lumMod val="75000"/>
                </a:srgbClr>
              </a:solidFill>
              <a:latin typeface="Verdana" panose="020B0604030504040204"/>
            </a:endParaRPr>
          </a:p>
          <a:p>
            <a:pPr algn="ctr" defTabSz="967332">
              <a:spcBef>
                <a:spcPct val="0"/>
              </a:spcBef>
              <a:spcAft>
                <a:spcPct val="0"/>
              </a:spcAft>
              <a:defRPr/>
            </a:pPr>
            <a:endParaRPr lang="ru-RU" sz="845" b="1" dirty="0" err="1">
              <a:solidFill>
                <a:srgbClr val="C00000"/>
              </a:solidFill>
              <a:latin typeface="Verdana" panose="020B0604030504040204"/>
            </a:endParaRPr>
          </a:p>
        </p:txBody>
      </p:sp>
      <p:sp>
        <p:nvSpPr>
          <p:cNvPr id="69" name="Прямоугольник 68"/>
          <p:cNvSpPr/>
          <p:nvPr>
            <p:custDataLst>
              <p:tags r:id="rId23"/>
            </p:custDataLst>
          </p:nvPr>
        </p:nvSpPr>
        <p:spPr bwMode="auto">
          <a:xfrm>
            <a:off x="10533432" y="5963124"/>
            <a:ext cx="468593" cy="161237"/>
          </a:xfrm>
          <a:prstGeom prst="rect">
            <a:avLst/>
          </a:prstGeom>
          <a:noFill/>
          <a:ln>
            <a:noFill/>
          </a:ln>
          <a:effectLst/>
          <a:extLst>
            <a:ext uri="{909E8E84-426E-40DD-AFC4-6F175D3DCCD1}">
              <a14:hiddenFill xmlns:a14="http://schemas.microsoft.com/office/drawing/2010/main">
                <a:solidFill>
                  <a:schemeClr val="bg1">
                    <a:lumMod val="5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defTabSz="967332">
              <a:spcBef>
                <a:spcPct val="0"/>
              </a:spcBef>
              <a:spcAft>
                <a:spcPct val="0"/>
              </a:spcAft>
              <a:defRPr/>
            </a:pPr>
            <a:r>
              <a:rPr lang="ru-RU" altLang="en-US" sz="845" b="1" dirty="0">
                <a:solidFill>
                  <a:schemeClr val="tx1"/>
                </a:solidFill>
                <a:latin typeface="Verdana" panose="020B0604030504040204"/>
              </a:rPr>
              <a:t>Пожар</a:t>
            </a:r>
            <a:endParaRPr lang="ru-RU" sz="845" b="1" dirty="0">
              <a:solidFill>
                <a:schemeClr val="tx1"/>
              </a:solidFill>
              <a:latin typeface="Verdana" panose="020B0604030504040204"/>
            </a:endParaRPr>
          </a:p>
        </p:txBody>
      </p:sp>
    </p:spTree>
    <p:extLst>
      <p:ext uri="{BB962C8B-B14F-4D97-AF65-F5344CB8AC3E}">
        <p14:creationId xmlns:p14="http://schemas.microsoft.com/office/powerpoint/2010/main" val="3828638325"/>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B55A3CF3-1A1E-441B-9FBC-32F21D06A2C9}"/>
              </a:ext>
            </a:extLst>
          </p:cNvPr>
          <p:cNvSpPr txBox="1">
            <a:spLocks/>
          </p:cNvSpPr>
          <p:nvPr/>
        </p:nvSpPr>
        <p:spPr>
          <a:xfrm>
            <a:off x="10145603" y="6318916"/>
            <a:ext cx="1790393" cy="374046"/>
          </a:xfrm>
          <a:prstGeom prst="rect">
            <a:avLst/>
          </a:prstGeom>
        </p:spPr>
        <p:txBody>
          <a:bodyPr/>
          <a:lstStyle>
            <a:lvl1pPr marL="0" indent="0" algn="r" defTabSz="914400" rtl="0" eaLnBrk="1" latinLnBrk="0" hangingPunct="1">
              <a:spcBef>
                <a:spcPct val="20000"/>
              </a:spcBef>
              <a:buFontTx/>
              <a:buNone/>
              <a:defRPr sz="800" b="0" i="0" kern="120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67332"/>
            <a:r>
              <a:rPr lang="ru-RU" sz="845" dirty="0"/>
              <a:t>День безопасности труда с подрядными организациями</a:t>
            </a:r>
          </a:p>
        </p:txBody>
      </p:sp>
      <p:sp>
        <p:nvSpPr>
          <p:cNvPr id="7" name="Текст 8">
            <a:extLst>
              <a:ext uri="{FF2B5EF4-FFF2-40B4-BE49-F238E27FC236}">
                <a16:creationId xmlns:a16="http://schemas.microsoft.com/office/drawing/2014/main" id="{A1584F74-92CE-481B-9F91-C1014731D164}"/>
              </a:ext>
            </a:extLst>
          </p:cNvPr>
          <p:cNvSpPr>
            <a:spLocks noGrp="1"/>
          </p:cNvSpPr>
          <p:nvPr>
            <p:ph type="body" sz="quarter" idx="11"/>
          </p:nvPr>
        </p:nvSpPr>
        <p:spPr>
          <a:xfrm>
            <a:off x="3269402" y="2667052"/>
            <a:ext cx="7771396" cy="914369"/>
          </a:xfrm>
        </p:spPr>
        <p:txBody>
          <a:bodyPr>
            <a:normAutofit fontScale="77500" lnSpcReduction="20000"/>
          </a:bodyPr>
          <a:lstStyle/>
          <a:p>
            <a:r>
              <a:rPr lang="ru-RU" sz="3808" b="1" dirty="0">
                <a:solidFill>
                  <a:srgbClr val="C00000"/>
                </a:solidFill>
              </a:rPr>
              <a:t>Работы на высоте/строительные леса и подмости</a:t>
            </a:r>
          </a:p>
        </p:txBody>
      </p:sp>
      <p:sp>
        <p:nvSpPr>
          <p:cNvPr id="2" name="Прямоугольник 1"/>
          <p:cNvSpPr/>
          <p:nvPr/>
        </p:nvSpPr>
        <p:spPr>
          <a:xfrm>
            <a:off x="229903" y="381678"/>
            <a:ext cx="1569660" cy="271485"/>
          </a:xfrm>
          <a:prstGeom prst="rect">
            <a:avLst/>
          </a:prstGeom>
        </p:spPr>
        <p:txBody>
          <a:bodyPr wrap="none">
            <a:spAutoFit/>
          </a:bodyPr>
          <a:lstStyle/>
          <a:p>
            <a:pPr defTabSz="967332">
              <a:spcBef>
                <a:spcPct val="20000"/>
              </a:spcBef>
              <a:defRPr/>
            </a:pPr>
            <a:r>
              <a:rPr lang="ru-RU" sz="1164" dirty="0">
                <a:solidFill>
                  <a:srgbClr val="7F8183"/>
                </a:solidFill>
                <a:latin typeface="Verdana" panose="020B0604030504040204" pitchFamily="34" charset="0"/>
                <a:ea typeface="Verdana" panose="020B0604030504040204" pitchFamily="34" charset="0"/>
              </a:rPr>
              <a:t>Работы на высоте</a:t>
            </a:r>
          </a:p>
        </p:txBody>
      </p:sp>
      <p:pic>
        <p:nvPicPr>
          <p:cNvPr id="3" name="Рисунок 2"/>
          <p:cNvPicPr>
            <a:picLocks noChangeAspect="1"/>
          </p:cNvPicPr>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830703" y="1738597"/>
            <a:ext cx="2438699" cy="2438699"/>
          </a:xfrm>
          <a:prstGeom prst="rect">
            <a:avLst/>
          </a:prstGeom>
        </p:spPr>
      </p:pic>
    </p:spTree>
    <p:extLst>
      <p:ext uri="{BB962C8B-B14F-4D97-AF65-F5344CB8AC3E}">
        <p14:creationId xmlns:p14="http://schemas.microsoft.com/office/powerpoint/2010/main" val="11644412"/>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9F6A5ECB-6564-4A74-8F21-DDFC18BF4629}"/>
              </a:ext>
            </a:extLst>
          </p:cNvPr>
          <p:cNvGraphicFramePr>
            <a:graphicFrameLocks noChangeAspect="1"/>
          </p:cNvGraphicFramePr>
          <p:nvPr>
            <p:custDataLst>
              <p:tags r:id="rId2"/>
            </p:custDataLst>
            <p:extLst/>
          </p:nvPr>
        </p:nvGraphicFramePr>
        <p:xfrm>
          <a:off x="1681" y="2206"/>
          <a:ext cx="1680" cy="1680"/>
        </p:xfrm>
        <a:graphic>
          <a:graphicData uri="http://schemas.openxmlformats.org/presentationml/2006/ole">
            <mc:AlternateContent xmlns:mc="http://schemas.openxmlformats.org/markup-compatibility/2006">
              <mc:Choice xmlns:v="urn:schemas-microsoft-com:vml" Requires="v">
                <p:oleObj spid="_x0000_s6165" name="Слайд think-cell" r:id="rId6" imgW="360" imgH="360" progId="">
                  <p:embed/>
                </p:oleObj>
              </mc:Choice>
              <mc:Fallback>
                <p:oleObj name="Слайд think-cell" r:id="rId6" imgW="360" imgH="360" progId="">
                  <p:embed/>
                  <p:pic>
                    <p:nvPicPr>
                      <p:cNvPr id="2" name="Объект 1" hidden="1">
                        <a:extLst>
                          <a:ext uri="{FF2B5EF4-FFF2-40B4-BE49-F238E27FC236}">
                            <a16:creationId xmlns:a16="http://schemas.microsoft.com/office/drawing/2014/main" id="{9F6A5ECB-6564-4A74-8F21-DDFC18BF462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81" y="2206"/>
                        <a:ext cx="1680" cy="1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Прямоугольник 2" hidden="1">
            <a:extLst>
              <a:ext uri="{FF2B5EF4-FFF2-40B4-BE49-F238E27FC236}">
                <a16:creationId xmlns:a16="http://schemas.microsoft.com/office/drawing/2014/main" id="{10680F9D-A981-4133-93A3-D60528F412AC}"/>
              </a:ext>
            </a:extLst>
          </p:cNvPr>
          <p:cNvSpPr/>
          <p:nvPr>
            <p:custDataLst>
              <p:tags r:id="rId3"/>
            </p:custDataLst>
          </p:nvPr>
        </p:nvSpPr>
        <p:spPr>
          <a:xfrm>
            <a:off x="1" y="526"/>
            <a:ext cx="167980" cy="16798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967527">
              <a:defRPr/>
            </a:pPr>
            <a:endParaRPr lang="en-US" sz="1270" dirty="0" err="1">
              <a:solidFill>
                <a:srgbClr val="424242"/>
              </a:solidFill>
              <a:latin typeface="Verdana" panose="020B0604030504040204" pitchFamily="34" charset="0"/>
              <a:sym typeface="Verdana" panose="020B0604030504040204" pitchFamily="34" charset="0"/>
            </a:endParaRPr>
          </a:p>
        </p:txBody>
      </p:sp>
      <p:sp>
        <p:nvSpPr>
          <p:cNvPr id="128" name="Текст 4">
            <a:extLst>
              <a:ext uri="{FF2B5EF4-FFF2-40B4-BE49-F238E27FC236}">
                <a16:creationId xmlns:a16="http://schemas.microsoft.com/office/drawing/2014/main" id="{4B580ABA-5942-45EC-A26A-57B5CB481C87}"/>
              </a:ext>
            </a:extLst>
          </p:cNvPr>
          <p:cNvSpPr txBox="1">
            <a:spLocks/>
          </p:cNvSpPr>
          <p:nvPr/>
        </p:nvSpPr>
        <p:spPr>
          <a:xfrm>
            <a:off x="10136791" y="6319358"/>
            <a:ext cx="1790667" cy="374103"/>
          </a:xfrm>
          <a:prstGeom prst="rect">
            <a:avLst/>
          </a:prstGeom>
        </p:spPr>
        <p:txBody>
          <a:bodyPr/>
          <a:lstStyle>
            <a:lvl1pPr marL="0" indent="0" algn="r" defTabSz="914400" rtl="0" eaLnBrk="1" latinLnBrk="0" hangingPunct="1">
              <a:spcBef>
                <a:spcPct val="20000"/>
              </a:spcBef>
              <a:buFontTx/>
              <a:buNone/>
              <a:defRPr sz="800" b="0" i="0" kern="1200">
                <a:solidFill>
                  <a:srgbClr val="7F8183">
                    <a:alpha val="50000"/>
                  </a:srgbClr>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67527">
              <a:defRPr/>
            </a:pPr>
            <a:r>
              <a:rPr lang="ru-RU" sz="846" dirty="0"/>
              <a:t>День безопасности ПО</a:t>
            </a:r>
          </a:p>
        </p:txBody>
      </p:sp>
      <p:sp>
        <p:nvSpPr>
          <p:cNvPr id="25" name="Текст 11">
            <a:extLst>
              <a:ext uri="{FF2B5EF4-FFF2-40B4-BE49-F238E27FC236}">
                <a16:creationId xmlns:a16="http://schemas.microsoft.com/office/drawing/2014/main" id="{27600C3B-5AB0-462C-BDD1-DED5432434FE}"/>
              </a:ext>
            </a:extLst>
          </p:cNvPr>
          <p:cNvSpPr txBox="1">
            <a:spLocks/>
          </p:cNvSpPr>
          <p:nvPr/>
        </p:nvSpPr>
        <p:spPr>
          <a:xfrm>
            <a:off x="305200" y="89582"/>
            <a:ext cx="4541650" cy="288037"/>
          </a:xfrm>
          <a:prstGeom prst="rect">
            <a:avLst/>
          </a:prstGeom>
        </p:spPr>
        <p:txBody>
          <a:bodyPr/>
          <a:lstStyle>
            <a:lvl1pPr marL="0" indent="0" algn="l" defTabSz="914400" rtl="0" eaLnBrk="1" latinLnBrk="0" hangingPunct="1">
              <a:spcBef>
                <a:spcPct val="20000"/>
              </a:spcBef>
              <a:buFontTx/>
              <a:buNone/>
              <a:defRPr sz="1100" b="0" i="0" kern="1200">
                <a:solidFill>
                  <a:srgbClr val="7F8183"/>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67527">
              <a:defRPr/>
            </a:pPr>
            <a:r>
              <a:rPr lang="ru-RU" sz="1164" dirty="0"/>
              <a:t>Статистика наблюдений(ПБ)</a:t>
            </a:r>
          </a:p>
        </p:txBody>
      </p:sp>
      <p:graphicFrame>
        <p:nvGraphicFramePr>
          <p:cNvPr id="7" name="Диаграмма 6"/>
          <p:cNvGraphicFramePr/>
          <p:nvPr>
            <p:extLst/>
          </p:nvPr>
        </p:nvGraphicFramePr>
        <p:xfrm>
          <a:off x="1295732" y="2121978"/>
          <a:ext cx="5018656" cy="413366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9" name="Диаграмма 28"/>
          <p:cNvGraphicFramePr/>
          <p:nvPr>
            <p:extLst/>
          </p:nvPr>
        </p:nvGraphicFramePr>
        <p:xfrm>
          <a:off x="6399414" y="2121979"/>
          <a:ext cx="4951585" cy="4201240"/>
        </p:xfrm>
        <a:graphic>
          <a:graphicData uri="http://schemas.openxmlformats.org/drawingml/2006/chart">
            <c:chart xmlns:c="http://schemas.openxmlformats.org/drawingml/2006/chart" xmlns:r="http://schemas.openxmlformats.org/officeDocument/2006/relationships" r:id="rId9"/>
          </a:graphicData>
        </a:graphic>
      </p:graphicFrame>
      <p:sp>
        <p:nvSpPr>
          <p:cNvPr id="32" name="TextBox 31"/>
          <p:cNvSpPr txBox="1"/>
          <p:nvPr/>
        </p:nvSpPr>
        <p:spPr>
          <a:xfrm>
            <a:off x="2935553" y="620850"/>
            <a:ext cx="6927721" cy="613373"/>
          </a:xfrm>
          <a:prstGeom prst="rect">
            <a:avLst/>
          </a:prstGeom>
          <a:noFill/>
        </p:spPr>
        <p:txBody>
          <a:bodyPr wrap="square" rtlCol="0">
            <a:spAutoFit/>
          </a:bodyPr>
          <a:lstStyle/>
          <a:p>
            <a:pPr algn="ctr" defTabSz="967527">
              <a:defRPr/>
            </a:pPr>
            <a:r>
              <a:rPr lang="ru-RU" sz="1693" b="1" dirty="0">
                <a:solidFill>
                  <a:prstClr val="black"/>
                </a:solidFill>
                <a:latin typeface="Verdana" panose="020B0604030504040204"/>
              </a:rPr>
              <a:t>Количество наблюдений(по рискам) за период</a:t>
            </a:r>
            <a:br>
              <a:rPr lang="ru-RU" sz="1693" b="1" dirty="0">
                <a:solidFill>
                  <a:prstClr val="black"/>
                </a:solidFill>
                <a:latin typeface="Verdana" panose="020B0604030504040204"/>
              </a:rPr>
            </a:br>
            <a:r>
              <a:rPr lang="ru-RU" sz="1693" b="1" dirty="0">
                <a:solidFill>
                  <a:prstClr val="black"/>
                </a:solidFill>
                <a:latin typeface="Verdana" panose="020B0604030504040204"/>
              </a:rPr>
              <a:t>с 1.04.22 по 27.06.22 (</a:t>
            </a:r>
            <a:r>
              <a:rPr lang="ru-RU" sz="1693" b="1" dirty="0" err="1">
                <a:solidFill>
                  <a:prstClr val="black"/>
                </a:solidFill>
                <a:latin typeface="Verdana" panose="020B0604030504040204"/>
              </a:rPr>
              <a:t>ОпРПО</a:t>
            </a:r>
            <a:r>
              <a:rPr lang="ru-RU" sz="1693" b="1" dirty="0">
                <a:solidFill>
                  <a:prstClr val="black"/>
                </a:solidFill>
                <a:latin typeface="Verdana" panose="020B0604030504040204"/>
              </a:rPr>
              <a:t>) </a:t>
            </a:r>
          </a:p>
        </p:txBody>
      </p:sp>
      <p:sp>
        <p:nvSpPr>
          <p:cNvPr id="10" name="TextBox 9"/>
          <p:cNvSpPr txBox="1"/>
          <p:nvPr/>
        </p:nvSpPr>
        <p:spPr>
          <a:xfrm>
            <a:off x="4293187" y="1635976"/>
            <a:ext cx="4043094" cy="385490"/>
          </a:xfrm>
          <a:prstGeom prst="rect">
            <a:avLst/>
          </a:prstGeom>
          <a:noFill/>
        </p:spPr>
        <p:txBody>
          <a:bodyPr wrap="none" rtlCol="0">
            <a:spAutoFit/>
          </a:bodyPr>
          <a:lstStyle/>
          <a:p>
            <a:pPr defTabSz="1219084"/>
            <a:r>
              <a:rPr lang="ru-RU" sz="1905" dirty="0">
                <a:solidFill>
                  <a:srgbClr val="C00000"/>
                </a:solidFill>
                <a:latin typeface="Verdana" panose="020B0604030504040204" pitchFamily="34" charset="0"/>
                <a:ea typeface="Verdana" panose="020B0604030504040204" pitchFamily="34" charset="0"/>
              </a:rPr>
              <a:t>Категория: Работы на высоте.</a:t>
            </a:r>
          </a:p>
        </p:txBody>
      </p:sp>
      <p:sp>
        <p:nvSpPr>
          <p:cNvPr id="11" name="Прямоугольник 10"/>
          <p:cNvSpPr/>
          <p:nvPr/>
        </p:nvSpPr>
        <p:spPr>
          <a:xfrm>
            <a:off x="1295731" y="1371742"/>
            <a:ext cx="10210095" cy="494761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84"/>
            <a:endParaRPr lang="ru-RU" sz="2434">
              <a:solidFill>
                <a:prstClr val="white"/>
              </a:solidFill>
              <a:latin typeface="Calibri"/>
            </a:endParaRPr>
          </a:p>
        </p:txBody>
      </p:sp>
    </p:spTree>
    <p:extLst>
      <p:ext uri="{BB962C8B-B14F-4D97-AF65-F5344CB8AC3E}">
        <p14:creationId xmlns:p14="http://schemas.microsoft.com/office/powerpoint/2010/main" val="3285697289"/>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QlXJjzWaO8GCOKjhsV93e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gdRp82sNkyFE5fLH9a4.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iWmwiOKRFDc8Xj_CVYKhx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94xRwTsGRUZ8BdGaRIT3D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CXNVgaHpkqQyC_Zj9gu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xghynIiuy6CvxTHqvy5c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X.aaRsq2nzv8jt9Uqozi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94xRwTsGRUZ8BdGaRIT3D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CXNVgaHpkqQyC_Zj9guH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xghynIiuy6CvxTHqvy5c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WmwiOKRFDc8Xj_CVYKhx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HQqgcPMwCEjuyt8PvJnL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ohCaRInTj1aPFOe53ug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ecKzOLhPA6FGj6oNDGC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lXJjzWaO8GCOKjhsV93e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X.aaRsq2nzv8jt9UqoziR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gdRp82sNkyFE5fLH9a4.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JAp32ETldMA9QmM9Nuh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JAp32ETldMA9QmM9Nuh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aJAp32ETldMA9QmM9Nuh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q.FUewDJTl.QiIpJmdVcw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JAp32ETldMA9QmM9Nuhu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HQqgcPMwCEjuyt8PvJn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ohCaRInTj1aPFOe53ug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OecKzOLhPA6FGj6oNDGCaw"/>
</p:tagLst>
</file>

<file path=ppt/theme/theme1.xml><?xml version="1.0" encoding="utf-8"?>
<a:theme xmlns:a="http://schemas.openxmlformats.org/drawingml/2006/main" name="2_15 column">
  <a:themeElements>
    <a:clrScheme name="Custom 79">
      <a:dk1>
        <a:srgbClr val="424242"/>
      </a:dk1>
      <a:lt1>
        <a:srgbClr val="424242"/>
      </a:lt1>
      <a:dk2>
        <a:srgbClr val="424242"/>
      </a:dk2>
      <a:lt2>
        <a:srgbClr val="424242"/>
      </a:lt2>
      <a:accent1>
        <a:srgbClr val="7A7D7F"/>
      </a:accent1>
      <a:accent2>
        <a:srgbClr val="D0D5DA"/>
      </a:accent2>
      <a:accent3>
        <a:srgbClr val="E92721"/>
      </a:accent3>
      <a:accent4>
        <a:srgbClr val="A9A9A9"/>
      </a:accent4>
      <a:accent5>
        <a:srgbClr val="797979"/>
      </a:accent5>
      <a:accent6>
        <a:srgbClr val="424242"/>
      </a:accent6>
      <a:hlink>
        <a:srgbClr val="E21D0F"/>
      </a:hlink>
      <a:folHlink>
        <a:srgbClr val="18212C"/>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50000"/>
          </a:schemeClr>
        </a:solidFill>
        <a:ln>
          <a:noFill/>
        </a:ln>
      </a:spPr>
      <a:bodyPr lIns="0" tIns="0" rIns="0" bIns="0" rtlCol="0" anchor="ctr"/>
      <a:lstStyle>
        <a:defPPr algn="ctr">
          <a:defRPr sz="1400" dirty="0" err="1" smtClean="0">
            <a:latin typeface="Arial" charset="0"/>
            <a:ea typeface="Arial" charset="0"/>
            <a:cs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lumMod val="90000"/>
              <a:lumOff val="10000"/>
              <a:alpha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Default Theme" id="{334D0C1A-514E-0440-A6C1-12D06AEE0E8F}" vid="{3D2ED8D7-6BB6-EE43-A177-AE2CD9A63D24}"/>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15 column">
  <a:themeElements>
    <a:clrScheme name="Custom 79">
      <a:dk1>
        <a:srgbClr val="424242"/>
      </a:dk1>
      <a:lt1>
        <a:srgbClr val="424242"/>
      </a:lt1>
      <a:dk2>
        <a:srgbClr val="424242"/>
      </a:dk2>
      <a:lt2>
        <a:srgbClr val="424242"/>
      </a:lt2>
      <a:accent1>
        <a:srgbClr val="7A7D7F"/>
      </a:accent1>
      <a:accent2>
        <a:srgbClr val="D0D5DA"/>
      </a:accent2>
      <a:accent3>
        <a:srgbClr val="E92721"/>
      </a:accent3>
      <a:accent4>
        <a:srgbClr val="A9A9A9"/>
      </a:accent4>
      <a:accent5>
        <a:srgbClr val="797979"/>
      </a:accent5>
      <a:accent6>
        <a:srgbClr val="424242"/>
      </a:accent6>
      <a:hlink>
        <a:srgbClr val="E21D0F"/>
      </a:hlink>
      <a:folHlink>
        <a:srgbClr val="18212C"/>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50000"/>
          </a:schemeClr>
        </a:solidFill>
        <a:ln>
          <a:noFill/>
        </a:ln>
      </a:spPr>
      <a:bodyPr lIns="0" tIns="0" rIns="0" bIns="0" rtlCol="0" anchor="ctr"/>
      <a:lstStyle>
        <a:defPPr algn="ctr">
          <a:defRPr sz="1400" dirty="0" err="1" smtClean="0">
            <a:latin typeface="Arial" charset="0"/>
            <a:ea typeface="Arial" charset="0"/>
            <a:cs typeface="Arial"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lumMod val="90000"/>
              <a:lumOff val="10000"/>
              <a:alpha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Default Theme" id="{334D0C1A-514E-0440-A6C1-12D06AEE0E8F}" vid="{3D2ED8D7-6BB6-EE43-A177-AE2CD9A63D24}"/>
    </a:ext>
  </a:extLst>
</a:theme>
</file>

<file path=ppt/theme/theme7.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37</TotalTime>
  <Words>4683</Words>
  <Application>Microsoft Office PowerPoint</Application>
  <PresentationFormat>Широкоэкранный</PresentationFormat>
  <Paragraphs>489</Paragraphs>
  <Slides>41</Slides>
  <Notes>41</Notes>
  <HiddenSlides>0</HiddenSlides>
  <MMClips>0</MMClips>
  <ScaleCrop>false</ScaleCrop>
  <HeadingPairs>
    <vt:vector size="8" baseType="variant">
      <vt:variant>
        <vt:lpstr>Использованные шрифты</vt:lpstr>
      </vt:variant>
      <vt:variant>
        <vt:i4>9</vt:i4>
      </vt:variant>
      <vt:variant>
        <vt:lpstr>Тема</vt:lpstr>
      </vt:variant>
      <vt:variant>
        <vt:i4>6</vt:i4>
      </vt:variant>
      <vt:variant>
        <vt:lpstr>Внедренные серверы OLE</vt:lpstr>
      </vt:variant>
      <vt:variant>
        <vt:i4>1</vt:i4>
      </vt:variant>
      <vt:variant>
        <vt:lpstr>Заголовки слайдов</vt:lpstr>
      </vt:variant>
      <vt:variant>
        <vt:i4>41</vt:i4>
      </vt:variant>
    </vt:vector>
  </HeadingPairs>
  <TitlesOfParts>
    <vt:vector size="57" baseType="lpstr">
      <vt:lpstr>Arial</vt:lpstr>
      <vt:lpstr>Arial Black</vt:lpstr>
      <vt:lpstr>ArialMT</vt:lpstr>
      <vt:lpstr>Calibri</vt:lpstr>
      <vt:lpstr>Calibri Light</vt:lpstr>
      <vt:lpstr>Neo Sans Cyr Medium</vt:lpstr>
      <vt:lpstr>Times New Roman</vt:lpstr>
      <vt:lpstr>Verdana</vt:lpstr>
      <vt:lpstr>Wingdings</vt:lpstr>
      <vt:lpstr>2_15 column</vt:lpstr>
      <vt:lpstr>Тема Office</vt:lpstr>
      <vt:lpstr>2_Тема Office</vt:lpstr>
      <vt:lpstr>3_Тема Office</vt:lpstr>
      <vt:lpstr>5_Тема Office</vt:lpstr>
      <vt:lpstr>5_15 column</vt:lpstr>
      <vt:lpstr>Слайд think-cell</vt:lpstr>
      <vt:lpstr>Повестка Дня безопасности труда с ПО</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илясов Павел Александрович</dc:creator>
  <cp:lastModifiedBy>Администратор</cp:lastModifiedBy>
  <cp:revision>65</cp:revision>
  <dcterms:created xsi:type="dcterms:W3CDTF">2022-06-17T10:58:21Z</dcterms:created>
  <dcterms:modified xsi:type="dcterms:W3CDTF">2022-07-12T07:20:31Z</dcterms:modified>
</cp:coreProperties>
</file>